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3.xml" ContentType="application/vnd.openxmlformats-officedocument.theme+xml"/>
  <Override PartName="/ppt/tags/tag1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15.xml" ContentType="application/vnd.openxmlformats-officedocument.presentationml.tags+xml"/>
  <Override PartName="/ppt/notesSlides/notesSlide1.xml" ContentType="application/vnd.openxmlformats-officedocument.presentationml.notesSlide+xml"/>
  <Override PartName="/ppt/tags/tag11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7.xml" ContentType="application/vnd.openxmlformats-officedocument.presentationml.tags+xml"/>
  <Override PartName="/ppt/notesSlides/notesSlide4.xml" ContentType="application/vnd.openxmlformats-officedocument.presentationml.notesSlide+xml"/>
  <Override PartName="/ppt/tags/tag118.xml" ContentType="application/vnd.openxmlformats-officedocument.presentationml.tags+xml"/>
  <Override PartName="/ppt/notesSlides/notesSlide5.xml" ContentType="application/vnd.openxmlformats-officedocument.presentationml.notesSlide+xml"/>
  <Override PartName="/ppt/tags/tag119.xml" ContentType="application/vnd.openxmlformats-officedocument.presentationml.tags+xml"/>
  <Override PartName="/ppt/notesSlides/notesSlide6.xml" ContentType="application/vnd.openxmlformats-officedocument.presentationml.notesSlide+xml"/>
  <Override PartName="/ppt/tags/tag120.xml" ContentType="application/vnd.openxmlformats-officedocument.presentationml.tags+xml"/>
  <Override PartName="/ppt/notesSlides/notesSlide7.xml" ContentType="application/vnd.openxmlformats-officedocument.presentationml.notesSlide+xml"/>
  <Override PartName="/ppt/tags/tag121.xml" ContentType="application/vnd.openxmlformats-officedocument.presentationml.tags+xml"/>
  <Override PartName="/ppt/notesSlides/notesSlide8.xml" ContentType="application/vnd.openxmlformats-officedocument.presentationml.notesSlide+xml"/>
  <Override PartName="/ppt/tags/tag122.xml" ContentType="application/vnd.openxmlformats-officedocument.presentationml.tags+xml"/>
  <Override PartName="/ppt/notesSlides/notesSlide9.xml" ContentType="application/vnd.openxmlformats-officedocument.presentationml.notesSlide+xml"/>
  <Override PartName="/ppt/tags/tag123.xml" ContentType="application/vnd.openxmlformats-officedocument.presentationml.tags+xml"/>
  <Override PartName="/ppt/notesSlides/notesSlide10.xml" ContentType="application/vnd.openxmlformats-officedocument.presentationml.notesSlide+xml"/>
  <Override PartName="/ppt/tags/tag124.xml" ContentType="application/vnd.openxmlformats-officedocument.presentationml.tags+xml"/>
  <Override PartName="/ppt/notesSlides/notesSlide11.xml" ContentType="application/vnd.openxmlformats-officedocument.presentationml.notesSlide+xml"/>
  <Override PartName="/ppt/tags/tag125.xml" ContentType="application/vnd.openxmlformats-officedocument.presentationml.tags+xml"/>
  <Override PartName="/ppt/notesSlides/notesSlide12.xml" ContentType="application/vnd.openxmlformats-officedocument.presentationml.notesSlide+xml"/>
  <Override PartName="/ppt/tags/tag126.xml" ContentType="application/vnd.openxmlformats-officedocument.presentationml.tags+xml"/>
  <Override PartName="/ppt/notesSlides/notesSlide13.xml" ContentType="application/vnd.openxmlformats-officedocument.presentationml.notesSlide+xml"/>
  <Override PartName="/ppt/tags/tag12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28.xml" ContentType="application/vnd.openxmlformats-officedocument.presentationml.tags+xml"/>
  <Override PartName="/ppt/notesSlides/notesSlide16.xml" ContentType="application/vnd.openxmlformats-officedocument.presentationml.notesSlide+xml"/>
  <Override PartName="/ppt/tags/tag129.xml" ContentType="application/vnd.openxmlformats-officedocument.presentationml.tags+xml"/>
  <Override PartName="/ppt/notesSlides/notesSlide17.xml" ContentType="application/vnd.openxmlformats-officedocument.presentationml.notesSlide+xml"/>
  <Override PartName="/ppt/tags/tag130.xml" ContentType="application/vnd.openxmlformats-officedocument.presentationml.tags+xml"/>
  <Override PartName="/ppt/notesSlides/notesSlide18.xml" ContentType="application/vnd.openxmlformats-officedocument.presentationml.notesSlide+xml"/>
  <Override PartName="/ppt/tags/tag131.xml" ContentType="application/vnd.openxmlformats-officedocument.presentationml.tags+xml"/>
  <Override PartName="/ppt/notesSlides/notesSlide19.xml" ContentType="application/vnd.openxmlformats-officedocument.presentationml.notesSlide+xml"/>
  <Override PartName="/ppt/tags/tag132.xml" ContentType="application/vnd.openxmlformats-officedocument.presentationml.tags+xml"/>
  <Override PartName="/ppt/notesSlides/notesSlide20.xml" ContentType="application/vnd.openxmlformats-officedocument.presentationml.notesSlide+xml"/>
  <Override PartName="/ppt/tags/tag133.xml" ContentType="application/vnd.openxmlformats-officedocument.presentationml.tags+xml"/>
  <Override PartName="/ppt/notesSlides/notesSlide21.xml" ContentType="application/vnd.openxmlformats-officedocument.presentationml.notesSlide+xml"/>
  <Override PartName="/ppt/tags/tag134.xml" ContentType="application/vnd.openxmlformats-officedocument.presentationml.tags+xml"/>
  <Override PartName="/ppt/notesSlides/notesSlide22.xml" ContentType="application/vnd.openxmlformats-officedocument.presentationml.notesSlide+xml"/>
  <Override PartName="/ppt/tags/tag135.xml" ContentType="application/vnd.openxmlformats-officedocument.presentationml.tags+xml"/>
  <Override PartName="/ppt/notesSlides/notesSlide23.xml" ContentType="application/vnd.openxmlformats-officedocument.presentationml.notesSlide+xml"/>
  <Override PartName="/ppt/tags/tag136.xml" ContentType="application/vnd.openxmlformats-officedocument.presentationml.tags+xml"/>
  <Override PartName="/ppt/notesSlides/notesSlide24.xml" ContentType="application/vnd.openxmlformats-officedocument.presentationml.notesSlide+xml"/>
  <Override PartName="/ppt/tags/tag137.xml" ContentType="application/vnd.openxmlformats-officedocument.presentationml.tags+xml"/>
  <Override PartName="/ppt/notesSlides/notesSlide25.xml" ContentType="application/vnd.openxmlformats-officedocument.presentationml.notesSlide+xml"/>
  <Override PartName="/ppt/tags/tag138.xml" ContentType="application/vnd.openxmlformats-officedocument.presentationml.tags+xml"/>
  <Override PartName="/ppt/notesSlides/notesSlide26.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04" r:id="rId5"/>
    <p:sldMasterId id="2147483760" r:id="rId6"/>
  </p:sldMasterIdLst>
  <p:notesMasterIdLst>
    <p:notesMasterId r:id="rId33"/>
  </p:notesMasterIdLst>
  <p:handoutMasterIdLst>
    <p:handoutMasterId r:id="rId34"/>
  </p:handoutMasterIdLst>
  <p:sldIdLst>
    <p:sldId id="8721" r:id="rId7"/>
    <p:sldId id="1976" r:id="rId8"/>
    <p:sldId id="8683" r:id="rId9"/>
    <p:sldId id="1985" r:id="rId10"/>
    <p:sldId id="2045" r:id="rId11"/>
    <p:sldId id="2011" r:id="rId12"/>
    <p:sldId id="8756" r:id="rId13"/>
    <p:sldId id="8776" r:id="rId14"/>
    <p:sldId id="8760" r:id="rId15"/>
    <p:sldId id="2012" r:id="rId16"/>
    <p:sldId id="1993" r:id="rId17"/>
    <p:sldId id="2065" r:id="rId18"/>
    <p:sldId id="2002" r:id="rId19"/>
    <p:sldId id="8770" r:id="rId20"/>
    <p:sldId id="8729" r:id="rId21"/>
    <p:sldId id="8763" r:id="rId22"/>
    <p:sldId id="8785" r:id="rId23"/>
    <p:sldId id="8769" r:id="rId24"/>
    <p:sldId id="8766" r:id="rId25"/>
    <p:sldId id="8768" r:id="rId26"/>
    <p:sldId id="2014" r:id="rId27"/>
    <p:sldId id="8764" r:id="rId28"/>
    <p:sldId id="8771" r:id="rId29"/>
    <p:sldId id="8777" r:id="rId30"/>
    <p:sldId id="8778" r:id="rId31"/>
    <p:sldId id="8779" r:id="rId32"/>
  </p:sldIdLst>
  <p:sldSz cx="12192000" cy="6858000"/>
  <p:notesSz cx="6669088" cy="9926638"/>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æsentation af resultater" id="{09084D71-5F48-46A1-A2B7-E23E124DA0EA}">
          <p14:sldIdLst>
            <p14:sldId id="8721"/>
            <p14:sldId id="1976"/>
            <p14:sldId id="8683"/>
            <p14:sldId id="1985"/>
            <p14:sldId id="2045"/>
            <p14:sldId id="2011"/>
            <p14:sldId id="8756"/>
            <p14:sldId id="8776"/>
            <p14:sldId id="8760"/>
            <p14:sldId id="2012"/>
            <p14:sldId id="1993"/>
            <p14:sldId id="2065"/>
            <p14:sldId id="2002"/>
            <p14:sldId id="8770"/>
            <p14:sldId id="8729"/>
            <p14:sldId id="8763"/>
            <p14:sldId id="8785"/>
            <p14:sldId id="8769"/>
            <p14:sldId id="8766"/>
            <p14:sldId id="8768"/>
            <p14:sldId id="2014"/>
            <p14:sldId id="8764"/>
            <p14:sldId id="8771"/>
            <p14:sldId id="8777"/>
            <p14:sldId id="8778"/>
            <p14:sldId id="877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6B8D000-F82D-2D0C-51ED-428BE9EB0964}" name="Nikolaj Godsk Vestergaard" initials="NGV" userId="S::ngv@ramboll.com::13f6e931-e8bb-4f58-9241-2f10614c3355" providerId="AD"/>
  <p188:author id="{60F7C223-4C18-FD4B-A6A9-C7DF1445EE49}" name="Matilde Bay Lyhne" initials="MBL" userId="S::MBLH@ramboll.com::a039d037-0c3d-4f54-991e-c2f61f8db783" providerId="AD"/>
  <p188:author id="{E2AB4229-5360-8B8D-47A9-CBB0842CF039}" name="Stine Rauff Bommersholdt" initials="SRB" userId="S::srb@ramboll.com::bb454674-bbcb-4315-8711-7c6e7a96d6c8" providerId="AD"/>
  <p188:author id="{E763F33A-282B-3A02-CBE0-C9F036E4D86F}" name="Mia Rytter Lund" initials="ML" userId="S::mryl@ramboll.com::fd5a37df-57b5-4ab7-b42f-f051b0300ae8" providerId="AD"/>
  <p188:author id="{D0E44D48-1F5F-BA96-C2F1-C7B90255982D}" name="Stine Rauff Bommersholdt" initials="SRB" userId="S::SRB@ramboll.com::bb454674-bbcb-4315-8711-7c6e7a96d6c8" providerId="AD"/>
  <p188:author id="{92657D86-AABF-8C4C-6F51-D65416DCF824}" name="Line Pors Jørgensen" initials="LJ" userId="S::lej@ramboll.com::0132e566-f4bf-401a-a981-ca4845cdd2a4" providerId="AD"/>
  <p188:author id="{0BA25B9C-FEEF-EEBE-D988-74E296632A26}" name="Ida Høst Poulsen" initials="IHP" userId="S::IHPN@ramboll.com::2d088ed6-0a98-46db-a6ce-9daf67945352" providerId="AD"/>
  <p188:author id="{B8EB43D8-BA93-3328-CB14-FF93A5F1FBF8}" name="Helle Marie Andersen" initials="HMA" userId="S::hma@ramboll.com::4a3227bc-3134-4031-a68f-9facf9df4a95" providerId="AD"/>
  <p188:author id="{FD6096FA-94D4-FC42-A793-12E6BD8212EE}" name="Line Pors Jørgensen" initials="LPJ" userId="S::LEJ@ramboll.com::0132e566-f4bf-401a-a981-ca4845cdd2a4" providerId="AD"/>
  <p188:author id="{206940FC-A99F-6378-E12A-33EDEA0780C5}" name="Sophie Bayer" initials="SB" userId="S::AECB@ramboll.com::ede9276c-710b-4378-937b-bdc2eba6c543" providerId="AD"/>
  <p188:author id="{C1F161FD-E976-00BF-7048-A16D50EA37DE}" name="Mia Rytter Lund" initials="MRL" userId="S::MRYL@ramboll.com::fd5a37df-57b5-4ab7-b42f-f051b0300ae8"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E6E6E6"/>
    <a:srgbClr val="FFFFFF"/>
    <a:srgbClr val="273F68"/>
    <a:srgbClr val="FFD11D"/>
    <a:srgbClr val="D5B429"/>
    <a:srgbClr val="DDC251"/>
    <a:srgbClr val="E4CF74"/>
    <a:srgbClr val="BD9ADD"/>
    <a:srgbClr val="EFF2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002"/>
    <p:restoredTop sz="83171" autoAdjust="0"/>
  </p:normalViewPr>
  <p:slideViewPr>
    <p:cSldViewPr snapToGrid="0">
      <p:cViewPr varScale="1">
        <p:scale>
          <a:sx n="123" d="100"/>
          <a:sy n="123" d="100"/>
        </p:scale>
        <p:origin x="1236" y="9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da Høst Poulsen" userId="2d088ed6-0a98-46db-a6ce-9daf67945352" providerId="ADAL" clId="{D402A162-ECC8-4971-A14E-2739B1B752C3}"/>
    <pc:docChg chg="">
      <pc:chgData name="Ida Høst Poulsen" userId="2d088ed6-0a98-46db-a6ce-9daf67945352" providerId="ADAL" clId="{D402A162-ECC8-4971-A14E-2739B1B752C3}" dt="2024-06-19T12:10:42.583" v="0"/>
      <pc:docMkLst>
        <pc:docMk/>
      </pc:docMkLst>
      <pc:sldChg chg="delCm">
        <pc:chgData name="Ida Høst Poulsen" userId="2d088ed6-0a98-46db-a6ce-9daf67945352" providerId="ADAL" clId="{D402A162-ECC8-4971-A14E-2739B1B752C3}" dt="2024-06-19T12:10:42.583" v="0"/>
        <pc:sldMkLst>
          <pc:docMk/>
          <pc:sldMk cId="3461422637" sldId="2012"/>
        </pc:sldMkLst>
        <pc:extLst>
          <p:ext xmlns:p="http://schemas.openxmlformats.org/presentationml/2006/main" uri="{D6D511B9-2390-475A-947B-AFAB55BFBCF1}">
            <pc226:cmChg xmlns:pc226="http://schemas.microsoft.com/office/powerpoint/2022/06/main/command" chg="del">
              <pc226:chgData name="Ida Høst Poulsen" userId="2d088ed6-0a98-46db-a6ce-9daf67945352" providerId="ADAL" clId="{D402A162-ECC8-4971-A14E-2739B1B752C3}" dt="2024-06-19T12:10:42.583" v="0"/>
              <pc2:cmMkLst xmlns:pc2="http://schemas.microsoft.com/office/powerpoint/2019/9/main/command">
                <pc:docMk/>
                <pc:sldMk cId="3461422637" sldId="2012"/>
                <pc2:cmMk id="{3AB55653-2941-427F-9332-84256FD65883}"/>
              </pc2:cmMkLst>
            </pc226:cmChg>
          </p:ext>
        </pc:ext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777607" y="0"/>
            <a:ext cx="2889938" cy="498056"/>
          </a:xfrm>
          <a:prstGeom prst="rect">
            <a:avLst/>
          </a:prstGeom>
        </p:spPr>
        <p:txBody>
          <a:bodyPr vert="horz" lIns="91440" tIns="45720" rIns="91440" bIns="45720" rtlCol="0"/>
          <a:lstStyle>
            <a:lvl1pPr algn="r">
              <a:defRPr sz="1200"/>
            </a:lvl1pPr>
          </a:lstStyle>
          <a:p>
            <a:fld id="{A942B987-EC31-4746-B4E6-062CD7AA3A1A}" type="datetime1">
              <a:rPr lang="en-GB" smtClean="0"/>
              <a:t>19/06/2024</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777607" y="9428584"/>
            <a:ext cx="2889938" cy="498055"/>
          </a:xfrm>
          <a:prstGeom prst="rect">
            <a:avLst/>
          </a:prstGeom>
        </p:spPr>
        <p:txBody>
          <a:bodyPr vert="horz" lIns="91440" tIns="45720" rIns="91440" bIns="45720" rtlCol="0" anchor="b"/>
          <a:lstStyle>
            <a:lvl1pPr algn="r">
              <a:defRPr sz="1200"/>
            </a:lvl1pPr>
          </a:lstStyle>
          <a:p>
            <a:fld id="{C5BF6EE6-6533-46A0-A8FB-DBC252423243}" type="slidenum">
              <a:rPr lang="en-GB" smtClean="0"/>
              <a:t>‹#›</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9428584"/>
            <a:ext cx="2889938" cy="498055"/>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rtl="0">
              <a:defRPr sz="1200"/>
            </a:lvl1pPr>
          </a:lstStyle>
          <a:p>
            <a:fld id="{1B1D025B-ACD2-45C1-B156-1DDB470CE319}" type="slidenum">
              <a:rPr lang="da-DK" smtClean="0"/>
              <a:pPr/>
              <a:t>‹#›</a:t>
            </a:fld>
            <a:endParaRPr lang="da-DK"/>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66909" y="4777195"/>
            <a:ext cx="5335270" cy="3908614"/>
          </a:xfrm>
          <a:prstGeom prst="rect">
            <a:avLst/>
          </a:prstGeom>
        </p:spPr>
        <p:txBody>
          <a:bodyPr vert="horz" lIns="91440" tIns="45720" rIns="91440" bIns="45720" rtlCol="0"/>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777607" y="0"/>
            <a:ext cx="2889938" cy="498056"/>
          </a:xfrm>
          <a:prstGeom prst="rect">
            <a:avLst/>
          </a:prstGeom>
        </p:spPr>
        <p:txBody>
          <a:bodyPr vert="horz" lIns="91440" tIns="45720" rIns="91440" bIns="45720" rtlCol="0"/>
          <a:lstStyle>
            <a:lvl1pPr algn="r" rtl="0">
              <a:defRPr sz="1200"/>
            </a:lvl1pPr>
          </a:lstStyle>
          <a:p>
            <a:fld id="{D325BBF7-0B0C-48D4-ABAA-EF360EF241C5}" type="datetime1">
              <a:rPr lang="da-DK" smtClean="0"/>
              <a:pPr/>
              <a:t>19-06-2024</a:t>
            </a:fld>
            <a:endParaRPr lang="da-DK"/>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rtl="0">
              <a:defRPr sz="1200"/>
            </a:lvl1pPr>
          </a:lstStyle>
          <a:p>
            <a:endParaRPr lang="da-DK"/>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357188" y="1239838"/>
            <a:ext cx="5954712" cy="3351212"/>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rtl="0">
              <a:defRPr sz="1200"/>
            </a:lvl1pPr>
          </a:lstStyle>
          <a:p>
            <a:endParaRPr lang="da-DK"/>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1</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736760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0"/>
        <p:cNvGrpSpPr/>
        <p:nvPr/>
      </p:nvGrpSpPr>
      <p:grpSpPr>
        <a:xfrm>
          <a:off x="0" y="0"/>
          <a:ext cx="0" cy="0"/>
          <a:chOff x="0" y="0"/>
          <a:chExt cx="0" cy="0"/>
        </a:xfrm>
      </p:grpSpPr>
      <p:sp>
        <p:nvSpPr>
          <p:cNvPr id="691" name="Google Shape;691;g35f391192_00:notes"/>
          <p:cNvSpPr>
            <a:spLocks noGrp="1" noRot="1" noChangeAspect="1"/>
          </p:cNvSpPr>
          <p:nvPr>
            <p:ph type="sldImg" idx="2"/>
          </p:nvPr>
        </p:nvSpPr>
        <p:spPr>
          <a:xfrm>
            <a:off x="-349250" y="808038"/>
            <a:ext cx="7183438" cy="40417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2" name="Google Shape;692;g35f391192_00:notes"/>
          <p:cNvSpPr txBox="1">
            <a:spLocks noGrp="1"/>
          </p:cNvSpPr>
          <p:nvPr>
            <p:ph type="body" idx="1"/>
          </p:nvPr>
        </p:nvSpPr>
        <p:spPr>
          <a:xfrm>
            <a:off x="648539" y="5118725"/>
            <a:ext cx="5188303" cy="4849318"/>
          </a:xfrm>
          <a:prstGeom prst="rect">
            <a:avLst/>
          </a:prstGeom>
        </p:spPr>
        <p:txBody>
          <a:bodyPr spcFirstLastPara="1" wrap="square" lIns="91425" tIns="91425" rIns="91425" bIns="91425" anchor="t" anchorCtr="0">
            <a:noAutofit/>
          </a:bodyPr>
          <a:lstStyle/>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0" lvl="0" indent="0" algn="l">
              <a:spcBef>
                <a:spcPts val="0"/>
              </a:spcBef>
              <a:spcAft>
                <a:spcPts val="0"/>
              </a:spcAft>
              <a:buNone/>
            </a:pPr>
            <a:endParaRPr lang="da-DK"/>
          </a:p>
        </p:txBody>
      </p:sp>
    </p:spTree>
    <p:extLst>
      <p:ext uri="{BB962C8B-B14F-4D97-AF65-F5344CB8AC3E}">
        <p14:creationId xmlns:p14="http://schemas.microsoft.com/office/powerpoint/2010/main" val="17975486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ts val="1300"/>
              </a:lnSpc>
              <a:buFont typeface="Arial" panose="020B0604020202020204" pitchFamily="34" charset="0"/>
              <a:buNone/>
              <a:tabLst>
                <a:tab pos="457200" algn="l"/>
              </a:tabLst>
            </a:pPr>
            <a:endParaRPr lang="da-DK" sz="1000" kern="1200" baseline="0">
              <a:solidFill>
                <a:srgbClr val="000000"/>
              </a:solidFill>
              <a:effectLst/>
              <a:latin typeface="Verdana" panose="020B0604030504040204" pitchFamily="34" charset="0"/>
              <a:ea typeface="+mn-ea"/>
              <a:cs typeface="+mn-cs"/>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11</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2244706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2</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0008243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da-DK" sz="1000" b="1" baseline="0" dirty="0">
                <a:latin typeface="Verdana" panose="020B0604030504040204" pitchFamily="34" charset="0"/>
                <a:ea typeface="Verdana" panose="020B0604030504040204" pitchFamily="34" charset="0"/>
              </a:rPr>
              <a:t>Uddybende noter: </a:t>
            </a:r>
          </a:p>
          <a:p>
            <a:pPr algn="l"/>
            <a:endParaRPr lang="da-DK" sz="1000" b="1" baseline="0" dirty="0">
              <a:latin typeface="Verdana" panose="020B0604030504040204" pitchFamily="34" charset="0"/>
              <a:ea typeface="Verdana" panose="020B0604030504040204" pitchFamily="34" charset="0"/>
            </a:endParaRPr>
          </a:p>
          <a:p>
            <a:pPr algn="l">
              <a:lnSpc>
                <a:spcPct val="107000"/>
              </a:lnSpc>
              <a:spcAft>
                <a:spcPts val="800"/>
              </a:spcAft>
            </a:pPr>
            <a:r>
              <a:rPr lang="da-DK" sz="1800" dirty="0">
                <a:effectLst/>
                <a:latin typeface="Verdana" panose="020B0604030504040204" pitchFamily="34" charset="0"/>
                <a:ea typeface="Calibri" panose="020F0502020204030204" pitchFamily="34" charset="0"/>
                <a:cs typeface="Times New Roman" panose="02020603050405020304" pitchFamily="18" charset="0"/>
              </a:rPr>
              <a:t>Der er dobbelt så mange blandt pædagogisk personale, der har eksperimenteret med aktionslæring på skolerne i år (2024), sammenlignet med sidste år. </a:t>
            </a:r>
          </a:p>
          <a:p>
            <a:pPr algn="l">
              <a:lnSpc>
                <a:spcPct val="107000"/>
              </a:lnSpc>
              <a:spcAft>
                <a:spcPts val="800"/>
              </a:spcAft>
            </a:pPr>
            <a:endParaRPr lang="da-DK" sz="1800" dirty="0">
              <a:effectLst/>
              <a:latin typeface="Verdana" panose="020B0604030504040204" pitchFamily="34" charset="0"/>
              <a:ea typeface="Calibri" panose="020F0502020204030204" pitchFamily="34" charset="0"/>
              <a:cs typeface="Times New Roman" panose="02020603050405020304" pitchFamily="18" charset="0"/>
            </a:endParaRPr>
          </a:p>
          <a:p>
            <a:pPr algn="l">
              <a:lnSpc>
                <a:spcPct val="107000"/>
              </a:lnSpc>
              <a:spcAft>
                <a:spcPts val="800"/>
              </a:spcAft>
            </a:pPr>
            <a:r>
              <a:rPr lang="da-DK" sz="1800" dirty="0">
                <a:effectLst/>
                <a:latin typeface="Verdana" panose="020B0604030504040204" pitchFamily="34" charset="0"/>
                <a:ea typeface="Calibri" panose="020F0502020204030204" pitchFamily="34" charset="0"/>
                <a:cs typeface="Times New Roman" panose="02020603050405020304" pitchFamily="18" charset="0"/>
              </a:rPr>
              <a:t>Evalueringen viser, at: </a:t>
            </a:r>
          </a:p>
          <a:p>
            <a:pPr algn="l"/>
            <a:endParaRPr lang="da-DK" sz="1000" b="1" baseline="0" dirty="0">
              <a:latin typeface="Verdana" panose="020B0604030504040204" pitchFamily="34" charset="0"/>
              <a:ea typeface="Verdana" panose="020B0604030504040204" pitchFamily="34" charset="0"/>
            </a:endParaRPr>
          </a:p>
          <a:p>
            <a:pPr marL="342900" lvl="0" indent="-342900" algn="l">
              <a:lnSpc>
                <a:spcPct val="107000"/>
              </a:lnSpc>
              <a:spcAft>
                <a:spcPts val="800"/>
              </a:spcAft>
              <a:buFont typeface="+mj-lt"/>
              <a:buAutoNum type="arabicPeriod"/>
              <a:tabLst>
                <a:tab pos="457200" algn="l"/>
              </a:tabLst>
            </a:pPr>
            <a:r>
              <a:rPr lang="da-DK" sz="900" b="1" dirty="0">
                <a:effectLst/>
                <a:latin typeface="Verdana" panose="020B0604030504040204" pitchFamily="34" charset="0"/>
                <a:ea typeface="Calibri" panose="020F0502020204030204" pitchFamily="34" charset="0"/>
                <a:cs typeface="Times New Roman" panose="02020603050405020304" pitchFamily="18" charset="0"/>
              </a:rPr>
              <a:t>Pædagogisk personale generelt oplever, at aktionslæringsforløb fremmer indsigt i egen praksis. </a:t>
            </a:r>
            <a:endParaRPr lang="da-DK" sz="900" dirty="0">
              <a:effectLst/>
              <a:latin typeface="Verdana" panose="020B0604030504040204" pitchFamily="34" charset="0"/>
              <a:ea typeface="Calibri" panose="020F0502020204030204" pitchFamily="34" charset="0"/>
              <a:cs typeface="Times New Roman" panose="02020603050405020304" pitchFamily="18" charset="0"/>
            </a:endParaRPr>
          </a:p>
          <a:p>
            <a:pPr marL="742950" lvl="1" indent="-285750" algn="l">
              <a:lnSpc>
                <a:spcPct val="107000"/>
              </a:lnSpc>
              <a:spcAft>
                <a:spcPts val="800"/>
              </a:spcAft>
              <a:buFont typeface="Arial" panose="020B0604020202020204" pitchFamily="34" charset="0"/>
              <a:buChar char="•"/>
              <a:tabLst>
                <a:tab pos="914400" algn="l"/>
              </a:tabLst>
            </a:pPr>
            <a:r>
              <a:rPr lang="da-DK" sz="900" dirty="0">
                <a:effectLst/>
                <a:latin typeface="Verdana" panose="020B0604030504040204" pitchFamily="34" charset="0"/>
                <a:ea typeface="Calibri" panose="020F0502020204030204" pitchFamily="34" charset="0"/>
                <a:cs typeface="Times New Roman" panose="02020603050405020304" pitchFamily="18" charset="0"/>
              </a:rPr>
              <a:t>Både pædagogisk personale og ledelse oplever i år en større værdi i arbejdet med aktionslæring. Pædagogisk personale på flere skoler fortæller fx, at det er motiverende at fordybe sig i didaktiske og pædagogiske overvejelser om undervisningen. </a:t>
            </a:r>
          </a:p>
          <a:p>
            <a:pPr marL="742950" lvl="1" indent="-285750" algn="l">
              <a:lnSpc>
                <a:spcPct val="107000"/>
              </a:lnSpc>
              <a:spcAft>
                <a:spcPts val="800"/>
              </a:spcAft>
              <a:buFont typeface="Arial" panose="020B0604020202020204" pitchFamily="34" charset="0"/>
              <a:buChar char="•"/>
              <a:tabLst>
                <a:tab pos="914400" algn="l"/>
              </a:tabLst>
            </a:pPr>
            <a:r>
              <a:rPr lang="da-DK" sz="900" dirty="0">
                <a:effectLst/>
                <a:latin typeface="Verdana" panose="020B0604030504040204" pitchFamily="34" charset="0"/>
                <a:ea typeface="Calibri" panose="020F0502020204030204" pitchFamily="34" charset="0"/>
                <a:cs typeface="Times New Roman" panose="02020603050405020304" pitchFamily="18" charset="0"/>
              </a:rPr>
              <a:t>Af spørgeskemaundersøgelsen fremgår det, at tre ud af fire blandt pædagogisk personale og ledelse (72 pct.) oplever, at arbejdet med aktionslæring fremmer indsigt i egen praksis.</a:t>
            </a:r>
            <a:br>
              <a:rPr lang="da-DK" sz="900" dirty="0">
                <a:effectLst/>
                <a:latin typeface="Verdana" panose="020B0604030504040204" pitchFamily="34" charset="0"/>
                <a:ea typeface="Calibri" panose="020F0502020204030204" pitchFamily="34" charset="0"/>
                <a:cs typeface="Times New Roman" panose="02020603050405020304" pitchFamily="18" charset="0"/>
              </a:rPr>
            </a:br>
            <a:endParaRPr lang="da-DK" sz="9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800"/>
              </a:spcAft>
              <a:buFont typeface="+mj-lt"/>
              <a:buAutoNum type="arabicPeriod"/>
              <a:tabLst>
                <a:tab pos="457200" algn="l"/>
              </a:tabLst>
            </a:pPr>
            <a:r>
              <a:rPr lang="da-DK" sz="900" b="1" dirty="0">
                <a:effectLst/>
                <a:latin typeface="Verdana" panose="020B0604030504040204" pitchFamily="34" charset="0"/>
                <a:ea typeface="Calibri" panose="020F0502020204030204" pitchFamily="34" charset="0"/>
                <a:cs typeface="Times New Roman" panose="02020603050405020304" pitchFamily="18" charset="0"/>
              </a:rPr>
              <a:t>Pædagogisk personales prøvehandlinger ofte foregår i afgrænsede perioder og generelt er forholdsvist små.</a:t>
            </a:r>
            <a:endParaRPr lang="da-DK" sz="900" dirty="0">
              <a:effectLst/>
              <a:latin typeface="Verdana" panose="020B0604030504040204" pitchFamily="34" charset="0"/>
              <a:ea typeface="Calibri" panose="020F0502020204030204" pitchFamily="34" charset="0"/>
              <a:cs typeface="Times New Roman" panose="02020603050405020304" pitchFamily="18" charset="0"/>
            </a:endParaRPr>
          </a:p>
          <a:p>
            <a:pPr marL="742950" lvl="1" indent="-285750" algn="l">
              <a:lnSpc>
                <a:spcPct val="107000"/>
              </a:lnSpc>
              <a:spcAft>
                <a:spcPts val="800"/>
              </a:spcAft>
              <a:buFont typeface="Arial" panose="020B0604020202020204" pitchFamily="34" charset="0"/>
              <a:buChar char="•"/>
              <a:tabLst>
                <a:tab pos="914400" algn="l"/>
              </a:tabLst>
            </a:pPr>
            <a:r>
              <a:rPr lang="da-DK" sz="900" dirty="0">
                <a:effectLst/>
                <a:latin typeface="Verdana" panose="020B0604030504040204" pitchFamily="34" charset="0"/>
                <a:ea typeface="Calibri" panose="020F0502020204030204" pitchFamily="34" charset="0"/>
                <a:cs typeface="Times New Roman" panose="02020603050405020304" pitchFamily="18" charset="0"/>
              </a:rPr>
              <a:t>Ofte afprøver pædagogisk personale også prøvehandlinger i afgrænsede perioder og udfaser dem, når de går i gang med et nyt aktionslæringsforløb. Derfor er der et uforløst potentiale </a:t>
            </a:r>
            <a:r>
              <a:rPr lang="da-DK" sz="900" u="sng" dirty="0">
                <a:solidFill>
                  <a:srgbClr val="008080"/>
                </a:solidFill>
                <a:effectLst/>
                <a:latin typeface="Verdana" panose="020B0604030504040204" pitchFamily="34" charset="0"/>
                <a:ea typeface="Calibri" panose="020F0502020204030204" pitchFamily="34" charset="0"/>
                <a:cs typeface="Times New Roman" panose="02020603050405020304" pitchFamily="18" charset="0"/>
              </a:rPr>
              <a:t>i </a:t>
            </a:r>
            <a:r>
              <a:rPr lang="da-DK" sz="900" dirty="0">
                <a:effectLst/>
                <a:latin typeface="Verdana" panose="020B0604030504040204" pitchFamily="34" charset="0"/>
                <a:ea typeface="Calibri" panose="020F0502020204030204" pitchFamily="34" charset="0"/>
                <a:cs typeface="Times New Roman" panose="02020603050405020304" pitchFamily="18" charset="0"/>
              </a:rPr>
              <a:t>at fastholde og videreudvikle på allerede eksisterende prøvehandlinger for at sikre en mere kontinuerlig praksisudvikling. </a:t>
            </a:r>
          </a:p>
          <a:p>
            <a:pPr marL="742950" lvl="1" indent="-285750" algn="l">
              <a:lnSpc>
                <a:spcPct val="107000"/>
              </a:lnSpc>
              <a:spcAft>
                <a:spcPts val="800"/>
              </a:spcAft>
              <a:buFont typeface="Arial" panose="020B0604020202020204" pitchFamily="34" charset="0"/>
              <a:buChar char="•"/>
              <a:tabLst>
                <a:tab pos="914400" algn="l"/>
              </a:tabLst>
            </a:pPr>
            <a:r>
              <a:rPr lang="da-DK" sz="900" dirty="0">
                <a:effectLst/>
                <a:latin typeface="Verdana" panose="020B0604030504040204" pitchFamily="34" charset="0"/>
                <a:ea typeface="Calibri" panose="020F0502020204030204" pitchFamily="34" charset="0"/>
                <a:cs typeface="Times New Roman" panose="02020603050405020304" pitchFamily="18" charset="0"/>
              </a:rPr>
              <a:t>Der er blandt andet eksempler på prøvehandlinger, som handler om at lave gruppeopdeling i klassen frem for, at nogle elever går uden for klassen, mens andre bliver i klassen. Der er også eksempler på prøvehandlinger, som alene vedrører enkeltelever og dermed ikke kommer hele elevgruppen til gavn. </a:t>
            </a:r>
            <a:br>
              <a:rPr lang="da-DK" sz="900" dirty="0">
                <a:effectLst/>
                <a:latin typeface="Verdana" panose="020B0604030504040204" pitchFamily="34" charset="0"/>
                <a:ea typeface="Calibri" panose="020F0502020204030204" pitchFamily="34" charset="0"/>
                <a:cs typeface="Times New Roman" panose="02020603050405020304" pitchFamily="18" charset="0"/>
              </a:rPr>
            </a:br>
            <a:endParaRPr lang="da-DK" sz="9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800"/>
              </a:spcAft>
              <a:buFont typeface="+mj-lt"/>
              <a:buAutoNum type="arabicPeriod"/>
              <a:tabLst>
                <a:tab pos="457200" algn="l"/>
              </a:tabLst>
            </a:pPr>
            <a:r>
              <a:rPr lang="da-DK" sz="900" b="1" dirty="0">
                <a:effectLst/>
                <a:latin typeface="Verdana" panose="020B0604030504040204" pitchFamily="34" charset="0"/>
                <a:ea typeface="Calibri" panose="020F0502020204030204" pitchFamily="34" charset="0"/>
                <a:cs typeface="Times New Roman" panose="02020603050405020304" pitchFamily="18" charset="0"/>
              </a:rPr>
              <a:t>Pædagogisk personale</a:t>
            </a:r>
            <a:r>
              <a:rPr lang="da-DK" sz="900" dirty="0">
                <a:effectLst/>
                <a:latin typeface="Verdana" panose="020B0604030504040204" pitchFamily="34" charset="0"/>
                <a:ea typeface="Calibri" panose="020F0502020204030204" pitchFamily="34" charset="0"/>
                <a:cs typeface="Times New Roman" panose="02020603050405020304" pitchFamily="18" charset="0"/>
              </a:rPr>
              <a:t> </a:t>
            </a:r>
            <a:r>
              <a:rPr lang="da-DK" sz="900" b="1" dirty="0">
                <a:effectLst/>
                <a:latin typeface="Verdana" panose="020B0604030504040204" pitchFamily="34" charset="0"/>
                <a:ea typeface="Calibri" panose="020F0502020204030204" pitchFamily="34" charset="0"/>
                <a:cs typeface="Times New Roman" panose="02020603050405020304" pitchFamily="18" charset="0"/>
              </a:rPr>
              <a:t>sjældent</a:t>
            </a:r>
            <a:r>
              <a:rPr lang="da-DK" sz="900" dirty="0">
                <a:effectLst/>
                <a:latin typeface="Verdana" panose="020B0604030504040204" pitchFamily="34" charset="0"/>
                <a:ea typeface="Calibri" panose="020F0502020204030204" pitchFamily="34" charset="0"/>
                <a:cs typeface="Times New Roman" panose="02020603050405020304" pitchFamily="18" charset="0"/>
              </a:rPr>
              <a:t> </a:t>
            </a:r>
            <a:r>
              <a:rPr lang="da-DK" sz="900" b="1" dirty="0">
                <a:effectLst/>
                <a:latin typeface="Verdana" panose="020B0604030504040204" pitchFamily="34" charset="0"/>
                <a:ea typeface="Calibri" panose="020F0502020204030204" pitchFamily="34" charset="0"/>
                <a:cs typeface="Times New Roman" panose="02020603050405020304" pitchFamily="18" charset="0"/>
              </a:rPr>
              <a:t>har indblik i hinandens prøvehandlinger.</a:t>
            </a:r>
            <a:endParaRPr lang="da-DK" sz="900" dirty="0">
              <a:effectLst/>
              <a:latin typeface="Verdana" panose="020B0604030504040204" pitchFamily="34" charset="0"/>
              <a:ea typeface="Calibri" panose="020F0502020204030204" pitchFamily="34" charset="0"/>
              <a:cs typeface="Times New Roman" panose="02020603050405020304" pitchFamily="18" charset="0"/>
            </a:endParaRPr>
          </a:p>
          <a:p>
            <a:pPr marL="742950" lvl="1" indent="-285750" algn="l">
              <a:lnSpc>
                <a:spcPct val="107000"/>
              </a:lnSpc>
              <a:spcAft>
                <a:spcPts val="800"/>
              </a:spcAft>
              <a:buFont typeface="Arial" panose="020B0604020202020204" pitchFamily="34" charset="0"/>
              <a:buChar char="•"/>
              <a:tabLst>
                <a:tab pos="914400" algn="l"/>
              </a:tabLst>
            </a:pPr>
            <a:r>
              <a:rPr lang="da-DK" sz="900" dirty="0">
                <a:effectLst/>
                <a:latin typeface="Verdana" panose="020B0604030504040204" pitchFamily="34" charset="0"/>
                <a:ea typeface="Calibri" panose="020F0502020204030204" pitchFamily="34" charset="0"/>
                <a:cs typeface="Times New Roman" panose="02020603050405020304" pitchFamily="18" charset="0"/>
              </a:rPr>
              <a:t>På mange skoler har pædagogisk personale generelt ikke kendskab til de prøvehandlinger, som andre teams har afprøvet. Det gør, at praksisudviklingen fortsat foregår i små, afgrænsede cirkler, og at gode erfaringer fra naboklasserne sjældent bliver delt til gavn for alle elever på skolerne. </a:t>
            </a:r>
          </a:p>
          <a:p>
            <a:pPr algn="l"/>
            <a:endParaRPr lang="da-DK" sz="1000" b="1" baseline="0" dirty="0">
              <a:latin typeface="Verdana" panose="020B0604030504040204" pitchFamily="34" charset="0"/>
              <a:ea typeface="Verdana" panose="020B0604030504040204" pitchFamily="34" charset="0"/>
            </a:endParaRPr>
          </a:p>
          <a:p>
            <a:pPr algn="l">
              <a:lnSpc>
                <a:spcPct val="107000"/>
              </a:lnSpc>
              <a:spcAft>
                <a:spcPts val="800"/>
              </a:spcAft>
            </a:pPr>
            <a:br>
              <a:rPr lang="da-DK" sz="1800" b="1" dirty="0">
                <a:effectLst/>
                <a:latin typeface="Verdana" panose="020B0604030504040204" pitchFamily="34" charset="0"/>
                <a:ea typeface="Calibri" panose="020F0502020204030204" pitchFamily="34" charset="0"/>
                <a:cs typeface="Times New Roman" panose="02020603050405020304" pitchFamily="18" charset="0"/>
              </a:rPr>
            </a:br>
            <a:r>
              <a:rPr lang="da-DK" sz="1800" b="0" dirty="0">
                <a:effectLst/>
                <a:latin typeface="Verdana" panose="020B0604030504040204" pitchFamily="34" charset="0"/>
                <a:ea typeface="Calibri" panose="020F0502020204030204" pitchFamily="34" charset="0"/>
                <a:cs typeface="Times New Roman" panose="02020603050405020304" pitchFamily="18" charset="0"/>
              </a:rPr>
              <a:t>Fremadrettet kan det styrke praksis, at…</a:t>
            </a:r>
            <a:br>
              <a:rPr lang="da-DK" sz="1800" b="1" dirty="0">
                <a:effectLst/>
                <a:latin typeface="Verdana" panose="020B0604030504040204" pitchFamily="34" charset="0"/>
                <a:ea typeface="Calibri" panose="020F0502020204030204" pitchFamily="34" charset="0"/>
                <a:cs typeface="Times New Roman" panose="02020603050405020304" pitchFamily="18" charset="0"/>
              </a:rPr>
            </a:br>
            <a:endParaRPr lang="da-DK" sz="18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800"/>
              </a:spcAft>
              <a:buFont typeface="Arial" panose="020B0604020202020204" pitchFamily="34" charset="0"/>
              <a:buChar char="•"/>
              <a:tabLst>
                <a:tab pos="457200" algn="l"/>
              </a:tabLst>
            </a:pPr>
            <a:r>
              <a:rPr lang="da-DK" sz="1800" b="1" dirty="0">
                <a:effectLst/>
                <a:latin typeface="Verdana" panose="020B0604030504040204" pitchFamily="34" charset="0"/>
                <a:ea typeface="Calibri" panose="020F0502020204030204" pitchFamily="34" charset="0"/>
                <a:cs typeface="Times New Roman" panose="02020603050405020304" pitchFamily="18" charset="0"/>
              </a:rPr>
              <a:t>… udforme prøvehandlinger, der tager afsæt i en lokal udfordring tæt på praksis. </a:t>
            </a:r>
            <a:r>
              <a:rPr lang="da-DK" sz="1800" dirty="0">
                <a:effectLst/>
                <a:latin typeface="Verdana" panose="020B0604030504040204" pitchFamily="34" charset="0"/>
                <a:ea typeface="Calibri" panose="020F0502020204030204" pitchFamily="34" charset="0"/>
                <a:cs typeface="Times New Roman" panose="02020603050405020304" pitchFamily="18" charset="0"/>
              </a:rPr>
              <a:t>Pædagogisk personale oplever, at aktionslæringsforløb er mere værdiskabende, når de tager afsæt i konkrete og nærliggende udfordringer tæt på egen praksis. Personalet kan nemmere observere virkningen af handlingen og integrere den naturligt i undervisningen, hvis den ikke er for abstrakt eller teoretisk.</a:t>
            </a:r>
            <a:br>
              <a:rPr lang="da-DK" sz="1800" dirty="0">
                <a:effectLst/>
                <a:latin typeface="Verdana" panose="020B0604030504040204" pitchFamily="34" charset="0"/>
                <a:ea typeface="Calibri" panose="020F0502020204030204" pitchFamily="34" charset="0"/>
                <a:cs typeface="Times New Roman" panose="02020603050405020304" pitchFamily="18" charset="0"/>
              </a:rPr>
            </a:br>
            <a:endParaRPr lang="da-DK" sz="18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800"/>
              </a:spcAft>
              <a:buFont typeface="Arial" panose="020B0604020202020204" pitchFamily="34" charset="0"/>
              <a:buChar char="•"/>
              <a:tabLst>
                <a:tab pos="457200" algn="l"/>
              </a:tabLst>
            </a:pPr>
            <a:r>
              <a:rPr lang="da-DK" sz="1800" b="1" dirty="0">
                <a:effectLst/>
                <a:latin typeface="Verdana" panose="020B0604030504040204" pitchFamily="34" charset="0"/>
                <a:ea typeface="Calibri" panose="020F0502020204030204" pitchFamily="34" charset="0"/>
                <a:cs typeface="Times New Roman" panose="02020603050405020304" pitchFamily="18" charset="0"/>
              </a:rPr>
              <a:t>… inddrage kolleger, som ikke kender elevgruppen for at få nyt blik på problemstillinger. </a:t>
            </a:r>
            <a:r>
              <a:rPr lang="da-DK" sz="1800" dirty="0">
                <a:effectLst/>
                <a:latin typeface="Verdana" panose="020B0604030504040204" pitchFamily="34" charset="0"/>
                <a:ea typeface="Calibri" panose="020F0502020204030204" pitchFamily="34" charset="0"/>
                <a:cs typeface="Times New Roman" panose="02020603050405020304" pitchFamily="18" charset="0"/>
              </a:rPr>
              <a:t>Flere fortæller, at det skaber stor værdi for dem at få sparring fra fx UCN-konsulenter, fordi de bidrager med et blik udefra og præsenterer nye metoder og tilgange til at løse konkrete udfordringer. For at skabe en lignende ramme for praksisudvikling i fremtiden, kan teams med fordel invitere kolleger ind fra andre teams, som kan dele deres perspektiver og indgå som den ’kritiske ven’, der udfordrer teamets opfattelser af bestemte elever og situationer i undervisningen. </a:t>
            </a:r>
            <a:br>
              <a:rPr lang="da-DK" sz="1800" dirty="0">
                <a:effectLst/>
                <a:latin typeface="Verdana" panose="020B0604030504040204" pitchFamily="34" charset="0"/>
                <a:ea typeface="Calibri" panose="020F0502020204030204" pitchFamily="34" charset="0"/>
                <a:cs typeface="Times New Roman" panose="02020603050405020304" pitchFamily="18" charset="0"/>
              </a:rPr>
            </a:br>
            <a:endParaRPr lang="da-DK" sz="18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800"/>
              </a:spcAft>
              <a:buFont typeface="Arial" panose="020B0604020202020204" pitchFamily="34" charset="0"/>
              <a:buChar char="•"/>
              <a:tabLst>
                <a:tab pos="457200" algn="l"/>
              </a:tabLst>
            </a:pPr>
            <a:r>
              <a:rPr lang="da-DK" sz="1800" b="1" dirty="0">
                <a:effectLst/>
                <a:latin typeface="Verdana" panose="020B0604030504040204" pitchFamily="34" charset="0"/>
                <a:ea typeface="Calibri" panose="020F0502020204030204" pitchFamily="34" charset="0"/>
                <a:cs typeface="Times New Roman" panose="02020603050405020304" pitchFamily="18" charset="0"/>
              </a:rPr>
              <a:t>… drøfte, hvad en prøvehandling kan være, og hvilke didaktiske intentioner der ligger bag nuværende prøvehandlinger. </a:t>
            </a:r>
            <a:r>
              <a:rPr lang="da-DK" sz="1800" dirty="0">
                <a:effectLst/>
                <a:latin typeface="Verdana" panose="020B0604030504040204" pitchFamily="34" charset="0"/>
                <a:ea typeface="Calibri" panose="020F0502020204030204" pitchFamily="34" charset="0"/>
                <a:cs typeface="Times New Roman" panose="02020603050405020304" pitchFamily="18" charset="0"/>
              </a:rPr>
              <a:t>For at undgå at prøvehandlinger bliver for små og dermed ikke skaber den ønskede forandring i praksis, kan man med fordel drøfte som skole og team, hvad succeskriterierne er for en prøvehandling. Det handler blandt andet om at blive opmærksom på, hvad den didaktiske intention er bag en prøvehandling og vurdere, om prøvehandlingen står mål med intentionen. </a:t>
            </a:r>
            <a:br>
              <a:rPr lang="da-DK" sz="1800" dirty="0">
                <a:effectLst/>
                <a:latin typeface="Verdana" panose="020B0604030504040204" pitchFamily="34" charset="0"/>
                <a:ea typeface="Calibri" panose="020F0502020204030204" pitchFamily="34" charset="0"/>
                <a:cs typeface="Times New Roman" panose="02020603050405020304" pitchFamily="18" charset="0"/>
              </a:rPr>
            </a:br>
            <a:endParaRPr lang="da-DK" sz="18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800"/>
              </a:spcAft>
              <a:buFont typeface="Arial" panose="020B0604020202020204" pitchFamily="34" charset="0"/>
              <a:buChar char="•"/>
              <a:tabLst>
                <a:tab pos="457200" algn="l"/>
              </a:tabLst>
            </a:pPr>
            <a:r>
              <a:rPr lang="da-DK" sz="1800" b="1" dirty="0">
                <a:effectLst/>
                <a:latin typeface="Verdana" panose="020B0604030504040204" pitchFamily="34" charset="0"/>
                <a:ea typeface="Calibri" panose="020F0502020204030204" pitchFamily="34" charset="0"/>
                <a:cs typeface="Times New Roman" panose="02020603050405020304" pitchFamily="18" charset="0"/>
              </a:rPr>
              <a:t>… have for øje, hvordan prøvehandlinger ikke forbliver et afgrænset greb, men bidrager til at skabe vedvarende kæder af forandringer. </a:t>
            </a:r>
            <a:r>
              <a:rPr lang="da-DK" sz="1800" dirty="0">
                <a:effectLst/>
                <a:latin typeface="Verdana" panose="020B0604030504040204" pitchFamily="34" charset="0"/>
                <a:ea typeface="Calibri" panose="020F0502020204030204" pitchFamily="34" charset="0"/>
                <a:cs typeface="Times New Roman" panose="02020603050405020304" pitchFamily="18" charset="0"/>
              </a:rPr>
              <a:t>Det er væsentligt, at teams i højere grad følger op på deres erfaringer med konkrete prøvehandlinger og bruger erfaringerne til at identificere nye prøvehandlinger. Det bidrager til mere kontinuerlig praksisudvikling frem for enkeltstående indsatser. </a:t>
            </a:r>
          </a:p>
          <a:p>
            <a:pPr algn="l"/>
            <a:endParaRPr lang="da-DK" sz="1000" b="1" baseline="0" dirty="0">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13</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2778372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da-DK" sz="1000" b="1" baseline="0" dirty="0">
                <a:latin typeface="Verdana" panose="020B0604030504040204" pitchFamily="34" charset="0"/>
                <a:ea typeface="Verdana" panose="020B0604030504040204" pitchFamily="34" charset="0"/>
              </a:rPr>
              <a:t>Uddybende noter: </a:t>
            </a:r>
          </a:p>
          <a:p>
            <a:pPr marL="0" indent="0">
              <a:buFont typeface="Arial" panose="020B0604020202020204" pitchFamily="34" charset="0"/>
              <a:buNone/>
            </a:pPr>
            <a:endParaRPr lang="da-DK" sz="1000" b="1" baseline="0" dirty="0">
              <a:latin typeface="Verdana" panose="020B0604030504040204" pitchFamily="34" charset="0"/>
              <a:ea typeface="Verdana" panose="020B0604030504040204" pitchFamily="34" charset="0"/>
            </a:endParaRPr>
          </a:p>
          <a:p>
            <a:pPr marL="0" indent="0">
              <a:buFont typeface="Arial" panose="020B0604020202020204" pitchFamily="34" charset="0"/>
              <a:buNone/>
            </a:pPr>
            <a:r>
              <a:rPr lang="da-DK" sz="1000" b="0" baseline="0" dirty="0">
                <a:latin typeface="Verdana" panose="020B0604030504040204" pitchFamily="34" charset="0"/>
                <a:ea typeface="Verdana" panose="020B0604030504040204" pitchFamily="34" charset="0"/>
              </a:rPr>
              <a:t>Evalueringen viser, at: </a:t>
            </a:r>
          </a:p>
          <a:p>
            <a:pPr marL="0" indent="0">
              <a:buFont typeface="Arial" panose="020B0604020202020204" pitchFamily="34" charset="0"/>
              <a:buNone/>
            </a:pPr>
            <a:endParaRPr lang="da-DK" sz="1000" b="1" baseline="0" dirty="0">
              <a:latin typeface="Verdana" panose="020B0604030504040204" pitchFamily="34" charset="0"/>
              <a:ea typeface="Verdana" panose="020B0604030504040204" pitchFamily="34" charset="0"/>
            </a:endParaRPr>
          </a:p>
          <a:p>
            <a:pPr marL="342900" lvl="0" indent="-342900">
              <a:lnSpc>
                <a:spcPct val="107000"/>
              </a:lnSpc>
              <a:spcAft>
                <a:spcPts val="800"/>
              </a:spcAft>
              <a:buFont typeface="+mj-lt"/>
              <a:buAutoNum type="arabicPeriod"/>
              <a:tabLst>
                <a:tab pos="457200" algn="l"/>
              </a:tabLst>
            </a:pPr>
            <a:r>
              <a:rPr lang="da-DK" sz="1000" b="1" dirty="0">
                <a:latin typeface="Quicksand"/>
                <a:ea typeface="Quicksand"/>
                <a:cs typeface="Quicksand"/>
                <a:sym typeface="Quicksand"/>
              </a:rPr>
              <a:t>Teamenes egne evalueringer af prøvehandlinger ofte baseres på intuition og umiddelbare mavefornemmelser. </a:t>
            </a:r>
          </a:p>
          <a:p>
            <a:pPr marL="702900" lvl="2" indent="-342900">
              <a:lnSpc>
                <a:spcPct val="107000"/>
              </a:lnSpc>
              <a:spcAft>
                <a:spcPts val="800"/>
              </a:spcAft>
              <a:buFont typeface="Arial" panose="020B0604020202020204" pitchFamily="34" charset="0"/>
              <a:buChar char="•"/>
              <a:tabLst>
                <a:tab pos="457200" algn="l"/>
              </a:tabLst>
            </a:pPr>
            <a:r>
              <a:rPr lang="da-DK" sz="1000" dirty="0">
                <a:effectLst/>
                <a:latin typeface="Verdana" panose="020B0604030504040204" pitchFamily="34" charset="0"/>
                <a:ea typeface="Calibri" panose="020F0502020204030204" pitchFamily="34" charset="0"/>
                <a:cs typeface="Times New Roman" panose="02020603050405020304" pitchFamily="18" charset="0"/>
              </a:rPr>
              <a:t>På de fleste skoler er det fortsat de færreste teams, som systematisk evaluerer prøvehandlingerne, når evalueringen ikke faciliteres af fx UCN. Oftest fortæller det pædagogiske personale, at de har drøftet løst på et personalemøde, hvordan en prøvehandling har fungeret, eller løbende har justeret til, når de selv har observeret forbedringspotentialer.</a:t>
            </a:r>
          </a:p>
          <a:p>
            <a:pPr marL="702900" lvl="2" indent="-342900">
              <a:lnSpc>
                <a:spcPct val="107000"/>
              </a:lnSpc>
              <a:spcAft>
                <a:spcPts val="800"/>
              </a:spcAft>
              <a:buFont typeface="Arial" panose="020B0604020202020204" pitchFamily="34" charset="0"/>
              <a:buChar char="•"/>
              <a:tabLst>
                <a:tab pos="457200" algn="l"/>
              </a:tabLst>
            </a:pPr>
            <a:r>
              <a:rPr lang="da-DK" sz="1000" dirty="0">
                <a:effectLst/>
                <a:latin typeface="Verdana" panose="020B0604030504040204" pitchFamily="34" charset="0"/>
                <a:ea typeface="Calibri" panose="020F0502020204030204" pitchFamily="34" charset="0"/>
                <a:cs typeface="Times New Roman" panose="02020603050405020304" pitchFamily="18" charset="0"/>
              </a:rPr>
              <a:t>At det pædagogiske personale sjældent inddrager data i arbejdet med at udvikle praksis, understøttes også af spørgeskemaundersøgelsen, hvor kun lidt over halvdelen (59 pct.) er enige i, at de anvender data systematisk til at analysere elevernes læring og trivsel.</a:t>
            </a:r>
          </a:p>
          <a:p>
            <a:pPr marL="702900" lvl="2" indent="-342900">
              <a:lnSpc>
                <a:spcPct val="107000"/>
              </a:lnSpc>
              <a:spcAft>
                <a:spcPts val="800"/>
              </a:spcAft>
              <a:buFont typeface="Arial" panose="020B0604020202020204" pitchFamily="34" charset="0"/>
              <a:buChar char="•"/>
              <a:tabLst>
                <a:tab pos="457200" algn="l"/>
              </a:tabLst>
            </a:pPr>
            <a:r>
              <a:rPr lang="da-DK" sz="1000" dirty="0">
                <a:effectLst/>
                <a:latin typeface="Verdana" panose="020B0604030504040204" pitchFamily="34" charset="0"/>
                <a:ea typeface="Calibri" panose="020F0502020204030204" pitchFamily="34" charset="0"/>
                <a:cs typeface="Times New Roman" panose="02020603050405020304" pitchFamily="18" charset="0"/>
              </a:rPr>
              <a:t>Der er fortsat også en relativt lille andel af det pædagogiske personale, som er enige i, at de sætter tid af til analyse af deres praksis (46 pct.). </a:t>
            </a:r>
            <a:br>
              <a:rPr lang="da-DK" sz="1000" dirty="0">
                <a:effectLst/>
                <a:latin typeface="Verdana" panose="020B0604030504040204" pitchFamily="34" charset="0"/>
                <a:ea typeface="Calibri" panose="020F0502020204030204" pitchFamily="34" charset="0"/>
                <a:cs typeface="Times New Roman" panose="02020603050405020304" pitchFamily="18" charset="0"/>
              </a:rPr>
            </a:br>
            <a:endParaRPr lang="da-DK" sz="10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da-DK" sz="1000" b="1" dirty="0">
                <a:effectLst/>
                <a:latin typeface="Verdana" panose="020B0604030504040204" pitchFamily="34" charset="0"/>
                <a:ea typeface="Calibri" panose="020F0502020204030204" pitchFamily="34" charset="0"/>
                <a:cs typeface="Times New Roman" panose="02020603050405020304" pitchFamily="18" charset="0"/>
              </a:rPr>
              <a:t>Der en risiko for, at udviklingsarbejdet går i stå, når prøvehandlinger ikke evalueres. </a:t>
            </a:r>
          </a:p>
          <a:p>
            <a:pPr marL="702900" lvl="2" indent="-342900">
              <a:lnSpc>
                <a:spcPct val="107000"/>
              </a:lnSpc>
              <a:spcAft>
                <a:spcPts val="800"/>
              </a:spcAft>
              <a:buFont typeface="Arial" panose="020B0604020202020204" pitchFamily="34" charset="0"/>
              <a:buChar char="•"/>
              <a:tabLst>
                <a:tab pos="457200" algn="l"/>
              </a:tabLst>
            </a:pPr>
            <a:r>
              <a:rPr lang="da-DK" sz="1000" dirty="0">
                <a:effectLst/>
                <a:latin typeface="Verdana" panose="020B0604030504040204" pitchFamily="34" charset="0"/>
                <a:ea typeface="Calibri" panose="020F0502020204030204" pitchFamily="34" charset="0"/>
                <a:cs typeface="Times New Roman" panose="02020603050405020304" pitchFamily="18" charset="0"/>
              </a:rPr>
              <a:t>Teams, som har evalueret deres prøvehandlinger, fortæller, at dialogen og refleksionen om prøvehandlingernes virkning har ledt til værdifulde overvejelser om, hvordan de fremadrettet kan justere til og videreudvikle deres praksis. Fx har en skole i Vesthimmerland som er resultat af, at de evaluerede deres prøvehandling, indført et fælles regelsæt, der tydeligt rammesætter prøvehandlingen for eleverne. </a:t>
            </a:r>
          </a:p>
          <a:p>
            <a:pPr marL="702900" lvl="2" indent="-342900">
              <a:lnSpc>
                <a:spcPct val="107000"/>
              </a:lnSpc>
              <a:spcAft>
                <a:spcPts val="800"/>
              </a:spcAft>
              <a:buFont typeface="Arial" panose="020B0604020202020204" pitchFamily="34" charset="0"/>
              <a:buChar char="•"/>
              <a:tabLst>
                <a:tab pos="457200" algn="l"/>
              </a:tabLst>
            </a:pPr>
            <a:r>
              <a:rPr lang="da-DK" sz="1000" dirty="0">
                <a:effectLst/>
                <a:latin typeface="Verdana" panose="020B0604030504040204" pitchFamily="34" charset="0"/>
                <a:ea typeface="Calibri" panose="020F0502020204030204" pitchFamily="34" charset="0"/>
                <a:cs typeface="Times New Roman" panose="02020603050405020304" pitchFamily="18" charset="0"/>
              </a:rPr>
              <a:t>Omvendt er der tegn på, at teams som ikke evaluerer deres prøvehandling, er mindre tilbøjelige til at justere til og videreudvikle deres praksis, fordi der ikke opstår en naturlig anledning til dette. Nogle oplever også, at det er demotiverende at de ikke ved, om prøvehandlingen rent faktisk skaber en effekt og som følge heraf er de ikke motiverede for at fortsætte udviklingsarbejdet. </a:t>
            </a:r>
          </a:p>
          <a:p>
            <a:pPr marL="702900" lvl="2" indent="-342900">
              <a:lnSpc>
                <a:spcPct val="107000"/>
              </a:lnSpc>
              <a:spcAft>
                <a:spcPts val="800"/>
              </a:spcAft>
              <a:buFont typeface="Arial" panose="020B0604020202020204" pitchFamily="34" charset="0"/>
              <a:buChar char="•"/>
              <a:tabLst>
                <a:tab pos="457200" algn="l"/>
              </a:tabLst>
            </a:pPr>
            <a:endParaRPr lang="da-DK" sz="1000" b="1" dirty="0">
              <a:effectLst/>
              <a:latin typeface="Verdana" panose="020B0604030504040204" pitchFamily="34" charset="0"/>
              <a:cs typeface="Times New Roman" panose="02020603050405020304" pitchFamily="18" charset="0"/>
              <a:sym typeface="Quicksand"/>
            </a:endParaRPr>
          </a:p>
          <a:p>
            <a:pPr marL="342900" lvl="0" indent="-342900">
              <a:lnSpc>
                <a:spcPct val="107000"/>
              </a:lnSpc>
              <a:spcAft>
                <a:spcPts val="800"/>
              </a:spcAft>
              <a:buFont typeface="+mj-lt"/>
              <a:buAutoNum type="arabicPeriod"/>
              <a:tabLst>
                <a:tab pos="457200" algn="l"/>
              </a:tabLst>
            </a:pPr>
            <a:r>
              <a:rPr lang="da-DK" sz="1000" b="1" dirty="0">
                <a:latin typeface="ui-sans-serif"/>
                <a:sym typeface="Quicksand"/>
              </a:rPr>
              <a:t>Pædagogisk personale ser en stor værdi i at inddrage elevernes perspektiver i arbejdet med prøvehandlinger, men fortsat sjældent gør det i praksis.</a:t>
            </a:r>
          </a:p>
          <a:p>
            <a:pPr marL="702900" lvl="2" indent="-342900">
              <a:lnSpc>
                <a:spcPct val="107000"/>
              </a:lnSpc>
              <a:spcAft>
                <a:spcPts val="800"/>
              </a:spcAft>
              <a:buFont typeface="Arial" panose="020B0604020202020204" pitchFamily="34" charset="0"/>
              <a:buChar char="•"/>
              <a:tabLst>
                <a:tab pos="457200" algn="l"/>
              </a:tabLst>
            </a:pPr>
            <a:r>
              <a:rPr lang="da-DK" sz="1000" dirty="0">
                <a:effectLst/>
                <a:latin typeface="Verdana" panose="020B0604030504040204" pitchFamily="34" charset="0"/>
                <a:ea typeface="Calibri" panose="020F0502020204030204" pitchFamily="34" charset="0"/>
                <a:cs typeface="Times New Roman" panose="02020603050405020304" pitchFamily="18" charset="0"/>
              </a:rPr>
              <a:t>Pædagogisk personale fortæller, at de ser en stor værdi i at inddrage eleverne i arbejdet med prøvehandlinger i praksis, fordi de får en mere retvisende og nuanceret forståelse af elevernes behov og ønsker. I praksis er der dog meget få eksempler på, at elevernes perspektiver bliver inddraget systematisk i arbejdet med prøvehandlingerne.</a:t>
            </a:r>
          </a:p>
          <a:p>
            <a:endParaRPr lang="da-DK" sz="1000" b="1" kern="0" baseline="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07000"/>
              </a:lnSpc>
              <a:spcAft>
                <a:spcPts val="800"/>
              </a:spcAft>
            </a:pPr>
            <a:br>
              <a:rPr lang="da-DK" sz="1000" b="1" dirty="0">
                <a:effectLst/>
                <a:latin typeface="Verdana" panose="020B0604030504040204" pitchFamily="34" charset="0"/>
                <a:ea typeface="Calibri" panose="020F0502020204030204" pitchFamily="34" charset="0"/>
                <a:cs typeface="Times New Roman" panose="02020603050405020304" pitchFamily="18" charset="0"/>
              </a:rPr>
            </a:br>
            <a:r>
              <a:rPr lang="da-DK" sz="1000" b="0" dirty="0">
                <a:effectLst/>
                <a:latin typeface="Verdana" panose="020B0604030504040204" pitchFamily="34" charset="0"/>
                <a:ea typeface="Calibri" panose="020F0502020204030204" pitchFamily="34" charset="0"/>
                <a:cs typeface="Times New Roman" panose="02020603050405020304" pitchFamily="18" charset="0"/>
              </a:rPr>
              <a:t>Fremadrettet kan det styrke praksis, at… </a:t>
            </a:r>
            <a:br>
              <a:rPr lang="da-DK" sz="1000" b="1" dirty="0">
                <a:effectLst/>
                <a:latin typeface="Verdana" panose="020B0604030504040204" pitchFamily="34" charset="0"/>
                <a:ea typeface="Calibri" panose="020F0502020204030204" pitchFamily="34" charset="0"/>
                <a:cs typeface="Times New Roman" panose="02020603050405020304" pitchFamily="18" charset="0"/>
              </a:rPr>
            </a:br>
            <a:endParaRPr lang="da-DK" sz="10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da-DK" sz="1000" b="1" dirty="0">
                <a:effectLst/>
                <a:latin typeface="Verdana" panose="020B0604030504040204" pitchFamily="34" charset="0"/>
                <a:ea typeface="Calibri" panose="020F0502020204030204" pitchFamily="34" charset="0"/>
                <a:cs typeface="Times New Roman" panose="02020603050405020304" pitchFamily="18" charset="0"/>
              </a:rPr>
              <a:t>… skriftliggøre intentionen med prøvehandlingen og skabe simpel struktur for opfølgning. </a:t>
            </a:r>
            <a:r>
              <a:rPr lang="da-DK" sz="1000" dirty="0">
                <a:effectLst/>
                <a:latin typeface="Verdana" panose="020B0604030504040204" pitchFamily="34" charset="0"/>
                <a:ea typeface="Calibri" panose="020F0502020204030204" pitchFamily="34" charset="0"/>
                <a:cs typeface="Times New Roman" panose="02020603050405020304" pitchFamily="18" charset="0"/>
              </a:rPr>
              <a:t>På nogle skoler har ledelsen skabt en simpel struktur for evalueringen af prøvehandlingerne ved at udarbejde en kort skabelon, som teamet skal udfylde med beskrivelse af deres prøvehandling og intentionen bag. Når en prøvehandling er afprøvet, skal det pædagogiske personale forholde sig til en række HV-spørgsmål. Ifølge lederne er det vigtigt, at den skriftlige dokumentation ikke bliver omfattende, men at man i første omgang indarbejder en systematik, der gør, at pædagogisk personale rent faktisk evaluerer de tiltag, de sætter i gang.  </a:t>
            </a:r>
            <a:br>
              <a:rPr lang="da-DK" sz="1000" dirty="0">
                <a:effectLst/>
                <a:latin typeface="Verdana" panose="020B0604030504040204" pitchFamily="34" charset="0"/>
                <a:ea typeface="Calibri" panose="020F0502020204030204" pitchFamily="34" charset="0"/>
                <a:cs typeface="Times New Roman" panose="02020603050405020304" pitchFamily="18" charset="0"/>
              </a:rPr>
            </a:br>
            <a:endParaRPr lang="da-DK" sz="10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da-DK" sz="1000" b="1" dirty="0">
                <a:effectLst/>
                <a:latin typeface="Verdana" panose="020B0604030504040204" pitchFamily="34" charset="0"/>
                <a:ea typeface="Calibri" panose="020F0502020204030204" pitchFamily="34" charset="0"/>
                <a:cs typeface="Times New Roman" panose="02020603050405020304" pitchFamily="18" charset="0"/>
              </a:rPr>
              <a:t>… inddrage kollegaer, ressourcepersoner eller ledere gensidig i praksisudviklingen. Fx ved at anvende observation som genstand for læring.</a:t>
            </a:r>
            <a:r>
              <a:rPr lang="da-DK" sz="1000" dirty="0">
                <a:effectLst/>
                <a:latin typeface="Verdana" panose="020B0604030504040204" pitchFamily="34" charset="0"/>
                <a:ea typeface="Calibri" panose="020F0502020204030204" pitchFamily="34" charset="0"/>
                <a:cs typeface="Times New Roman" panose="02020603050405020304" pitchFamily="18" charset="0"/>
              </a:rPr>
              <a:t> Pædagogisk personale oplever en øget åbenhed og villighed til at række ud efter kollegaer ved dilemmaer eller udfordringer i undervisningen som følge af arbejdet med aktionslæring. Nogle teams har i den forbindelse gode erfaringer med at observere hinandens afprøvning af prøvehandlingerne, hvilket mindsker deres bekymring for at blive observeret markant. Det skyldes, at prøvehandlingen bliver genstandsfeltet frem for en mere generel vurdering af praksis. </a:t>
            </a:r>
            <a:br>
              <a:rPr lang="da-DK" sz="1000" dirty="0">
                <a:effectLst/>
                <a:latin typeface="Verdana" panose="020B0604030504040204" pitchFamily="34" charset="0"/>
                <a:ea typeface="Calibri" panose="020F0502020204030204" pitchFamily="34" charset="0"/>
                <a:cs typeface="Times New Roman" panose="02020603050405020304" pitchFamily="18" charset="0"/>
              </a:rPr>
            </a:br>
            <a:endParaRPr lang="da-DK" sz="10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da-DK" sz="1000" b="1" dirty="0">
                <a:effectLst/>
                <a:latin typeface="Verdana" panose="020B0604030504040204" pitchFamily="34" charset="0"/>
                <a:ea typeface="Calibri" panose="020F0502020204030204" pitchFamily="34" charset="0"/>
                <a:cs typeface="Times New Roman" panose="02020603050405020304" pitchFamily="18" charset="0"/>
              </a:rPr>
              <a:t>… være nysgerrige på elevernes perspektiver i planlægning, afprøvning og evaluering af prøvehandlinger</a:t>
            </a:r>
            <a:r>
              <a:rPr lang="da-DK" sz="1000" dirty="0">
                <a:effectLst/>
                <a:latin typeface="Verdana" panose="020B0604030504040204" pitchFamily="34" charset="0"/>
                <a:ea typeface="Calibri" panose="020F0502020204030204" pitchFamily="34" charset="0"/>
                <a:cs typeface="Times New Roman" panose="02020603050405020304" pitchFamily="18" charset="0"/>
              </a:rPr>
              <a:t>. Det er særligt relevant at inddrage elevernes perspektiver i alle faser af arbejdet med prøvehandlingerne, fordi elevernes oplevelser ofte adskiller sig markant fra det pædagogiske personales indtryk. Det viser indsigterne fra de kvalitative data. Eleverne kan fx med fordel bidrage med idéer til, hvilke udfordringer pædagogisk personale skal tage fat på, og hvilke løsninger de finder relevante. Undervejs i afprøvningen kan det pædagogiske personale med fordel inddrage eleverne til at vurdere, hvordan prøvehandlingen kan forbedres, og endelig kan pædagogisk personale indsamle data om elevernes oplevelser og adfærd for at vurdere effekten af prøvehandlinger. </a:t>
            </a:r>
          </a:p>
          <a:p>
            <a:endParaRPr lang="da-DK" sz="1000" b="1" baseline="0" dirty="0">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14</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570432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15</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7743540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ts val="1300"/>
              </a:lnSpc>
              <a:buFont typeface="Arial" panose="020B0604020202020204" pitchFamily="34" charset="0"/>
              <a:buNone/>
              <a:tabLst>
                <a:tab pos="457200" algn="l"/>
              </a:tabLst>
            </a:pPr>
            <a:endParaRPr lang="da-DK" sz="1000" kern="1200" baseline="0">
              <a:solidFill>
                <a:srgbClr val="000000"/>
              </a:solidFill>
              <a:effectLst/>
              <a:latin typeface="Verdana" panose="020B0604030504040204" pitchFamily="34" charset="0"/>
              <a:ea typeface="+mn-ea"/>
              <a:cs typeface="+mn-cs"/>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16</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493495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7</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3584724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sz="1000" b="1" dirty="0">
                <a:latin typeface="Verdana" panose="020B0604030504040204" pitchFamily="34" charset="0"/>
                <a:ea typeface="Verdana" panose="020B0604030504040204" pitchFamily="34" charset="0"/>
                <a:cs typeface="Amatic SC" panose="00000500000000000000" pitchFamily="2" charset="-79"/>
                <a:sym typeface="Quicksand"/>
              </a:rPr>
              <a:t>Uddybende noter: </a:t>
            </a:r>
          </a:p>
          <a:p>
            <a:endParaRPr lang="da-DK" sz="1000" b="1" dirty="0">
              <a:latin typeface="Verdana" panose="020B0604030504040204" pitchFamily="34" charset="0"/>
              <a:ea typeface="Verdana" panose="020B0604030504040204" pitchFamily="34" charset="0"/>
              <a:cs typeface="Amatic SC" panose="00000500000000000000" pitchFamily="2" charset="-79"/>
              <a:sym typeface="Quicksand"/>
            </a:endParaRPr>
          </a:p>
          <a:p>
            <a:pPr algn="just">
              <a:lnSpc>
                <a:spcPct val="107000"/>
              </a:lnSpc>
              <a:spcAft>
                <a:spcPts val="800"/>
              </a:spcAft>
            </a:pPr>
            <a:r>
              <a:rPr lang="da-DK" sz="900" dirty="0">
                <a:effectLst/>
                <a:latin typeface="Verdana" panose="020B0604030504040204" pitchFamily="34" charset="0"/>
                <a:ea typeface="Calibri" panose="020F0502020204030204" pitchFamily="34" charset="0"/>
                <a:cs typeface="Times New Roman" panose="02020603050405020304" pitchFamily="18" charset="0"/>
              </a:rPr>
              <a:t>Evalueringen viser, at: </a:t>
            </a:r>
          </a:p>
          <a:p>
            <a:pPr algn="just">
              <a:lnSpc>
                <a:spcPct val="107000"/>
              </a:lnSpc>
              <a:spcAft>
                <a:spcPts val="800"/>
              </a:spcAft>
            </a:pPr>
            <a:endParaRPr lang="da-DK" sz="9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mj-lt"/>
              <a:buAutoNum type="arabicPeriod"/>
              <a:tabLst>
                <a:tab pos="457200" algn="l"/>
              </a:tabLst>
            </a:pPr>
            <a:r>
              <a:rPr lang="da-DK" sz="900" b="1" dirty="0">
                <a:effectLst/>
                <a:latin typeface="Verdana" panose="020B0604030504040204" pitchFamily="34" charset="0"/>
                <a:ea typeface="Calibri" panose="020F0502020204030204" pitchFamily="34" charset="0"/>
                <a:cs typeface="Times New Roman" panose="02020603050405020304" pitchFamily="18" charset="0"/>
              </a:rPr>
              <a:t>Aktionslæringsforløb har skabt nye fælles refleksioner over begreber som børnefællesskaber, deltagelsesmuligheder og variation i undervisningen.</a:t>
            </a:r>
          </a:p>
          <a:p>
            <a:pPr marL="522900" lvl="1" indent="-342900" algn="just">
              <a:lnSpc>
                <a:spcPct val="107000"/>
              </a:lnSpc>
              <a:spcAft>
                <a:spcPts val="800"/>
              </a:spcAft>
              <a:buFont typeface="Arial" panose="020B0604020202020204" pitchFamily="34" charset="0"/>
              <a:buChar char="•"/>
              <a:tabLst>
                <a:tab pos="457200" algn="l"/>
              </a:tabLst>
            </a:pPr>
            <a:r>
              <a:rPr lang="da-DK" sz="900" dirty="0">
                <a:effectLst/>
                <a:latin typeface="Verdana" panose="020B0604030504040204" pitchFamily="34" charset="0"/>
                <a:ea typeface="Calibri" panose="020F0502020204030204" pitchFamily="34" charset="0"/>
                <a:cs typeface="Times New Roman" panose="02020603050405020304" pitchFamily="18" charset="0"/>
              </a:rPr>
              <a:t>Af spørgeskemaundersøgelsen fremgår det, at flertallet af pædagogisk personale (67 pct.) oplever, at arbejdet med aktionslæringsforløb fremmer deres samarbejde om læringsaktiviteter. </a:t>
            </a:r>
          </a:p>
          <a:p>
            <a:pPr marL="522900" lvl="1" indent="-342900" algn="just">
              <a:lnSpc>
                <a:spcPct val="107000"/>
              </a:lnSpc>
              <a:spcAft>
                <a:spcPts val="800"/>
              </a:spcAft>
              <a:buFont typeface="Arial" panose="020B0604020202020204" pitchFamily="34" charset="0"/>
              <a:buChar char="•"/>
              <a:tabLst>
                <a:tab pos="457200" algn="l"/>
              </a:tabLst>
            </a:pPr>
            <a:r>
              <a:rPr lang="da-DK" sz="900" dirty="0">
                <a:effectLst/>
                <a:latin typeface="Verdana" panose="020B0604030504040204" pitchFamily="34" charset="0"/>
                <a:ea typeface="Calibri" panose="020F0502020204030204" pitchFamily="34" charset="0"/>
                <a:cs typeface="Times New Roman" panose="02020603050405020304" pitchFamily="18" charset="0"/>
              </a:rPr>
              <a:t>Af interviewene fortæller pædagogisk personale, at samarbejdet med UCN-konsulenterne har skabt nye refleksioner i teamet. En lærer fortæller fx, at de har haft drøftelser om, hvordan de kan nuancere deres forståelse af børnefællesskaber, så de ikke kun arbejder med at styrke de sociale fællesskaber, men også faglige fællesskaber. En anden lærer fortæller, at der er skabt en øget forståelse af, at deltagelsesmuligheder ikke blot handler om, at eleverne </a:t>
            </a:r>
            <a:r>
              <a:rPr lang="da-DK" sz="900" i="1" dirty="0">
                <a:effectLst/>
                <a:latin typeface="Verdana" panose="020B0604030504040204" pitchFamily="34" charset="0"/>
                <a:ea typeface="Calibri" panose="020F0502020204030204" pitchFamily="34" charset="0"/>
                <a:cs typeface="Times New Roman" panose="02020603050405020304" pitchFamily="18" charset="0"/>
              </a:rPr>
              <a:t>kan </a:t>
            </a:r>
            <a:r>
              <a:rPr lang="da-DK" sz="900" dirty="0">
                <a:effectLst/>
                <a:latin typeface="Verdana" panose="020B0604030504040204" pitchFamily="34" charset="0"/>
                <a:ea typeface="Calibri" panose="020F0502020204030204" pitchFamily="34" charset="0"/>
                <a:cs typeface="Times New Roman" panose="02020603050405020304" pitchFamily="18" charset="0"/>
              </a:rPr>
              <a:t>deltage, men at der også gives adgang til dem (fx ved at hjælpe ordblinde elever med at åbne hjælpemidler eller printe tekster til dem, som sætter pris på det). Endelig er der pædagogisk personale, som har fået et styrket blik for, hvordan de kan skabe variation i undervisningen ved fx at give eleverne forskellige indgangsvinkler til og valgmuligheder i undervisningen. </a:t>
            </a:r>
          </a:p>
          <a:p>
            <a:pPr marL="522900" lvl="1" indent="-342900" algn="just">
              <a:lnSpc>
                <a:spcPct val="107000"/>
              </a:lnSpc>
              <a:spcAft>
                <a:spcPts val="800"/>
              </a:spcAft>
              <a:buFont typeface="Arial" panose="020B0604020202020204" pitchFamily="34" charset="0"/>
              <a:buChar char="•"/>
              <a:tabLst>
                <a:tab pos="457200" algn="l"/>
              </a:tabLst>
            </a:pPr>
            <a:r>
              <a:rPr lang="da-DK" sz="900" dirty="0">
                <a:effectLst/>
                <a:latin typeface="Verdana" panose="020B0604030504040204" pitchFamily="34" charset="0"/>
                <a:ea typeface="Calibri" panose="020F0502020204030204" pitchFamily="34" charset="0"/>
                <a:cs typeface="Times New Roman" panose="02020603050405020304" pitchFamily="18" charset="0"/>
              </a:rPr>
              <a:t>Flere ledere bemærker en ændret og positiv udvikling i retorikken omkring eleverne og en øget faglig stolthed. De oplever, at personalet har fået en bedre forståelse af elevernes individuelle behov og dynamikker, hvilket blandt andet kommer til udtryk i forældresamtaler og møder, pædagogisk personale kommunikerer en mere nuanceret tilgang og en forståelse af elevernes behov.</a:t>
            </a:r>
          </a:p>
          <a:p>
            <a:pPr marL="457200" lvl="1" indent="0" algn="just">
              <a:lnSpc>
                <a:spcPct val="107000"/>
              </a:lnSpc>
              <a:spcAft>
                <a:spcPts val="800"/>
              </a:spcAft>
              <a:buFont typeface="Symbol" panose="05050102010706020507" pitchFamily="18" charset="2"/>
              <a:buNone/>
            </a:pPr>
            <a:endParaRPr lang="da-DK" sz="9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mj-lt"/>
              <a:buAutoNum type="arabicPeriod"/>
              <a:tabLst>
                <a:tab pos="457200" algn="l"/>
              </a:tabLst>
            </a:pPr>
            <a:r>
              <a:rPr lang="da-DK" sz="900" b="1" dirty="0">
                <a:effectLst/>
                <a:latin typeface="Verdana" panose="020B0604030504040204" pitchFamily="34" charset="0"/>
                <a:ea typeface="Calibri" panose="020F0502020204030204" pitchFamily="34" charset="0"/>
                <a:cs typeface="Times New Roman" panose="02020603050405020304" pitchFamily="18" charset="0"/>
              </a:rPr>
              <a:t>Pædagogisk personale oplever at være mere fælles om praksis som følge af aktionslæringsforløb. </a:t>
            </a:r>
            <a:endParaRPr lang="da-DK" sz="900" b="1" kern="1200" dirty="0">
              <a:effectLst/>
              <a:latin typeface="Verdana" panose="020B0604030504040204" pitchFamily="34" charset="0"/>
              <a:ea typeface="Calibri" panose="020F0502020204030204" pitchFamily="34" charset="0"/>
              <a:cs typeface="Times New Roman" panose="02020603050405020304" pitchFamily="18" charset="0"/>
            </a:endParaRPr>
          </a:p>
          <a:p>
            <a:pPr marL="522900" lvl="1" indent="-342900" algn="just">
              <a:lnSpc>
                <a:spcPct val="107000"/>
              </a:lnSpc>
              <a:spcAft>
                <a:spcPts val="800"/>
              </a:spcAft>
              <a:buFont typeface="Arial" panose="020B0604020202020204" pitchFamily="34" charset="0"/>
              <a:buChar char="•"/>
              <a:tabLst>
                <a:tab pos="457200" algn="l"/>
              </a:tabLst>
            </a:pPr>
            <a:r>
              <a:rPr lang="da-DK" sz="900" kern="100" dirty="0">
                <a:effectLst/>
                <a:latin typeface="Verdana" panose="020B0604030504040204" pitchFamily="34" charset="0"/>
                <a:ea typeface="Times New Roman" panose="02020603050405020304" pitchFamily="18" charset="0"/>
                <a:cs typeface="Segoe UI" panose="020B0502040204020203" pitchFamily="34" charset="0"/>
              </a:rPr>
              <a:t>Flere blandt pædagogisk personale fortæller, at arbejdet med prøvehandlinger har skabt en øget motivation for at samarbejde i teamet og en styrket oplevelse af, at man er fælles om at løse de udfordringer, der opstår i undervisningen. De oplever, at det er motiverende at få mulighed for at fordybe sig i pædagogiske og didaktiske overvejelser sammen med sit team. Samtidig er det blevet tydeligere for dem, hvorfor det er vigtigt, at de er fælles om elevernes udvikling. </a:t>
            </a:r>
            <a:endParaRPr lang="da-DK" sz="1200" kern="100" dirty="0">
              <a:effectLst/>
              <a:latin typeface="Times New Roman" panose="02020603050405020304" pitchFamily="18" charset="0"/>
              <a:ea typeface="Times New Roman" panose="02020603050405020304" pitchFamily="18" charset="0"/>
            </a:endParaRPr>
          </a:p>
          <a:p>
            <a:pPr marL="457200" algn="just">
              <a:lnSpc>
                <a:spcPct val="107000"/>
              </a:lnSpc>
              <a:spcAft>
                <a:spcPts val="800"/>
              </a:spcAft>
            </a:pPr>
            <a:r>
              <a:rPr lang="da-DK" sz="900" b="1" dirty="0">
                <a:effectLst/>
                <a:latin typeface="Verdana" panose="020B0604030504040204" pitchFamily="34" charset="0"/>
                <a:ea typeface="Calibri" panose="020F0502020204030204" pitchFamily="34" charset="0"/>
                <a:cs typeface="Times New Roman" panose="02020603050405020304" pitchFamily="18" charset="0"/>
              </a:rPr>
              <a:t> </a:t>
            </a:r>
            <a:endParaRPr lang="da-DK" sz="9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mj-lt"/>
              <a:buAutoNum type="arabicPeriod"/>
              <a:tabLst>
                <a:tab pos="457200" algn="l"/>
              </a:tabLst>
            </a:pPr>
            <a:r>
              <a:rPr lang="da-DK" sz="900" b="1" dirty="0">
                <a:effectLst/>
                <a:latin typeface="Verdana" panose="020B0604030504040204" pitchFamily="34" charset="0"/>
                <a:ea typeface="Calibri" panose="020F0502020204030204" pitchFamily="34" charset="0"/>
                <a:cs typeface="Times New Roman" panose="02020603050405020304" pitchFamily="18" charset="0"/>
              </a:rPr>
              <a:t>Viden fra aktionslæringsforløb sjældent spredes organisk på tværs af pædagogisk personale på hele skolen.</a:t>
            </a:r>
          </a:p>
          <a:p>
            <a:pPr marL="522900" lvl="1" indent="-342900" algn="just">
              <a:lnSpc>
                <a:spcPct val="107000"/>
              </a:lnSpc>
              <a:spcAft>
                <a:spcPts val="800"/>
              </a:spcAft>
              <a:buFont typeface="Arial" panose="020B0604020202020204" pitchFamily="34" charset="0"/>
              <a:buChar char="•"/>
              <a:tabLst>
                <a:tab pos="457200" algn="l"/>
              </a:tabLst>
            </a:pPr>
            <a:r>
              <a:rPr lang="da-DK" sz="900" dirty="0">
                <a:effectLst/>
                <a:latin typeface="Verdana" panose="020B0604030504040204" pitchFamily="34" charset="0"/>
                <a:ea typeface="Calibri" panose="020F0502020204030204" pitchFamily="34" charset="0"/>
                <a:cs typeface="Times New Roman" panose="02020603050405020304" pitchFamily="18" charset="0"/>
              </a:rPr>
              <a:t>På flere skoler er det kun udvalgte teams, som har deltaget i kompetenceudvikling og aktionslæring. Det gør, at udvikling af praksis fortsat foregår i afgrænsede cirkler frem for at understøtte en mere generel bevægelse på tværs af hele skolen. Fremadrettet er det vigtigt, at lederne forholder sig til, hvordan indsigter fra kompetenceudvikling kan spredes på tværs af teams, klassetrin og almen- og specialområdet, så de kan forankres og komme alle elever til gavn. </a:t>
            </a:r>
          </a:p>
          <a:p>
            <a:pPr algn="just">
              <a:lnSpc>
                <a:spcPts val="1300"/>
              </a:lnSpc>
            </a:pPr>
            <a:r>
              <a:rPr lang="da-DK" sz="900" dirty="0">
                <a:effectLst/>
                <a:latin typeface="Verdana" panose="020B0604030504040204" pitchFamily="34" charset="0"/>
                <a:ea typeface="Calibri" panose="020F0502020204030204" pitchFamily="34" charset="0"/>
                <a:cs typeface="Times New Roman" panose="02020603050405020304" pitchFamily="18" charset="0"/>
              </a:rPr>
              <a:t> </a:t>
            </a:r>
          </a:p>
          <a:p>
            <a:pPr algn="just">
              <a:lnSpc>
                <a:spcPts val="1300"/>
              </a:lnSpc>
            </a:pPr>
            <a:endParaRPr lang="da-DK" sz="900" dirty="0">
              <a:effectLst/>
              <a:latin typeface="Verdana" panose="020B0604030504040204" pitchFamily="34" charset="0"/>
              <a:ea typeface="Calibri" panose="020F0502020204030204" pitchFamily="34" charset="0"/>
              <a:cs typeface="Times New Roman" panose="02020603050405020304" pitchFamily="18" charset="0"/>
            </a:endParaRPr>
          </a:p>
          <a:p>
            <a:pPr algn="just">
              <a:lnSpc>
                <a:spcPts val="1300"/>
              </a:lnSpc>
            </a:pPr>
            <a:r>
              <a:rPr lang="da-DK" sz="900" b="0" dirty="0">
                <a:effectLst/>
                <a:latin typeface="Verdana" panose="020B0604030504040204" pitchFamily="34" charset="0"/>
                <a:ea typeface="Calibri" panose="020F0502020204030204" pitchFamily="34" charset="0"/>
                <a:cs typeface="Times New Roman" panose="02020603050405020304" pitchFamily="18" charset="0"/>
              </a:rPr>
              <a:t>Fremadrettet kan det styrke praksis, at…</a:t>
            </a:r>
          </a:p>
          <a:p>
            <a:pPr algn="just">
              <a:lnSpc>
                <a:spcPts val="1300"/>
              </a:lnSpc>
            </a:pPr>
            <a:endParaRPr lang="da-DK" sz="900" b="0" dirty="0">
              <a:effectLst/>
              <a:latin typeface="Verdana" panose="020B0604030504040204" pitchFamily="34" charset="0"/>
              <a:ea typeface="Calibri" panose="020F0502020204030204" pitchFamily="34" charset="0"/>
              <a:cs typeface="Times New Roman" panose="02020603050405020304" pitchFamily="18" charset="0"/>
            </a:endParaRPr>
          </a:p>
          <a:p>
            <a:pPr marL="171450" indent="-171450" algn="just">
              <a:lnSpc>
                <a:spcPts val="1300"/>
              </a:lnSpc>
              <a:buFont typeface="Arial" panose="020B0604020202020204" pitchFamily="34" charset="0"/>
              <a:buChar char="•"/>
            </a:pPr>
            <a:r>
              <a:rPr lang="da-DK" sz="900" b="1" dirty="0">
                <a:effectLst/>
                <a:latin typeface="Verdana" panose="020B0604030504040204" pitchFamily="34" charset="0"/>
                <a:ea typeface="Calibri" panose="020F0502020204030204" pitchFamily="34" charset="0"/>
                <a:cs typeface="Times New Roman" panose="02020603050405020304" pitchFamily="18" charset="0"/>
              </a:rPr>
              <a:t>… Sprede viden på tværs af teamet, </a:t>
            </a:r>
            <a:r>
              <a:rPr lang="da-DK" sz="900" b="1" dirty="0">
                <a:solidFill>
                  <a:srgbClr val="273F68"/>
                </a:solidFill>
                <a:latin typeface="Quicksand" panose="020B0604020202020204"/>
              </a:rPr>
              <a:t>så alle har det samme udgangspunkt for at deltage i de reflekterende dialoger</a:t>
            </a:r>
            <a:r>
              <a:rPr lang="da-DK" sz="900" b="1" dirty="0">
                <a:effectLst/>
                <a:latin typeface="Verdana" panose="020B0604030504040204" pitchFamily="34" charset="0"/>
                <a:ea typeface="Calibri" panose="020F0502020204030204" pitchFamily="34" charset="0"/>
                <a:cs typeface="Times New Roman" panose="02020603050405020304" pitchFamily="18" charset="0"/>
              </a:rPr>
              <a:t>. </a:t>
            </a:r>
            <a:r>
              <a:rPr lang="da-DK" sz="900" dirty="0">
                <a:effectLst/>
                <a:latin typeface="Verdana" panose="020B0604030504040204" pitchFamily="34" charset="0"/>
                <a:ea typeface="Calibri" panose="020F0502020204030204" pitchFamily="34" charset="0"/>
                <a:cs typeface="Times New Roman" panose="02020603050405020304" pitchFamily="18" charset="0"/>
              </a:rPr>
              <a:t>Pædagogiske personale ser det som en stor fordel og drivkraft, når alle har den samme viden og har deltaget i de samme aktiviteter, så en lærer ikke har til opgave at overlevere dette til kolleger. Dette skal også ses i lyset af, at både vejledere og pædagogisk personale synes, det kan være udfordrende at tale med kolleger om, hvordan de kan forbedre deres praksis. Derfor er det afgørende, at man har hørt de samme oplæg og kan referere tilbage til dette sammen. </a:t>
            </a:r>
          </a:p>
          <a:p>
            <a:pPr marL="171450" indent="-171450" algn="just">
              <a:lnSpc>
                <a:spcPts val="1300"/>
              </a:lnSpc>
              <a:buFont typeface="Arial" panose="020B0604020202020204" pitchFamily="34" charset="0"/>
              <a:buChar char="•"/>
            </a:pPr>
            <a:endParaRPr lang="da-DK" sz="900" dirty="0">
              <a:effectLst/>
              <a:latin typeface="Verdana" panose="020B0604030504040204" pitchFamily="34" charset="0"/>
              <a:ea typeface="Calibri" panose="020F0502020204030204" pitchFamily="34" charset="0"/>
              <a:cs typeface="Times New Roman" panose="02020603050405020304" pitchFamily="18" charset="0"/>
            </a:endParaRPr>
          </a:p>
          <a:p>
            <a:pPr marL="171450" marR="0" lvl="0" indent="-171450" algn="just" defTabSz="914400" rtl="0" eaLnBrk="1" fontAlgn="auto" latinLnBrk="0" hangingPunct="1">
              <a:lnSpc>
                <a:spcPts val="1300"/>
              </a:lnSpc>
              <a:spcBef>
                <a:spcPts val="0"/>
              </a:spcBef>
              <a:spcAft>
                <a:spcPts val="0"/>
              </a:spcAft>
              <a:buClrTx/>
              <a:buSzTx/>
              <a:buFont typeface="Arial" panose="020B0604020202020204" pitchFamily="34" charset="0"/>
              <a:buChar char="•"/>
              <a:tabLst/>
              <a:defRPr/>
            </a:pPr>
            <a:r>
              <a:rPr lang="da-DK" sz="900" b="1" dirty="0">
                <a:effectLst/>
                <a:latin typeface="Verdana" panose="020B0604030504040204" pitchFamily="34" charset="0"/>
                <a:ea typeface="Calibri" panose="020F0502020204030204" pitchFamily="34" charset="0"/>
                <a:cs typeface="Times New Roman" panose="02020603050405020304" pitchFamily="18" charset="0"/>
              </a:rPr>
              <a:t>… </a:t>
            </a:r>
            <a:r>
              <a:rPr lang="da-DK" sz="900" b="1" dirty="0">
                <a:solidFill>
                  <a:srgbClr val="273F68"/>
                </a:solidFill>
                <a:latin typeface="Quicksand" panose="020B0604020202020204"/>
              </a:rPr>
              <a:t>sprede viden og inspiration </a:t>
            </a:r>
            <a:r>
              <a:rPr lang="da-DK" sz="900" b="1" i="1" dirty="0">
                <a:solidFill>
                  <a:srgbClr val="273F68"/>
                </a:solidFill>
                <a:latin typeface="Quicksand" panose="020B0604020202020204"/>
              </a:rPr>
              <a:t>uden for</a:t>
            </a:r>
            <a:r>
              <a:rPr lang="da-DK" sz="900" b="1" dirty="0">
                <a:solidFill>
                  <a:srgbClr val="273F68"/>
                </a:solidFill>
                <a:latin typeface="Quicksand" panose="020B0604020202020204"/>
              </a:rPr>
              <a:t> teamet, så kolleger og vejledere har det samme udgangspunkt for at forstå teamets handlinger og beslutninger og kan bidrage kvalificeret til praksisudviklingen. Samtidig kan det inspirere til lignende handlinger på tværs af klasser og årgange. </a:t>
            </a:r>
            <a:r>
              <a:rPr lang="da-DK" sz="900" dirty="0">
                <a:effectLst/>
                <a:latin typeface="Verdana" panose="020B0604030504040204" pitchFamily="34" charset="0"/>
                <a:ea typeface="Calibri" panose="020F0502020204030204" pitchFamily="34" charset="0"/>
                <a:cs typeface="Times New Roman" panose="02020603050405020304" pitchFamily="18" charset="0"/>
              </a:rPr>
              <a:t>Vejledere, som ikke selv har deltaget i aktionslæringsforløb, fortæller, at de kan have vanskeligt ved at se det didaktiske formål med nogle af de prøvehandlinger, de observerer, når de deltager som støtte i andre klasser. Det kan skyldes, at vejlederne ikke har den nødvendige indsigt i baggrunden for og formålet med den konkrete prøvehandling. Det er derfor vigtigt, at pædagogisk personale uden for teamet (fx relevante vejledere) også får kendskab til de konkrete prøvehandlinger og den viden, der ligger bag.</a:t>
            </a:r>
          </a:p>
          <a:p>
            <a:pPr marL="171450" indent="-171450" algn="just">
              <a:lnSpc>
                <a:spcPts val="1300"/>
              </a:lnSpc>
              <a:buFont typeface="Arial" panose="020B0604020202020204" pitchFamily="34" charset="0"/>
              <a:buChar char="•"/>
            </a:pPr>
            <a:endParaRPr lang="da-DK" sz="900" dirty="0">
              <a:effectLst/>
              <a:latin typeface="Verdana" panose="020B0604030504040204" pitchFamily="34" charset="0"/>
              <a:ea typeface="Calibri" panose="020F0502020204030204" pitchFamily="34" charset="0"/>
              <a:cs typeface="Times New Roman" panose="02020603050405020304" pitchFamily="18" charset="0"/>
            </a:endParaRPr>
          </a:p>
          <a:p>
            <a:pPr marL="171450" indent="-171450" algn="just">
              <a:lnSpc>
                <a:spcPts val="1300"/>
              </a:lnSpc>
              <a:buFont typeface="Arial" panose="020B0604020202020204" pitchFamily="34" charset="0"/>
              <a:buChar char="•"/>
            </a:pPr>
            <a:r>
              <a:rPr lang="da-DK" sz="900" b="1" dirty="0">
                <a:effectLst/>
                <a:latin typeface="Verdana" panose="020B0604030504040204" pitchFamily="34" charset="0"/>
                <a:ea typeface="Calibri" panose="020F0502020204030204" pitchFamily="34" charset="0"/>
                <a:cs typeface="Times New Roman" panose="02020603050405020304" pitchFamily="18" charset="0"/>
              </a:rPr>
              <a:t>… Inddrage kolleger uden for eget team i de reflekterende samtaler for at få nye perspektiver på udfordringer og løsninger. </a:t>
            </a:r>
            <a:r>
              <a:rPr lang="da-DK" sz="900" dirty="0">
                <a:effectLst/>
                <a:latin typeface="Verdana" panose="020B0604030504040204" pitchFamily="34" charset="0"/>
                <a:ea typeface="Calibri" panose="020F0502020204030204" pitchFamily="34" charset="0"/>
                <a:cs typeface="Times New Roman" panose="02020603050405020304" pitchFamily="18" charset="0"/>
              </a:rPr>
              <a:t>På nogle skoler har man god erfaring med at sammensætte reflekterende teams på tværs af årgange eller fag. Dette giver ifølge pædagogisk personale nye perspektiver på udfordringerne, da lærere og pædagoger uden samme relationer til eleverne kan se på udfordringerne med friske øjne. Samarbejde på tværs af teams skaber en dynamik, hvor forskellige erfaringer og metoder kan deles og diskuteres, hvilket ofte fører til innovative løsninger og nye indsigter. Desuden kan det styrke sammenholdet og samarbejdet på tværs af skolen, hvilket gavner det overordnede skolemiljø.</a:t>
            </a:r>
          </a:p>
          <a:p>
            <a:endParaRPr lang="da-DK" sz="1000" b="1" dirty="0">
              <a:latin typeface="Verdana" panose="020B0604030504040204" pitchFamily="34" charset="0"/>
              <a:ea typeface="Verdana" panose="020B0604030504040204" pitchFamily="34" charset="0"/>
              <a:cs typeface="Amatic SC" panose="00000500000000000000" pitchFamily="2" charset="-79"/>
              <a:sym typeface="Quicksand"/>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18</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2122731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07000"/>
              </a:lnSpc>
              <a:spcAft>
                <a:spcPts val="800"/>
              </a:spcAft>
            </a:pPr>
            <a:r>
              <a:rPr lang="da-DK" sz="900" b="1" dirty="0">
                <a:effectLst/>
                <a:latin typeface="Verdana" panose="020B0604030504040204" pitchFamily="34" charset="0"/>
                <a:ea typeface="Calibri" panose="020F0502020204030204" pitchFamily="34" charset="0"/>
                <a:cs typeface="Times New Roman" panose="02020603050405020304" pitchFamily="18" charset="0"/>
              </a:rPr>
              <a:t>Uddybende noter:</a:t>
            </a:r>
          </a:p>
          <a:p>
            <a:pPr algn="just">
              <a:lnSpc>
                <a:spcPct val="107000"/>
              </a:lnSpc>
              <a:spcAft>
                <a:spcPts val="800"/>
              </a:spcAft>
            </a:pPr>
            <a:endParaRPr lang="da-DK" sz="900" dirty="0">
              <a:effectLst/>
              <a:latin typeface="Verdana" panose="020B060403050404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da-DK" sz="900" dirty="0">
                <a:effectLst/>
                <a:latin typeface="Verdana" panose="020B0604030504040204" pitchFamily="34" charset="0"/>
                <a:ea typeface="Calibri" panose="020F0502020204030204" pitchFamily="34" charset="0"/>
                <a:cs typeface="Times New Roman" panose="02020603050405020304" pitchFamily="18" charset="0"/>
              </a:rPr>
              <a:t>Evalueringen viser, at: </a:t>
            </a:r>
          </a:p>
          <a:p>
            <a:pPr algn="just">
              <a:lnSpc>
                <a:spcPct val="107000"/>
              </a:lnSpc>
              <a:spcAft>
                <a:spcPts val="800"/>
              </a:spcAft>
            </a:pPr>
            <a:endParaRPr lang="da-DK" sz="9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mj-lt"/>
              <a:buAutoNum type="arabicPeriod"/>
              <a:tabLst>
                <a:tab pos="457200" algn="l"/>
              </a:tabLst>
            </a:pPr>
            <a:r>
              <a:rPr lang="da-DK" sz="900" b="1" dirty="0">
                <a:effectLst/>
                <a:latin typeface="Verdana" panose="020B0604030504040204" pitchFamily="34" charset="0"/>
                <a:ea typeface="Calibri" panose="020F0502020204030204" pitchFamily="34" charset="0"/>
                <a:cs typeface="Times New Roman" panose="02020603050405020304" pitchFamily="18" charset="0"/>
              </a:rPr>
              <a:t>Pædagogisk personale oplever, at skolens fælles børnesyn er styrket det seneste år.</a:t>
            </a:r>
            <a:r>
              <a:rPr lang="da-DK" sz="900" dirty="0">
                <a:effectLst/>
                <a:latin typeface="Verdana" panose="020B0604030504040204" pitchFamily="34" charset="0"/>
                <a:ea typeface="Calibri" panose="020F0502020204030204" pitchFamily="34" charset="0"/>
                <a:cs typeface="Times New Roman" panose="02020603050405020304" pitchFamily="18" charset="0"/>
              </a:rPr>
              <a:t> </a:t>
            </a:r>
          </a:p>
          <a:p>
            <a:pPr marL="522900" lvl="1" indent="-342900" algn="just">
              <a:lnSpc>
                <a:spcPct val="107000"/>
              </a:lnSpc>
              <a:spcAft>
                <a:spcPts val="800"/>
              </a:spcAft>
              <a:buFont typeface="Arial" panose="020B0604020202020204" pitchFamily="34" charset="0"/>
              <a:buChar char="•"/>
              <a:tabLst>
                <a:tab pos="457200" algn="l"/>
              </a:tabLst>
            </a:pPr>
            <a:r>
              <a:rPr lang="da-DK" sz="900" dirty="0">
                <a:effectLst/>
                <a:latin typeface="Verdana" panose="020B0604030504040204" pitchFamily="34" charset="0"/>
                <a:ea typeface="Calibri" panose="020F0502020204030204" pitchFamily="34" charset="0"/>
                <a:cs typeface="Times New Roman" panose="02020603050405020304" pitchFamily="18" charset="0"/>
              </a:rPr>
              <a:t>Der er sket en signifikant stigning i andelen af pædagogisk personale, som oplever, at deres skole har et fælles børnesyn. Det gælder særligt for pædagogisk personale, som arbejder på skoler, der har deltaget i aktiviteter i regi af Den Mangfoldige Folkeskole. 72 pct. er overvejende enige i dette i 2024. </a:t>
            </a:r>
          </a:p>
          <a:p>
            <a:pPr marL="522900" lvl="1" indent="-342900" algn="just">
              <a:lnSpc>
                <a:spcPct val="107000"/>
              </a:lnSpc>
              <a:spcAft>
                <a:spcPts val="800"/>
              </a:spcAft>
              <a:buFont typeface="Arial" panose="020B0604020202020204" pitchFamily="34" charset="0"/>
              <a:buChar char="•"/>
              <a:tabLst>
                <a:tab pos="457200" algn="l"/>
              </a:tabLst>
            </a:pPr>
            <a:r>
              <a:rPr lang="da-DK" sz="900" dirty="0">
                <a:effectLst/>
                <a:latin typeface="Verdana" panose="020B0604030504040204" pitchFamily="34" charset="0"/>
                <a:ea typeface="Calibri" panose="020F0502020204030204" pitchFamily="34" charset="0"/>
                <a:cs typeface="Times New Roman" panose="02020603050405020304" pitchFamily="18" charset="0"/>
              </a:rPr>
              <a:t>Dette resultat skal ses i lyset af, at mange forvaltninger har valgt at sætte fokus på skolernes arbejde med børnesyn som følge af resultaterne i sidste års evaluering. Pædagogisk personale og lederne oplever generelt, at de har fået et mere nuanceret syn på eleverne og en større forståelse af, hvordan man gennem pædagogiske og didaktiske greb kan skabe flere deltagelsesmuligheder for alle elever.</a:t>
            </a:r>
          </a:p>
          <a:p>
            <a:pPr marL="522900" lvl="1" indent="-342900" algn="just">
              <a:lnSpc>
                <a:spcPct val="107000"/>
              </a:lnSpc>
              <a:spcAft>
                <a:spcPts val="800"/>
              </a:spcAft>
              <a:buFont typeface="Arial" panose="020B0604020202020204" pitchFamily="34" charset="0"/>
              <a:buChar char="•"/>
              <a:tabLst>
                <a:tab pos="457200" algn="l"/>
              </a:tabLst>
            </a:pPr>
            <a:endParaRPr lang="da-DK" sz="900" dirty="0">
              <a:effectLst/>
              <a:latin typeface="Verdana" panose="020B0604030504040204" pitchFamily="34" charset="0"/>
              <a:ea typeface="Calibri" panose="020F0502020204030204" pitchFamily="34" charset="0"/>
              <a:cs typeface="Times New Roman" panose="02020603050405020304" pitchFamily="18" charset="0"/>
            </a:endParaRPr>
          </a:p>
          <a:p>
            <a:pPr marL="228600" lvl="0" indent="-228600" algn="just">
              <a:lnSpc>
                <a:spcPct val="107000"/>
              </a:lnSpc>
              <a:spcAft>
                <a:spcPts val="800"/>
              </a:spcAft>
              <a:buFont typeface="+mj-lt"/>
              <a:buAutoNum type="arabicPeriod"/>
              <a:tabLst>
                <a:tab pos="457200" algn="l"/>
              </a:tabLst>
            </a:pPr>
            <a:r>
              <a:rPr lang="da-DK" sz="900" b="1" dirty="0">
                <a:effectLst/>
                <a:latin typeface="Verdana" panose="020B0604030504040204" pitchFamily="34" charset="0"/>
                <a:ea typeface="Calibri" panose="020F0502020204030204" pitchFamily="34" charset="0"/>
                <a:cs typeface="Times New Roman" panose="02020603050405020304" pitchFamily="18" charset="0"/>
              </a:rPr>
              <a:t>Et fælles børnesyn fortsat er centralt for at finde gode løsninger sammen. </a:t>
            </a:r>
            <a:endParaRPr lang="da-DK" sz="900" b="1" kern="1200" dirty="0">
              <a:effectLst/>
              <a:latin typeface="Verdana" panose="020B0604030504040204" pitchFamily="34" charset="0"/>
              <a:ea typeface="Calibri" panose="020F0502020204030204" pitchFamily="34" charset="0"/>
              <a:cs typeface="Times New Roman" panose="02020603050405020304" pitchFamily="18" charset="0"/>
            </a:endParaRPr>
          </a:p>
          <a:p>
            <a:pPr marL="522900" lvl="1" indent="-342900" algn="just">
              <a:lnSpc>
                <a:spcPct val="107000"/>
              </a:lnSpc>
              <a:spcAft>
                <a:spcPts val="800"/>
              </a:spcAft>
              <a:buFont typeface="Arial" panose="020B0604020202020204" pitchFamily="34" charset="0"/>
              <a:buChar char="•"/>
              <a:tabLst>
                <a:tab pos="457200" algn="l"/>
              </a:tabLst>
            </a:pPr>
            <a:r>
              <a:rPr lang="da-DK" sz="900" kern="100" dirty="0">
                <a:effectLst/>
                <a:latin typeface="Verdana" panose="020B0604030504040204" pitchFamily="34" charset="0"/>
                <a:ea typeface="Times New Roman" panose="02020603050405020304" pitchFamily="18" charset="0"/>
                <a:cs typeface="Segoe UI" panose="020B0502040204020203" pitchFamily="34" charset="0"/>
              </a:rPr>
              <a:t>Ligesom sidste år opfattes et fælles børnesyn fortsat som afgørende for, at samarbejdet om at udvikle praksis bliver værdiskabende og konstruktivt. Pædagogisk personale fortæller således, </a:t>
            </a:r>
            <a:r>
              <a:rPr lang="da-DK" sz="900" kern="100" dirty="0">
                <a:effectLst/>
                <a:latin typeface="Verdana" panose="020B0604030504040204" pitchFamily="34" charset="0"/>
                <a:ea typeface="Times New Roman" panose="02020603050405020304" pitchFamily="18" charset="0"/>
              </a:rPr>
              <a:t>at aktionslæring er særligt motiverende, når teamet har fælles viden og børnesyn som afsæt for drøftelserne i deres teams.</a:t>
            </a:r>
            <a:r>
              <a:rPr lang="da-DK" sz="900" b="1" kern="100" dirty="0">
                <a:effectLst/>
                <a:latin typeface="Verdana" panose="020B0604030504040204" pitchFamily="34" charset="0"/>
                <a:ea typeface="Times New Roman" panose="02020603050405020304" pitchFamily="18" charset="0"/>
              </a:rPr>
              <a:t> </a:t>
            </a:r>
          </a:p>
          <a:p>
            <a:pPr marL="522900" lvl="1" indent="-342900" algn="just">
              <a:lnSpc>
                <a:spcPct val="107000"/>
              </a:lnSpc>
              <a:spcAft>
                <a:spcPts val="800"/>
              </a:spcAft>
              <a:buFont typeface="Arial" panose="020B0604020202020204" pitchFamily="34" charset="0"/>
              <a:buChar char="•"/>
              <a:tabLst>
                <a:tab pos="457200" algn="l"/>
              </a:tabLst>
            </a:pPr>
            <a:endParaRPr lang="da-DK" sz="1200" b="0" kern="100" dirty="0">
              <a:effectLst/>
              <a:latin typeface="Times New Roman" panose="02020603050405020304" pitchFamily="18" charset="0"/>
              <a:ea typeface="Times New Roman" panose="02020603050405020304" pitchFamily="18" charset="0"/>
              <a:cs typeface="+mn-cs"/>
            </a:endParaRPr>
          </a:p>
          <a:p>
            <a:pPr marL="342900" lvl="0" indent="-342900" algn="just">
              <a:lnSpc>
                <a:spcPct val="107000"/>
              </a:lnSpc>
              <a:spcAft>
                <a:spcPts val="800"/>
              </a:spcAft>
              <a:buFont typeface="+mj-lt"/>
              <a:buAutoNum type="arabicPeriod"/>
              <a:tabLst>
                <a:tab pos="457200" algn="l"/>
              </a:tabLst>
            </a:pPr>
            <a:r>
              <a:rPr lang="da-DK" sz="900" b="1" dirty="0">
                <a:effectLst/>
                <a:latin typeface="Verdana" panose="020B0604030504040204" pitchFamily="34" charset="0"/>
                <a:ea typeface="Calibri" panose="020F0502020204030204" pitchFamily="34" charset="0"/>
                <a:cs typeface="Times New Roman" panose="02020603050405020304" pitchFamily="18" charset="0"/>
              </a:rPr>
              <a:t>Det er vigtigt at arbejde med pædagogisk personales mindset, hvis eleverne i højere grad skal opleve indflydelse og medbestemmelse.</a:t>
            </a:r>
          </a:p>
          <a:p>
            <a:pPr marL="522900" lvl="1" indent="-342900" algn="just">
              <a:lnSpc>
                <a:spcPct val="107000"/>
              </a:lnSpc>
              <a:spcAft>
                <a:spcPts val="800"/>
              </a:spcAft>
              <a:buFont typeface="Arial" panose="020B0604020202020204" pitchFamily="34" charset="0"/>
              <a:buChar char="•"/>
              <a:tabLst>
                <a:tab pos="457200" algn="l"/>
              </a:tabLst>
            </a:pPr>
            <a:r>
              <a:rPr lang="da-DK" sz="900" dirty="0">
                <a:effectLst/>
                <a:latin typeface="Verdana" panose="020B0604030504040204" pitchFamily="34" charset="0"/>
                <a:ea typeface="Calibri" panose="020F0502020204030204" pitchFamily="34" charset="0"/>
                <a:cs typeface="Times New Roman" panose="02020603050405020304" pitchFamily="18" charset="0"/>
              </a:rPr>
              <a:t>Selvom pædagogisk personale oplever et styrket fælles børnesyn, er der stadig et potentiale i at udvikle deres mindset, hvad angår inddragelse af elevernes perspektiver. </a:t>
            </a:r>
          </a:p>
          <a:p>
            <a:pPr marL="522900" lvl="1" indent="-342900" algn="just">
              <a:lnSpc>
                <a:spcPct val="107000"/>
              </a:lnSpc>
              <a:spcAft>
                <a:spcPts val="800"/>
              </a:spcAft>
              <a:buFont typeface="Arial" panose="020B0604020202020204" pitchFamily="34" charset="0"/>
              <a:buChar char="•"/>
              <a:tabLst>
                <a:tab pos="457200" algn="l"/>
              </a:tabLst>
            </a:pPr>
            <a:r>
              <a:rPr lang="da-DK" sz="900" dirty="0">
                <a:effectLst/>
                <a:latin typeface="Verdana" panose="020B0604030504040204" pitchFamily="34" charset="0"/>
                <a:ea typeface="Calibri" panose="020F0502020204030204" pitchFamily="34" charset="0"/>
                <a:cs typeface="Times New Roman" panose="02020603050405020304" pitchFamily="18" charset="0"/>
              </a:rPr>
              <a:t>Under halvdelen (47 pct.) af pædagogisk personale er enige i, at eleverne skal være med til at definere indholdet af og arbejdsformerne i læringsaktiviteterne, og denne holdning har ikke ændret sig det seneste år. </a:t>
            </a:r>
          </a:p>
          <a:p>
            <a:pPr algn="just">
              <a:lnSpc>
                <a:spcPts val="1300"/>
              </a:lnSpc>
            </a:pPr>
            <a:endParaRPr lang="da-DK" sz="900" b="1" dirty="0">
              <a:effectLst/>
              <a:latin typeface="Verdana" panose="020B0604030504040204" pitchFamily="34" charset="0"/>
              <a:ea typeface="Calibri" panose="020F0502020204030204" pitchFamily="34" charset="0"/>
              <a:cs typeface="Times New Roman" panose="02020603050405020304" pitchFamily="18" charset="0"/>
            </a:endParaRPr>
          </a:p>
          <a:p>
            <a:pPr algn="just">
              <a:lnSpc>
                <a:spcPts val="1300"/>
              </a:lnSpc>
            </a:pPr>
            <a:endParaRPr lang="da-DK" sz="900" b="1" dirty="0">
              <a:effectLst/>
              <a:latin typeface="Verdana" panose="020B0604030504040204" pitchFamily="34" charset="0"/>
              <a:ea typeface="Calibri" panose="020F0502020204030204" pitchFamily="34" charset="0"/>
              <a:cs typeface="Times New Roman" panose="02020603050405020304" pitchFamily="18" charset="0"/>
            </a:endParaRPr>
          </a:p>
          <a:p>
            <a:pPr algn="just">
              <a:lnSpc>
                <a:spcPts val="1300"/>
              </a:lnSpc>
            </a:pPr>
            <a:r>
              <a:rPr lang="da-DK" sz="900" b="0" dirty="0">
                <a:effectLst/>
                <a:latin typeface="Verdana" panose="020B0604030504040204" pitchFamily="34" charset="0"/>
                <a:ea typeface="Calibri" panose="020F0502020204030204" pitchFamily="34" charset="0"/>
                <a:cs typeface="Times New Roman" panose="02020603050405020304" pitchFamily="18" charset="0"/>
              </a:rPr>
              <a:t>Fremadrettet kan det styrke praksis, at…</a:t>
            </a:r>
          </a:p>
          <a:p>
            <a:pPr algn="just">
              <a:lnSpc>
                <a:spcPts val="1300"/>
              </a:lnSpc>
            </a:pPr>
            <a:endParaRPr lang="da-DK" sz="900" b="0" dirty="0">
              <a:effectLst/>
              <a:latin typeface="Verdana" panose="020B0604030504040204" pitchFamily="34" charset="0"/>
              <a:ea typeface="Calibri" panose="020F0502020204030204" pitchFamily="34" charset="0"/>
              <a:cs typeface="Times New Roman" panose="02020603050405020304" pitchFamily="18" charset="0"/>
            </a:endParaRPr>
          </a:p>
          <a:p>
            <a:pPr marL="171450" indent="-171450" algn="just">
              <a:lnSpc>
                <a:spcPts val="1300"/>
              </a:lnSpc>
              <a:buFont typeface="Arial" panose="020B0604020202020204" pitchFamily="34" charset="0"/>
              <a:buChar char="•"/>
            </a:pPr>
            <a:r>
              <a:rPr lang="da-DK" sz="900" b="1" dirty="0">
                <a:effectLst/>
                <a:latin typeface="Verdana" panose="020B0604030504040204" pitchFamily="34" charset="0"/>
                <a:ea typeface="Calibri" panose="020F0502020204030204" pitchFamily="34" charset="0"/>
                <a:cs typeface="Times New Roman" panose="02020603050405020304" pitchFamily="18" charset="0"/>
              </a:rPr>
              <a:t>… teams reflekterer over, hvilke ord de mener karakteriserer skolens børnesyn, og hvordan ordene stemmer overens med handlinger i skolens praksis. </a:t>
            </a:r>
            <a:r>
              <a:rPr lang="da-DK" sz="900" dirty="0">
                <a:effectLst/>
                <a:latin typeface="Verdana" panose="020B0604030504040204" pitchFamily="34" charset="0"/>
                <a:ea typeface="Calibri" panose="020F0502020204030204" pitchFamily="34" charset="0"/>
                <a:cs typeface="Times New Roman" panose="02020603050405020304" pitchFamily="18" charset="0"/>
              </a:rPr>
              <a:t>På skift kan teammedlemmer kort præsenterer, hvilke ord de hver især har fremhævet. Derefter kan de drøfte: 1) Hvordan kommer vores børnesyn til udtryk i praksis? 2) Hvad skal der til for at sikre stærkere sammenhæng mellem skolens børnesyn og teamets praksis?</a:t>
            </a:r>
          </a:p>
          <a:p>
            <a:pPr marL="171450" indent="-171450" algn="just">
              <a:lnSpc>
                <a:spcPts val="1300"/>
              </a:lnSpc>
              <a:buFont typeface="Arial" panose="020B0604020202020204" pitchFamily="34" charset="0"/>
              <a:buChar char="•"/>
            </a:pPr>
            <a:endParaRPr lang="da-DK" sz="900" dirty="0">
              <a:effectLst/>
              <a:latin typeface="Verdana" panose="020B0604030504040204" pitchFamily="34" charset="0"/>
              <a:ea typeface="Calibri" panose="020F0502020204030204" pitchFamily="34" charset="0"/>
              <a:cs typeface="Times New Roman" panose="02020603050405020304" pitchFamily="18" charset="0"/>
            </a:endParaRPr>
          </a:p>
          <a:p>
            <a:pPr marL="171450" indent="-171450" algn="just">
              <a:lnSpc>
                <a:spcPts val="1300"/>
              </a:lnSpc>
              <a:buFont typeface="Arial" panose="020B0604020202020204" pitchFamily="34" charset="0"/>
              <a:buChar char="•"/>
            </a:pPr>
            <a:r>
              <a:rPr lang="da-DK" sz="900" b="1" dirty="0">
                <a:effectLst/>
                <a:latin typeface="Verdana" panose="020B0604030504040204" pitchFamily="34" charset="0"/>
                <a:ea typeface="Calibri" panose="020F0502020204030204" pitchFamily="34" charset="0"/>
                <a:cs typeface="Times New Roman" panose="02020603050405020304" pitchFamily="18" charset="0"/>
              </a:rPr>
              <a:t>… lederne forholder sig til, hvordan børnesynet varierer inden for skolen, og hvad man kan gøre for at skabe større fælles fodslag. </a:t>
            </a:r>
            <a:r>
              <a:rPr lang="da-DK" sz="900" dirty="0">
                <a:effectLst/>
                <a:latin typeface="Verdana" panose="020B0604030504040204" pitchFamily="34" charset="0"/>
                <a:ea typeface="Calibri" panose="020F0502020204030204" pitchFamily="34" charset="0"/>
                <a:cs typeface="Times New Roman" panose="02020603050405020304" pitchFamily="18" charset="0"/>
              </a:rPr>
              <a:t>Både pædagogisk personale og ledere giver udtryk for, at der ofte er det samme børnesyn internt i teamene, mens der kan være relativt store forskelle på tværs af klassetrin, almen- og specialafdelinger og medarbejdere med forskellige uddannelsesbaggrunde (fx lærere og pædagoger). Derfor er det vigtigt som leder at forholde sig til, hvordan man kan overkomme disse forskelle og forsøge at bygge bro mellem forskellige ’afdelinger’ internt på skolerne. </a:t>
            </a:r>
          </a:p>
          <a:p>
            <a:pPr marL="171450" indent="-171450" algn="just">
              <a:lnSpc>
                <a:spcPts val="1300"/>
              </a:lnSpc>
              <a:buFont typeface="Arial" panose="020B0604020202020204" pitchFamily="34" charset="0"/>
              <a:buChar char="•"/>
            </a:pPr>
            <a:endParaRPr lang="da-DK" sz="900" dirty="0">
              <a:effectLst/>
              <a:latin typeface="Verdana" panose="020B0604030504040204" pitchFamily="34" charset="0"/>
              <a:ea typeface="Calibri" panose="020F0502020204030204" pitchFamily="34" charset="0"/>
              <a:cs typeface="Times New Roman" panose="02020603050405020304" pitchFamily="18" charset="0"/>
            </a:endParaRPr>
          </a:p>
          <a:p>
            <a:pPr marL="171450" indent="-171450" algn="just">
              <a:lnSpc>
                <a:spcPts val="1300"/>
              </a:lnSpc>
              <a:buFont typeface="Arial" panose="020B0604020202020204" pitchFamily="34" charset="0"/>
              <a:buChar char="•"/>
            </a:pPr>
            <a:r>
              <a:rPr lang="da-DK" sz="900" b="1" dirty="0">
                <a:effectLst/>
                <a:latin typeface="Verdana" panose="020B0604030504040204" pitchFamily="34" charset="0"/>
                <a:ea typeface="Calibri" panose="020F0502020204030204" pitchFamily="34" charset="0"/>
                <a:cs typeface="Times New Roman" panose="02020603050405020304" pitchFamily="18" charset="0"/>
              </a:rPr>
              <a:t>… have fælles dialoger med ledelsen om, hvordan skolens børnesyn kommer til udtryk og omsættes i praksis.</a:t>
            </a:r>
            <a:r>
              <a:rPr lang="da-DK" sz="900" dirty="0">
                <a:effectLst/>
                <a:latin typeface="Verdana" panose="020B0604030504040204" pitchFamily="34" charset="0"/>
                <a:ea typeface="Calibri" panose="020F0502020204030204" pitchFamily="34" charset="0"/>
                <a:cs typeface="Times New Roman" panose="02020603050405020304" pitchFamily="18" charset="0"/>
              </a:rPr>
              <a:t> Selvom en større andel af pædagogisk personale oplever, at skolen har et fælles børnesyn, er der fortsat også nogle, som i interviewene påpeger, at det er udfordrende at omsætte børnesynet til praksis. Som eksempel nævnes det, at det er svært at ændre på, hvordan pædagogisk personale generelt taler om og med eleverne. På skoler, som særligt oplever at arbejde ud fra et fælles børnesyn, har ledelsen ofte gennemført længere forløb, hvor pædagogisk personale fx har analyseret egen praksis og med afsæt i konkrete udfordringer har anvendt børnesynet til at genvurdere, hvordan man kan tackle en konkret situation. Andre har inddraget børnesynet til MUS-samtaler og bedt medarbejderen forholde sig til, hvordan de konkret og i det daglige arbejde skaber deltagelsesmuligheder for alle elever. Ifølge lederne er det vigtigt ikke blot at have en række overordnede ord som pejlemærke, men også løbende snakke om, hvorvidt man efterlever det i praksis. </a:t>
            </a:r>
          </a:p>
          <a:p>
            <a:endParaRPr lang="da-DK" sz="1000" b="1" baseline="0" dirty="0">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19</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64354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0"/>
        <p:cNvGrpSpPr/>
        <p:nvPr/>
      </p:nvGrpSpPr>
      <p:grpSpPr>
        <a:xfrm>
          <a:off x="0" y="0"/>
          <a:ext cx="0" cy="0"/>
          <a:chOff x="0" y="0"/>
          <a:chExt cx="0" cy="0"/>
        </a:xfrm>
      </p:grpSpPr>
      <p:sp>
        <p:nvSpPr>
          <p:cNvPr id="691" name="Google Shape;691;g35f391192_00:notes"/>
          <p:cNvSpPr>
            <a:spLocks noGrp="1" noRot="1" noChangeAspect="1"/>
          </p:cNvSpPr>
          <p:nvPr>
            <p:ph type="sldImg" idx="2"/>
          </p:nvPr>
        </p:nvSpPr>
        <p:spPr>
          <a:xfrm>
            <a:off x="-349250" y="808038"/>
            <a:ext cx="7183438" cy="40417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2" name="Google Shape;692;g35f391192_00:notes"/>
          <p:cNvSpPr txBox="1">
            <a:spLocks noGrp="1"/>
          </p:cNvSpPr>
          <p:nvPr>
            <p:ph type="body" idx="1"/>
          </p:nvPr>
        </p:nvSpPr>
        <p:spPr>
          <a:xfrm>
            <a:off x="648539" y="5118725"/>
            <a:ext cx="5188303" cy="4849318"/>
          </a:xfrm>
          <a:prstGeom prst="rect">
            <a:avLst/>
          </a:prstGeom>
        </p:spPr>
        <p:txBody>
          <a:bodyPr spcFirstLastPara="1" wrap="square" lIns="91425" tIns="91425" rIns="91425" bIns="91425" anchor="t" anchorCtr="0">
            <a:noAutofit/>
          </a:bodyPr>
          <a:lstStyle/>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0" lvl="0" indent="0" algn="l">
              <a:spcBef>
                <a:spcPts val="0"/>
              </a:spcBef>
              <a:spcAft>
                <a:spcPts val="0"/>
              </a:spcAft>
              <a:buNone/>
            </a:pPr>
            <a:endParaRPr lang="da-DK"/>
          </a:p>
        </p:txBody>
      </p:sp>
    </p:spTree>
    <p:extLst>
      <p:ext uri="{BB962C8B-B14F-4D97-AF65-F5344CB8AC3E}">
        <p14:creationId xmlns:p14="http://schemas.microsoft.com/office/powerpoint/2010/main" val="22783919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20</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5106277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0"/>
        <p:cNvGrpSpPr/>
        <p:nvPr/>
      </p:nvGrpSpPr>
      <p:grpSpPr>
        <a:xfrm>
          <a:off x="0" y="0"/>
          <a:ext cx="0" cy="0"/>
          <a:chOff x="0" y="0"/>
          <a:chExt cx="0" cy="0"/>
        </a:xfrm>
      </p:grpSpPr>
      <p:sp>
        <p:nvSpPr>
          <p:cNvPr id="691" name="Google Shape;691;g35f391192_00:notes"/>
          <p:cNvSpPr>
            <a:spLocks noGrp="1" noRot="1" noChangeAspect="1"/>
          </p:cNvSpPr>
          <p:nvPr>
            <p:ph type="sldImg" idx="2"/>
          </p:nvPr>
        </p:nvSpPr>
        <p:spPr>
          <a:xfrm>
            <a:off x="-349250" y="808038"/>
            <a:ext cx="7183438" cy="40417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2" name="Google Shape;692;g35f391192_00:notes"/>
          <p:cNvSpPr txBox="1">
            <a:spLocks noGrp="1"/>
          </p:cNvSpPr>
          <p:nvPr>
            <p:ph type="body" idx="1"/>
          </p:nvPr>
        </p:nvSpPr>
        <p:spPr>
          <a:xfrm>
            <a:off x="648539" y="5118725"/>
            <a:ext cx="5188303" cy="4849318"/>
          </a:xfrm>
          <a:prstGeom prst="rect">
            <a:avLst/>
          </a:prstGeom>
        </p:spPr>
        <p:txBody>
          <a:bodyPr spcFirstLastPara="1" wrap="square" lIns="91425" tIns="91425" rIns="91425" bIns="91425" anchor="t" anchorCtr="0">
            <a:noAutofit/>
          </a:bodyPr>
          <a:lstStyle/>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342900" lvl="0" indent="-342900">
              <a:buFont typeface="+mj-lt"/>
              <a:buAutoNum type="arabicPeriod"/>
            </a:pPr>
            <a:endParaRPr lang="da-DK" sz="1800" b="1">
              <a:solidFill>
                <a:srgbClr val="44546A"/>
              </a:solidFill>
              <a:effectLst/>
              <a:latin typeface="Verdana" panose="020B0604030504040204" pitchFamily="34" charset="0"/>
              <a:ea typeface="Calibri" panose="020F0502020204030204" pitchFamily="34" charset="0"/>
            </a:endParaRPr>
          </a:p>
          <a:p>
            <a:pPr marL="0" lvl="0" indent="0" algn="l">
              <a:spcBef>
                <a:spcPts val="0"/>
              </a:spcBef>
              <a:spcAft>
                <a:spcPts val="0"/>
              </a:spcAft>
              <a:buNone/>
            </a:pPr>
            <a:endParaRPr lang="da-DK"/>
          </a:p>
        </p:txBody>
      </p:sp>
    </p:spTree>
    <p:extLst>
      <p:ext uri="{BB962C8B-B14F-4D97-AF65-F5344CB8AC3E}">
        <p14:creationId xmlns:p14="http://schemas.microsoft.com/office/powerpoint/2010/main" val="10902879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ts val="1300"/>
              </a:lnSpc>
              <a:buFont typeface="Arial" panose="020B0604020202020204" pitchFamily="34" charset="0"/>
              <a:buNone/>
              <a:tabLst>
                <a:tab pos="457200" algn="l"/>
              </a:tabLst>
            </a:pPr>
            <a:endParaRPr lang="da-DK" sz="1000" kern="1200" baseline="0">
              <a:solidFill>
                <a:srgbClr val="000000"/>
              </a:solidFill>
              <a:effectLst/>
              <a:latin typeface="Verdana" panose="020B0604030504040204" pitchFamily="34" charset="0"/>
              <a:ea typeface="+mn-ea"/>
              <a:cs typeface="+mn-cs"/>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22</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814018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23</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3208232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sz="1000" b="1" baseline="0" dirty="0">
                <a:latin typeface="Verdana" panose="020B0604030504040204" pitchFamily="34" charset="0"/>
                <a:ea typeface="Verdana" panose="020B0604030504040204" pitchFamily="34" charset="0"/>
              </a:rPr>
              <a:t>Uddybende noter:</a:t>
            </a:r>
          </a:p>
          <a:p>
            <a:endParaRPr lang="da-DK" sz="1000" b="0" baseline="0" dirty="0">
              <a:latin typeface="Verdana" panose="020B0604030504040204" pitchFamily="34" charset="0"/>
              <a:ea typeface="Verdana" panose="020B0604030504040204" pitchFamily="34" charset="0"/>
            </a:endParaRPr>
          </a:p>
          <a:p>
            <a:r>
              <a:rPr lang="da-DK" sz="1000" b="0" baseline="0" dirty="0">
                <a:latin typeface="Verdana" panose="020B0604030504040204" pitchFamily="34" charset="0"/>
                <a:ea typeface="Verdana" panose="020B0604030504040204" pitchFamily="34" charset="0"/>
              </a:rPr>
              <a:t>Evalueringen viser, at: </a:t>
            </a:r>
          </a:p>
          <a:p>
            <a:endParaRPr lang="da-DK" sz="1000" b="0" baseline="0" dirty="0">
              <a:latin typeface="Verdana" panose="020B0604030504040204" pitchFamily="34" charset="0"/>
              <a:ea typeface="Verdana" panose="020B0604030504040204" pitchFamily="34" charset="0"/>
            </a:endParaRPr>
          </a:p>
          <a:p>
            <a:pPr marL="342900" lvl="0" indent="-342900">
              <a:lnSpc>
                <a:spcPct val="107000"/>
              </a:lnSpc>
              <a:spcAft>
                <a:spcPts val="800"/>
              </a:spcAft>
              <a:buFont typeface="+mj-lt"/>
              <a:buAutoNum type="arabicPeriod"/>
              <a:tabLst>
                <a:tab pos="457200" algn="l"/>
              </a:tabLst>
            </a:pPr>
            <a:r>
              <a:rPr lang="da-DK" sz="1000" b="1" dirty="0">
                <a:effectLst/>
                <a:latin typeface="Verdana" panose="020B0604030504040204" pitchFamily="34" charset="0"/>
                <a:ea typeface="Verdana" panose="020B0604030504040204" pitchFamily="34" charset="0"/>
                <a:cs typeface="Times New Roman" panose="02020603050405020304" pitchFamily="18" charset="0"/>
              </a:rPr>
              <a:t>Flere ledere er enige i, at de interesserer sig for og følger op på det arbejde, der sker i teamene.</a:t>
            </a:r>
          </a:p>
          <a:p>
            <a:pPr marL="522900" lvl="1" indent="-342900">
              <a:lnSpc>
                <a:spcPct val="107000"/>
              </a:lnSpc>
              <a:spcAft>
                <a:spcPts val="800"/>
              </a:spcAft>
              <a:buFont typeface="Arial" panose="020B0604020202020204" pitchFamily="34" charset="0"/>
              <a:buChar char="•"/>
              <a:tabLst>
                <a:tab pos="457200" algn="l"/>
              </a:tabLst>
            </a:pPr>
            <a:r>
              <a:rPr lang="da-DK" sz="1000" dirty="0">
                <a:effectLst/>
                <a:latin typeface="Verdana" panose="020B0604030504040204" pitchFamily="34" charset="0"/>
                <a:ea typeface="Verdana" panose="020B0604030504040204" pitchFamily="34" charset="0"/>
                <a:cs typeface="Times New Roman" panose="02020603050405020304" pitchFamily="18" charset="0"/>
              </a:rPr>
              <a:t>Af spørgeskemaundersøgelsen fremgår det, at der er sket en signifikant stigning i andelen af ledere, som angiver, at de interesserer sig for og følger systematisk op på det arbejde, der sker i teamene. </a:t>
            </a:r>
          </a:p>
          <a:p>
            <a:pPr marL="522900" lvl="1" indent="-342900">
              <a:lnSpc>
                <a:spcPct val="107000"/>
              </a:lnSpc>
              <a:spcAft>
                <a:spcPts val="800"/>
              </a:spcAft>
              <a:buFont typeface="Arial" panose="020B0604020202020204" pitchFamily="34" charset="0"/>
              <a:buChar char="•"/>
              <a:tabLst>
                <a:tab pos="457200" algn="l"/>
              </a:tabLst>
            </a:pPr>
            <a:r>
              <a:rPr lang="da-DK" sz="1000" dirty="0">
                <a:effectLst/>
                <a:latin typeface="Verdana" panose="020B0604030504040204" pitchFamily="34" charset="0"/>
                <a:ea typeface="Verdana" panose="020B0604030504040204" pitchFamily="34" charset="0"/>
                <a:cs typeface="Times New Roman" panose="02020603050405020304" pitchFamily="18" charset="0"/>
              </a:rPr>
              <a:t>87 pct. er overvejende eller meget enige i, at de interesserer sig for arbejdet, mens 82 pct. er enige i, at de følger op på arbejdet i teamene. </a:t>
            </a:r>
            <a:br>
              <a:rPr lang="da-DK" sz="1000" dirty="0">
                <a:effectLst/>
                <a:latin typeface="Verdana" panose="020B0604030504040204" pitchFamily="34" charset="0"/>
                <a:ea typeface="Verdana" panose="020B0604030504040204" pitchFamily="34" charset="0"/>
                <a:cs typeface="Times New Roman" panose="02020603050405020304" pitchFamily="18" charset="0"/>
              </a:rPr>
            </a:br>
            <a:endParaRPr lang="da-DK" sz="1000" dirty="0">
              <a:effectLst/>
              <a:latin typeface="Verdana" panose="020B0604030504040204" pitchFamily="34" charset="0"/>
              <a:ea typeface="Verdana" panose="020B060403050404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da-DK" sz="1000" b="1" dirty="0">
                <a:effectLst/>
                <a:latin typeface="Verdana" panose="020B0604030504040204" pitchFamily="34" charset="0"/>
                <a:ea typeface="Verdana" panose="020B0604030504040204" pitchFamily="34" charset="0"/>
                <a:cs typeface="Times New Roman" panose="02020603050405020304" pitchFamily="18" charset="0"/>
              </a:rPr>
              <a:t>Der er dog stadig stor variation i, hvor tæt lederne er på praksis. </a:t>
            </a:r>
          </a:p>
          <a:p>
            <a:pPr marL="522900" lvl="1" indent="-342900">
              <a:lnSpc>
                <a:spcPct val="107000"/>
              </a:lnSpc>
              <a:spcAft>
                <a:spcPts val="800"/>
              </a:spcAft>
              <a:buFont typeface="Arial" panose="020B0604020202020204" pitchFamily="34" charset="0"/>
              <a:buChar char="•"/>
              <a:tabLst>
                <a:tab pos="457200" algn="l"/>
              </a:tabLst>
            </a:pPr>
            <a:r>
              <a:rPr lang="da-DK" sz="1000" dirty="0">
                <a:effectLst/>
                <a:latin typeface="Verdana" panose="020B0604030504040204" pitchFamily="34" charset="0"/>
                <a:ea typeface="Verdana" panose="020B0604030504040204" pitchFamily="34" charset="0"/>
                <a:cs typeface="Times New Roman" panose="02020603050405020304" pitchFamily="18" charset="0"/>
              </a:rPr>
              <a:t>Selvom lederne generelt selv angiver at være tæt på teamenes arbejde, er der også skoleledere, som erkender, at de ikke altid er gode til at være tæt på praksis. Her fortæller nogle, at administrative opgaver fylder kalenderen, og at det derfor er svært at finde tid til at deltage i teammøder og følge op på arbejdet. Andre fortæller, at det føles uvant at deltage i praksisnære dialoger, hvor de skal reflektere sammen med teams og facilitere samtaler i stedet for at styre møderne og give svar. </a:t>
            </a:r>
          </a:p>
          <a:p>
            <a:pPr marL="522900" lvl="1" indent="-342900">
              <a:lnSpc>
                <a:spcPct val="107000"/>
              </a:lnSpc>
              <a:spcAft>
                <a:spcPts val="800"/>
              </a:spcAft>
              <a:buFont typeface="Arial" panose="020B0604020202020204" pitchFamily="34" charset="0"/>
              <a:buChar char="•"/>
              <a:tabLst>
                <a:tab pos="457200" algn="l"/>
              </a:tabLst>
            </a:pPr>
            <a:r>
              <a:rPr lang="da-DK" sz="1000" dirty="0">
                <a:effectLst/>
                <a:latin typeface="Verdana" panose="020B0604030504040204" pitchFamily="34" charset="0"/>
                <a:ea typeface="Verdana" panose="020B0604030504040204" pitchFamily="34" charset="0"/>
                <a:cs typeface="Times New Roman" panose="02020603050405020304" pitchFamily="18" charset="0"/>
              </a:rPr>
              <a:t>Nogle steder prioriterer ledere at være en aktiv del af praksis og stille sig til rådighed for sparring med personalet, mens de andre steder holder sig i baggrunden og lader skolens vejledere, ressourcepersoner og UCN-konsulenter varetage vejledningen om aktionslæring.</a:t>
            </a:r>
            <a:br>
              <a:rPr lang="da-DK" sz="1000" dirty="0">
                <a:effectLst/>
                <a:latin typeface="Verdana" panose="020B0604030504040204" pitchFamily="34" charset="0"/>
                <a:ea typeface="Verdana" panose="020B0604030504040204" pitchFamily="34" charset="0"/>
                <a:cs typeface="Times New Roman" panose="02020603050405020304" pitchFamily="18" charset="0"/>
              </a:rPr>
            </a:br>
            <a:endParaRPr lang="da-DK" sz="1000" dirty="0">
              <a:effectLst/>
              <a:latin typeface="Verdana" panose="020B0604030504040204" pitchFamily="34" charset="0"/>
              <a:ea typeface="Verdana" panose="020B060403050404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da-DK" sz="1000" b="1" dirty="0">
                <a:effectLst/>
                <a:latin typeface="Verdana" panose="020B0604030504040204" pitchFamily="34" charset="0"/>
                <a:ea typeface="Verdana" panose="020B0604030504040204" pitchFamily="34" charset="0"/>
                <a:cs typeface="Times New Roman" panose="02020603050405020304" pitchFamily="18" charset="0"/>
              </a:rPr>
              <a:t>Ledere og pædagogisk personale oplever også forsat ledelsesunderstøttelsen meget forskelligt.</a:t>
            </a:r>
          </a:p>
          <a:p>
            <a:pPr marL="522900" lvl="1" indent="-342900">
              <a:lnSpc>
                <a:spcPct val="107000"/>
              </a:lnSpc>
              <a:spcAft>
                <a:spcPts val="800"/>
              </a:spcAft>
              <a:buFont typeface="Arial" panose="020B0604020202020204" pitchFamily="34" charset="0"/>
              <a:buChar char="•"/>
              <a:tabLst>
                <a:tab pos="457200" algn="l"/>
              </a:tabLst>
            </a:pPr>
            <a:r>
              <a:rPr lang="da-DK" sz="1000" dirty="0">
                <a:effectLst/>
                <a:latin typeface="Verdana" panose="020B0604030504040204" pitchFamily="34" charset="0"/>
                <a:ea typeface="Verdana" panose="020B0604030504040204" pitchFamily="34" charset="0"/>
                <a:cs typeface="Times New Roman" panose="02020603050405020304" pitchFamily="18" charset="0"/>
              </a:rPr>
              <a:t>Af spørgeskemaundersøgelsen fremgår det, at det pædagogiske personale generelt er markant mindre enige i, at ledelsen understøtter deres arbejde med at skabe deltagelsesmuligheder. Det er fx kun lidt over halvdelen af det pædagogiske personale (57 pct.), som oplever, at ledelsen giver sparring og feedback på praksis i deres team sammenholdt med 88 pct. af lederne. </a:t>
            </a:r>
          </a:p>
          <a:p>
            <a:pPr marL="522900" lvl="1" indent="-342900">
              <a:lnSpc>
                <a:spcPct val="107000"/>
              </a:lnSpc>
              <a:spcAft>
                <a:spcPts val="800"/>
              </a:spcAft>
              <a:buFont typeface="Arial" panose="020B0604020202020204" pitchFamily="34" charset="0"/>
              <a:buChar char="•"/>
              <a:tabLst>
                <a:tab pos="457200" algn="l"/>
              </a:tabLst>
            </a:pPr>
            <a:r>
              <a:rPr lang="da-DK" sz="1000" dirty="0">
                <a:effectLst/>
                <a:latin typeface="Verdana" panose="020B0604030504040204" pitchFamily="34" charset="0"/>
                <a:ea typeface="Verdana" panose="020B0604030504040204" pitchFamily="34" charset="0"/>
                <a:cs typeface="Times New Roman" panose="02020603050405020304" pitchFamily="18" charset="0"/>
              </a:rPr>
              <a:t>På flere skoler ønsker pædagogisk personale stadigvæk, at lederne involverer sig mere i udviklingsarbejdet. De er tilfredse med rammerne for projektet, men savner ledelsessparring om, hvordan de bedst kan arbejde med prøvehandlinger i undervisningen. Flere steder ønsker det pædagogiske personale, at ledelsen oftere deltager i teammøder, at de i højere grad følger op på og spørger ind til kursusaktiviteterne, at de tilbyder praksisnære input til, hvordan prøvehandlingerne skal planlægges, og at de indgår i drøftelser af prøvehandlingers virkning på eleverne. </a:t>
            </a:r>
          </a:p>
          <a:p>
            <a:pPr marL="522900" lvl="1" indent="-342900">
              <a:lnSpc>
                <a:spcPct val="107000"/>
              </a:lnSpc>
              <a:spcAft>
                <a:spcPts val="800"/>
              </a:spcAft>
              <a:buFont typeface="Arial" panose="020B0604020202020204" pitchFamily="34" charset="0"/>
              <a:buChar char="•"/>
              <a:tabLst>
                <a:tab pos="457200" algn="l"/>
              </a:tabLst>
            </a:pPr>
            <a:r>
              <a:rPr lang="da-DK" sz="1800" dirty="0">
                <a:effectLst/>
                <a:latin typeface="Verdana" panose="020B0604030504040204" pitchFamily="34" charset="0"/>
                <a:ea typeface="Calibri" panose="020F0502020204030204" pitchFamily="34" charset="0"/>
                <a:cs typeface="Times New Roman" panose="02020603050405020304" pitchFamily="18" charset="0"/>
              </a:rPr>
              <a:t>Flere blandt pædagogisk personale nævner også, at ledelsen bør være tættere på praksis og have større indsigt i, hvordan UCN-konsulenterne og pædagogisk personale arbejder med prøvehandlinger. Det giver lederne en bedre forståelse af skolens børn og de konkrete udfordringer, der optager pædagogisk personale. Det bidrager imidlertid også til at sende et signal om, at udviklingsarbejdet med Den Mangfoldige Folkeskole skal prioriteres. </a:t>
            </a:r>
          </a:p>
          <a:p>
            <a:pPr marL="180000" lvl="1" indent="0">
              <a:lnSpc>
                <a:spcPct val="107000"/>
              </a:lnSpc>
              <a:spcAft>
                <a:spcPts val="800"/>
              </a:spcAft>
              <a:buFont typeface="Arial" panose="020B0604020202020204" pitchFamily="34" charset="0"/>
              <a:buNone/>
              <a:tabLst>
                <a:tab pos="457200" algn="l"/>
              </a:tabLst>
            </a:pPr>
            <a:br>
              <a:rPr lang="da-DK" sz="1000" b="0" kern="0" baseline="0" dirty="0">
                <a:effectLst/>
                <a:latin typeface="Verdana" panose="020B0604030504040204" pitchFamily="34" charset="0"/>
                <a:ea typeface="Verdana" panose="020B0604030504040204" pitchFamily="34" charset="0"/>
                <a:cs typeface="Times New Roman" panose="02020603050405020304" pitchFamily="18" charset="0"/>
              </a:rPr>
            </a:br>
            <a:endParaRPr lang="da-DK" sz="1000" b="0" kern="0" baseline="0" dirty="0">
              <a:effectLst/>
              <a:latin typeface="Verdana" panose="020B0604030504040204" pitchFamily="34" charset="0"/>
              <a:ea typeface="Verdana" panose="020B0604030504040204" pitchFamily="34" charset="0"/>
              <a:cs typeface="Times New Roman" panose="02020603050405020304" pitchFamily="18" charset="0"/>
            </a:endParaRPr>
          </a:p>
          <a:p>
            <a:pPr>
              <a:lnSpc>
                <a:spcPct val="107000"/>
              </a:lnSpc>
              <a:spcAft>
                <a:spcPts val="800"/>
              </a:spcAft>
            </a:pPr>
            <a:r>
              <a:rPr lang="da-DK" sz="1000" b="0" dirty="0">
                <a:effectLst/>
                <a:latin typeface="Verdana" panose="020B0604030504040204" pitchFamily="34" charset="0"/>
                <a:ea typeface="Verdana" panose="020B0604030504040204" pitchFamily="34" charset="0"/>
                <a:cs typeface="Times New Roman" panose="02020603050405020304" pitchFamily="18" charset="0"/>
              </a:rPr>
              <a:t>Fremadrettet kan det styrke praksis, at… </a:t>
            </a:r>
            <a:br>
              <a:rPr lang="da-DK" sz="1000" b="1" dirty="0">
                <a:effectLst/>
                <a:latin typeface="Verdana" panose="020B0604030504040204" pitchFamily="34" charset="0"/>
                <a:ea typeface="Verdana" panose="020B0604030504040204" pitchFamily="34" charset="0"/>
                <a:cs typeface="Times New Roman" panose="02020603050405020304" pitchFamily="18" charset="0"/>
              </a:rPr>
            </a:br>
            <a:endParaRPr lang="da-DK" sz="1000" dirty="0">
              <a:effectLst/>
              <a:latin typeface="Verdana" panose="020B0604030504040204" pitchFamily="34" charset="0"/>
              <a:ea typeface="Verdana" panose="020B0604030504040204" pitchFamily="34" charset="0"/>
              <a:cs typeface="Times New Roman" panose="02020603050405020304" pitchFamily="18" charset="0"/>
            </a:endParaRP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da-DK" sz="1000" b="1" dirty="0">
                <a:effectLst/>
                <a:latin typeface="Verdana" panose="020B0604030504040204" pitchFamily="34" charset="0"/>
                <a:ea typeface="Verdana" panose="020B0604030504040204" pitchFamily="34" charset="0"/>
                <a:cs typeface="Times New Roman" panose="02020603050405020304" pitchFamily="18" charset="0"/>
              </a:rPr>
              <a:t>… </a:t>
            </a:r>
            <a:r>
              <a:rPr kumimoji="0" lang="da-DK" sz="1000" b="1" i="0" u="none" strike="noStrike" kern="1200" cap="none" spc="0" normalizeH="0" baseline="0" noProof="0" dirty="0">
                <a:ln>
                  <a:noFill/>
                </a:ln>
                <a:solidFill>
                  <a:srgbClr val="273F68"/>
                </a:solidFill>
                <a:effectLst/>
                <a:uLnTx/>
                <a:uFillTx/>
                <a:latin typeface="Quicksand" panose="020B0604020202020204" charset="0"/>
                <a:ea typeface="+mn-ea"/>
                <a:cs typeface="+mn-cs"/>
              </a:rPr>
              <a:t>lederne går i dialog med pædagogiske personale om, hvordan de kan lede tæt på praksis på en nærværende og faciliterende måde.</a:t>
            </a:r>
            <a:r>
              <a:rPr kumimoji="0" lang="da-DK" sz="1000" b="0" i="0" u="none" strike="noStrike" kern="1200" cap="none" spc="0" normalizeH="0" baseline="0" noProof="0" dirty="0">
                <a:ln>
                  <a:noFill/>
                </a:ln>
                <a:solidFill>
                  <a:srgbClr val="273F68"/>
                </a:solidFill>
                <a:effectLst/>
                <a:uLnTx/>
                <a:uFillTx/>
                <a:latin typeface="Quicksand" panose="020B0604020202020204" charset="0"/>
                <a:ea typeface="+mn-ea"/>
                <a:cs typeface="+mn-cs"/>
              </a:rPr>
              <a:t> </a:t>
            </a:r>
            <a:endParaRPr lang="da-DK" sz="1000" dirty="0">
              <a:effectLst/>
              <a:latin typeface="Verdana" panose="020B0604030504040204" pitchFamily="34" charset="0"/>
              <a:ea typeface="Verdana" panose="020B060403050404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800"/>
              </a:spcAft>
              <a:buClrTx/>
              <a:buSzTx/>
              <a:buFont typeface="Courier New" panose="02070309020205020404" pitchFamily="49" charset="0"/>
              <a:buChar char="o"/>
              <a:tabLst/>
              <a:defRPr/>
            </a:pPr>
            <a:r>
              <a:rPr lang="da-DK" sz="1800" dirty="0">
                <a:effectLst/>
                <a:latin typeface="Verdana" panose="020B0604030504040204" pitchFamily="34" charset="0"/>
                <a:ea typeface="Calibri" panose="020F0502020204030204" pitchFamily="34" charset="0"/>
                <a:cs typeface="Times New Roman" panose="02020603050405020304" pitchFamily="18" charset="0"/>
              </a:rPr>
              <a:t>Flere ledere giver udtryk for, at de er involverede og engagerede i praksisudviklingen uden at være fysisk til stede i praksis. Men ifølge pædagogisk personale er det vigtigt, at lederne er til stede, hvis de skal opleves som nærværende og have føling med det, der foregår i deres dagligdag. </a:t>
            </a:r>
            <a:endParaRPr lang="da-DK" sz="1000" dirty="0">
              <a:effectLst/>
              <a:latin typeface="Verdana" panose="020B0604030504040204" pitchFamily="34" charset="0"/>
              <a:ea typeface="Verdana" panose="020B060403050404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800"/>
              </a:spcAft>
              <a:buClrTx/>
              <a:buSzTx/>
              <a:buFont typeface="Courier New" panose="02070309020205020404" pitchFamily="49" charset="0"/>
              <a:buChar char="o"/>
              <a:tabLst/>
              <a:defRPr/>
            </a:pPr>
            <a:r>
              <a:rPr lang="da-DK" sz="1800" dirty="0">
                <a:effectLst/>
                <a:latin typeface="Verdana" panose="020B0604030504040204" pitchFamily="34" charset="0"/>
                <a:ea typeface="Calibri" panose="020F0502020204030204" pitchFamily="34" charset="0"/>
                <a:cs typeface="Times New Roman" panose="02020603050405020304" pitchFamily="18" charset="0"/>
              </a:rPr>
              <a:t>Nogle fortæller også, at de aktivt har valgt ikke at deltage i aktionslæringsforløbene, fordi de ’farver’ dialogen for meget og kommer til at indtage en for dominerende rolle i samtalerne. Samtidig ønsker pædagogisk personale, at ledelsen engagerer sig mere tydeligt i dette arbejde. </a:t>
            </a:r>
            <a:endParaRPr lang="da-DK" sz="1000" dirty="0">
              <a:effectLst/>
              <a:latin typeface="Verdana" panose="020B0604030504040204" pitchFamily="34" charset="0"/>
              <a:ea typeface="Verdana" panose="020B060403050404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800"/>
              </a:spcAft>
              <a:buClrTx/>
              <a:buSzTx/>
              <a:buFont typeface="Courier New" panose="02070309020205020404" pitchFamily="49" charset="0"/>
              <a:buChar char="o"/>
              <a:tabLst/>
              <a:defRPr/>
            </a:pPr>
            <a:r>
              <a:rPr lang="da-DK" sz="1800" dirty="0">
                <a:effectLst/>
                <a:latin typeface="Verdana" panose="020B0604030504040204" pitchFamily="34" charset="0"/>
                <a:ea typeface="Calibri" panose="020F0502020204030204" pitchFamily="34" charset="0"/>
                <a:cs typeface="Times New Roman" panose="02020603050405020304" pitchFamily="18" charset="0"/>
              </a:rPr>
              <a:t>Det peger samlet set i retning af, at lederne med fordel kan gå i mere åben dialog med pædagogisk personale om, hvordan de kan lede tættere på praksis, da der er stor forskel på ledernes tanker om egen rolle og pædagogisk personales efterspørgsel. </a:t>
            </a:r>
          </a:p>
          <a:p>
            <a:pPr marL="914400">
              <a:lnSpc>
                <a:spcPct val="107000"/>
              </a:lnSpc>
              <a:spcAft>
                <a:spcPts val="800"/>
              </a:spcAft>
            </a:pPr>
            <a:endParaRPr lang="da-DK" sz="1000" dirty="0">
              <a:effectLst/>
              <a:latin typeface="Verdana" panose="020B0604030504040204" pitchFamily="34" charset="0"/>
              <a:ea typeface="Verdana" panose="020B0604030504040204" pitchFamily="34" charset="0"/>
              <a:cs typeface="Times New Roman" panose="02020603050405020304" pitchFamily="18" charset="0"/>
            </a:endParaRPr>
          </a:p>
          <a:p>
            <a:pPr marL="171450" lvl="0" indent="-171450">
              <a:lnSpc>
                <a:spcPct val="107000"/>
              </a:lnSpc>
              <a:spcAft>
                <a:spcPts val="800"/>
              </a:spcAft>
              <a:buFont typeface="Arial" panose="020B0604020202020204" pitchFamily="34" charset="0"/>
              <a:buChar char="•"/>
            </a:pPr>
            <a:r>
              <a:rPr lang="da-DK" sz="1000" b="1" dirty="0">
                <a:effectLst/>
                <a:latin typeface="Verdana" panose="020B0604030504040204" pitchFamily="34" charset="0"/>
                <a:ea typeface="Verdana" panose="020B0604030504040204" pitchFamily="34" charset="0"/>
                <a:cs typeface="Times New Roman" panose="02020603050405020304" pitchFamily="18" charset="0"/>
              </a:rPr>
              <a:t>…  lederne er rollemodel med </a:t>
            </a:r>
            <a:r>
              <a:rPr kumimoji="0" lang="da-DK" sz="1000" b="1" i="0" u="none" strike="noStrike" kern="1200" cap="none" spc="0" normalizeH="0" baseline="0" noProof="0" dirty="0">
                <a:ln>
                  <a:noFill/>
                </a:ln>
                <a:solidFill>
                  <a:srgbClr val="273F68"/>
                </a:solidFill>
                <a:effectLst/>
                <a:uLnTx/>
                <a:uFillTx/>
                <a:latin typeface="Verdana" panose="020B0604030504040204" pitchFamily="34" charset="0"/>
                <a:ea typeface="Verdana" panose="020B0604030504040204" pitchFamily="34" charset="0"/>
                <a:cs typeface="+mn-cs"/>
              </a:rPr>
              <a:t>egne prøvehandlinger og</a:t>
            </a:r>
            <a:r>
              <a:rPr lang="da-DK" sz="1000" b="1" dirty="0">
                <a:effectLst/>
                <a:latin typeface="Verdana" panose="020B0604030504040204" pitchFamily="34" charset="0"/>
                <a:ea typeface="Verdana" panose="020B0604030504040204" pitchFamily="34" charset="0"/>
                <a:cs typeface="Times New Roman" panose="02020603050405020304" pitchFamily="18" charset="0"/>
              </a:rPr>
              <a:t> sætter sig selv i spil i arbejdet med prøvehandlinger. </a:t>
            </a:r>
            <a:endParaRPr lang="da-DK" sz="1000" dirty="0">
              <a:effectLst/>
              <a:latin typeface="Verdana" panose="020B0604030504040204" pitchFamily="34" charset="0"/>
              <a:ea typeface="Verdana" panose="020B060403050404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800"/>
              </a:spcAft>
              <a:buClrTx/>
              <a:buSzTx/>
              <a:buFont typeface="Courier New" panose="02070309020205020404" pitchFamily="49" charset="0"/>
              <a:buChar char="o"/>
              <a:tabLst/>
              <a:defRPr/>
            </a:pPr>
            <a:r>
              <a:rPr lang="da-DK" sz="1800" dirty="0">
                <a:effectLst/>
                <a:latin typeface="Verdana" panose="020B0604030504040204" pitchFamily="34" charset="0"/>
                <a:ea typeface="Calibri" panose="020F0502020204030204" pitchFamily="34" charset="0"/>
                <a:cs typeface="Times New Roman" panose="02020603050405020304" pitchFamily="18" charset="0"/>
              </a:rPr>
              <a:t>På nogle skoler sætter ledelsen sig selv i spil ved at deltage aktivt i aktionslæringsforløb med egne prøvehandlinger om organisatoriske forhold (fx hvordan de kan sikre en bedre overgang fra mellemtrin til udskoling, eller hvordan de kan skabe en bedre struktur for vejledernes rolle i projektet), hvor de fortæller om, hvad de selv finder udfordrende. </a:t>
            </a:r>
          </a:p>
          <a:p>
            <a:pPr marL="742950" marR="0" lvl="1" indent="-285750" algn="l" defTabSz="914400" rtl="0" eaLnBrk="1" fontAlgn="auto" latinLnBrk="0" hangingPunct="1">
              <a:lnSpc>
                <a:spcPct val="107000"/>
              </a:lnSpc>
              <a:spcBef>
                <a:spcPts val="0"/>
              </a:spcBef>
              <a:spcAft>
                <a:spcPts val="800"/>
              </a:spcAft>
              <a:buClrTx/>
              <a:buSzTx/>
              <a:buFont typeface="Courier New" panose="02070309020205020404" pitchFamily="49" charset="0"/>
              <a:buChar char="o"/>
              <a:tabLst/>
              <a:defRPr/>
            </a:pPr>
            <a:r>
              <a:rPr lang="da-DK" sz="1800" dirty="0">
                <a:effectLst/>
                <a:latin typeface="Verdana" panose="020B0604030504040204" pitchFamily="34" charset="0"/>
                <a:ea typeface="Calibri" panose="020F0502020204030204" pitchFamily="34" charset="0"/>
                <a:cs typeface="Times New Roman" panose="02020603050405020304" pitchFamily="18" charset="0"/>
              </a:rPr>
              <a:t>Ved selv at gå forrest sender lederne et signal om, at arbejdet skal prioriteres. Samtidig gør det, at pædagogisk personale oplever, at det bliver mindre grænseoverskridende at afprøve nye ting i praksis, fordi deres leder viser, at det er i orden at afprøve nye metoder med risiko for at fejle. </a:t>
            </a:r>
          </a:p>
          <a:p>
            <a:pPr marL="457200">
              <a:lnSpc>
                <a:spcPct val="107000"/>
              </a:lnSpc>
              <a:spcAft>
                <a:spcPts val="800"/>
              </a:spcAft>
            </a:pPr>
            <a:r>
              <a:rPr lang="da-DK" sz="1000" b="1" dirty="0">
                <a:effectLst/>
                <a:latin typeface="Verdana" panose="020B0604030504040204" pitchFamily="34" charset="0"/>
                <a:ea typeface="Verdana" panose="020B0604030504040204" pitchFamily="34" charset="0"/>
                <a:cs typeface="Times New Roman" panose="02020603050405020304" pitchFamily="18" charset="0"/>
              </a:rPr>
              <a:t> </a:t>
            </a:r>
            <a:endParaRPr lang="da-DK" sz="1000" dirty="0">
              <a:effectLst/>
              <a:latin typeface="Verdana" panose="020B0604030504040204" pitchFamily="34" charset="0"/>
              <a:ea typeface="Verdana" panose="020B0604030504040204" pitchFamily="34" charset="0"/>
              <a:cs typeface="Times New Roman" panose="02020603050405020304" pitchFamily="18" charset="0"/>
            </a:endParaRPr>
          </a:p>
          <a:p>
            <a:pPr marL="171450" lvl="0" indent="-171450">
              <a:lnSpc>
                <a:spcPct val="107000"/>
              </a:lnSpc>
              <a:spcAft>
                <a:spcPts val="800"/>
              </a:spcAft>
              <a:buFont typeface="Arial" panose="020B0604020202020204" pitchFamily="34" charset="0"/>
              <a:buChar char="•"/>
            </a:pPr>
            <a:r>
              <a:rPr lang="da-DK" sz="1000" b="1" dirty="0">
                <a:effectLst/>
                <a:latin typeface="Verdana" panose="020B0604030504040204" pitchFamily="34" charset="0"/>
                <a:ea typeface="Verdana" panose="020B0604030504040204" pitchFamily="34" charset="0"/>
                <a:cs typeface="Times New Roman" panose="02020603050405020304" pitchFamily="18" charset="0"/>
              </a:rPr>
              <a:t>… lederne prioriterer at deltage i aktionslæring for på den måde at få et bedre indblik i udviklingsprocessen på skolen.</a:t>
            </a:r>
            <a:endParaRPr lang="da-DK" sz="1000" dirty="0">
              <a:effectLst/>
              <a:latin typeface="Verdana" panose="020B0604030504040204" pitchFamily="34" charset="0"/>
              <a:ea typeface="Verdana" panose="020B060403050404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800"/>
              </a:spcAft>
              <a:buClrTx/>
              <a:buSzTx/>
              <a:buFont typeface="Courier New" panose="02070309020205020404" pitchFamily="49" charset="0"/>
              <a:buChar char="o"/>
              <a:tabLst/>
              <a:defRPr/>
            </a:pPr>
            <a:r>
              <a:rPr lang="da-DK" sz="1800" dirty="0">
                <a:effectLst/>
                <a:latin typeface="Verdana" panose="020B0604030504040204" pitchFamily="34" charset="0"/>
                <a:ea typeface="Calibri" panose="020F0502020204030204" pitchFamily="34" charset="0"/>
                <a:cs typeface="Times New Roman" panose="02020603050405020304" pitchFamily="18" charset="0"/>
              </a:rPr>
              <a:t>Det er en fordel, når lederne deltager i teamenes drøftelser om prøvehandlinger eller besøger undervisningen og observerer, når prøvehandlinger gennemføres. Ved at se, hvordan pædagogisk personale arbejder med at skabe flere deltagelsesmuligheder, får ledelsen et bedre indblik i, hvilke forandringer aktionslæringsforløb skaber i praksis, men også hvordan de fremadrettet kan støtte pædagogisk personale i den videre proces med udviklingsarbejdet. Det er her vigtigt, at ledelsen på forhånd har klare aftaler med pædagogisk personale om, hvorfor de deltager i undervisningen, så de sikrer, at pædagogisk personale ikke oplever det som en kontrol af deres praksis. </a:t>
            </a:r>
            <a:endParaRPr lang="da-DK" sz="1000" dirty="0">
              <a:effectLst/>
              <a:latin typeface="Verdana" panose="020B0604030504040204" pitchFamily="34" charset="0"/>
              <a:ea typeface="Verdana" panose="020B0604030504040204" pitchFamily="34" charset="0"/>
              <a:cs typeface="Times New Roman" panose="02020603050405020304" pitchFamily="18" charset="0"/>
            </a:endParaRPr>
          </a:p>
          <a:p>
            <a:pPr marL="457200">
              <a:lnSpc>
                <a:spcPct val="107000"/>
              </a:lnSpc>
              <a:spcAft>
                <a:spcPts val="800"/>
              </a:spcAft>
            </a:pPr>
            <a:r>
              <a:rPr lang="da-DK" sz="1000" b="1" dirty="0">
                <a:effectLst/>
                <a:latin typeface="Verdana" panose="020B0604030504040204" pitchFamily="34" charset="0"/>
                <a:ea typeface="Verdana" panose="020B0604030504040204" pitchFamily="34" charset="0"/>
                <a:cs typeface="Times New Roman" panose="02020603050405020304" pitchFamily="18" charset="0"/>
              </a:rPr>
              <a:t>  </a:t>
            </a:r>
            <a:endParaRPr lang="da-DK" sz="1000" dirty="0">
              <a:effectLst/>
              <a:latin typeface="Verdana" panose="020B0604030504040204" pitchFamily="34" charset="0"/>
              <a:ea typeface="Verdana" panose="020B0604030504040204" pitchFamily="34" charset="0"/>
              <a:cs typeface="Times New Roman" panose="02020603050405020304" pitchFamily="18" charset="0"/>
            </a:endParaRP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da-DK" sz="1800" b="1" dirty="0">
                <a:effectLst/>
                <a:latin typeface="Verdana" panose="020B0604030504040204" pitchFamily="34" charset="0"/>
                <a:ea typeface="Calibri" panose="020F0502020204030204" pitchFamily="34" charset="0"/>
                <a:cs typeface="Times New Roman" panose="02020603050405020304" pitchFamily="18" charset="0"/>
              </a:rPr>
              <a:t>… lederne skaber rammerne for, at alt pædagogisk personale kan opbygge ny viden og have fælles dialoger med ledelsen om, hvordan viden kan omsættes i praksis. </a:t>
            </a:r>
            <a:endParaRPr lang="da-DK" sz="1800" dirty="0">
              <a:effectLst/>
              <a:latin typeface="Verdana" panose="020B0604030504040204" pitchFamily="34" charset="0"/>
              <a:ea typeface="Calibri" panose="020F0502020204030204" pitchFamily="34" charset="0"/>
              <a:cs typeface="Times New Roman" panose="02020603050405020304" pitchFamily="18" charset="0"/>
            </a:endParaRPr>
          </a:p>
          <a:p>
            <a:pPr marL="742950" lvl="1" indent="-285750">
              <a:lnSpc>
                <a:spcPct val="107000"/>
              </a:lnSpc>
              <a:spcAft>
                <a:spcPts val="800"/>
              </a:spcAft>
              <a:buFont typeface="Courier New" panose="02070309020205020404" pitchFamily="49" charset="0"/>
              <a:buChar char="o"/>
            </a:pPr>
            <a:r>
              <a:rPr lang="da-DK" sz="1800" dirty="0">
                <a:effectLst/>
                <a:latin typeface="Verdana" panose="020B0604030504040204" pitchFamily="34" charset="0"/>
                <a:ea typeface="Calibri" panose="020F0502020204030204" pitchFamily="34" charset="0"/>
                <a:cs typeface="Times New Roman" panose="02020603050405020304" pitchFamily="18" charset="0"/>
              </a:rPr>
              <a:t>På mange skoler er der generelt en oplevelse af, at arbejdet med prøvehandlinger og kompetenceudvikling stadig er begrænset til enkelte teams eller klassetrin, der har deltaget i kompetenceudvikling. Det betyder, at store dele af skolen ikke er involveret i, hvordan udviklingsarbejdet med at skabe deltagelsesmuligheder for alle skrider frem, ligesom de heller ikke har mulighed for selv at bidrage til udviklingen.</a:t>
            </a:r>
          </a:p>
          <a:p>
            <a:pPr marL="742950" lvl="1" indent="-285750">
              <a:lnSpc>
                <a:spcPct val="107000"/>
              </a:lnSpc>
              <a:spcAft>
                <a:spcPts val="800"/>
              </a:spcAft>
              <a:buFont typeface="Courier New" panose="02070309020205020404" pitchFamily="49" charset="0"/>
              <a:buChar char="o"/>
            </a:pPr>
            <a:r>
              <a:rPr lang="da-DK" sz="1800" dirty="0">
                <a:effectLst/>
                <a:latin typeface="Verdana" panose="020B0604030504040204" pitchFamily="34" charset="0"/>
                <a:ea typeface="Calibri" panose="020F0502020204030204" pitchFamily="34" charset="0"/>
                <a:cs typeface="Times New Roman" panose="02020603050405020304" pitchFamily="18" charset="0"/>
              </a:rPr>
              <a:t>På enkelte skoler har ledelsen prioriteret, at alt pædagogisk personale deltager i kursusforløbene. Her er oplevelsen blandt både ledere og pædagogisk personale, at den fælles deltagelse betyder, at man skaber et fælles sprog og afsæt for at tale om, hvordan læringsmiljøet kan styrkes på skolen. Det gør også, at man undgår, at udvalgte medarbejdere har ansvaret for at videreformidle, hvorfor det fx er vigtigt at arbejde med at skabe et fælles børnesyn. Ifølge vejledere kan det nemlig være en stor opgave at skulle overlevere denne type viden til kolleger, og der er risiko for de bliver opfattet som bedrevidende.</a:t>
            </a:r>
          </a:p>
          <a:p>
            <a:pPr marL="742950" lvl="1" indent="-285750">
              <a:lnSpc>
                <a:spcPct val="107000"/>
              </a:lnSpc>
              <a:spcAft>
                <a:spcPts val="800"/>
              </a:spcAft>
              <a:buFont typeface="Courier New" panose="02070309020205020404" pitchFamily="49" charset="0"/>
              <a:buChar char="o"/>
            </a:pPr>
            <a:r>
              <a:rPr lang="da-DK" sz="1800" dirty="0">
                <a:effectLst/>
                <a:latin typeface="Verdana" panose="020B0604030504040204" pitchFamily="34" charset="0"/>
                <a:ea typeface="Calibri" panose="020F0502020204030204" pitchFamily="34" charset="0"/>
                <a:cs typeface="Times New Roman" panose="02020603050405020304" pitchFamily="18" charset="0"/>
              </a:rPr>
              <a:t>Pædagogisk personale efterspørger generelt flere fælles dialoger om praksis, hvor ledelsen også deltager. Vejledere peger bl.a. på, at praktiske spørgsmål fylder for meget på afdelingsmøderne. Derfor er det væsentligt, at ledelsen forholder sig til, hvordan de kan rammesætte og deltage i flere fælles dialoger med pædagogisk personale i forhold til, hvordan viden fra kompetenceudvikling kan omsættes i skolens praksi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da-DK"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5BBF7-0B0C-48D4-ABAA-EF360EF241C5}" type="datetime1">
              <a:rPr kumimoji="0" lang="da-DK"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6-2024</a:t>
            </a:fld>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514407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07000"/>
              </a:lnSpc>
              <a:spcAft>
                <a:spcPts val="800"/>
              </a:spcAft>
            </a:pPr>
            <a:r>
              <a:rPr lang="da-DK" sz="1800" b="1" dirty="0">
                <a:effectLst/>
                <a:latin typeface="Verdana" panose="020B0604030504040204" pitchFamily="34" charset="0"/>
                <a:ea typeface="Calibri" panose="020F0502020204030204" pitchFamily="34" charset="0"/>
                <a:cs typeface="Times New Roman" panose="02020603050405020304" pitchFamily="18" charset="0"/>
              </a:rPr>
              <a:t>Uddybende noter: </a:t>
            </a:r>
          </a:p>
          <a:p>
            <a:pPr algn="just">
              <a:lnSpc>
                <a:spcPct val="107000"/>
              </a:lnSpc>
              <a:spcAft>
                <a:spcPts val="800"/>
              </a:spcAft>
            </a:pPr>
            <a:endParaRPr lang="da-DK" sz="1800" dirty="0">
              <a:effectLst/>
              <a:latin typeface="Verdana" panose="020B060403050404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da-DK" sz="1800" dirty="0">
                <a:effectLst/>
                <a:latin typeface="Verdana" panose="020B0604030504040204" pitchFamily="34" charset="0"/>
                <a:ea typeface="Calibri" panose="020F0502020204030204" pitchFamily="34" charset="0"/>
                <a:cs typeface="Times New Roman" panose="02020603050405020304" pitchFamily="18" charset="0"/>
              </a:rPr>
              <a:t>Evalueringen viser, at: </a:t>
            </a:r>
          </a:p>
          <a:p>
            <a:pPr algn="just">
              <a:lnSpc>
                <a:spcPct val="107000"/>
              </a:lnSpc>
              <a:spcAft>
                <a:spcPts val="800"/>
              </a:spcAft>
            </a:pPr>
            <a:endParaRPr lang="da-DK" sz="1800" dirty="0">
              <a:effectLst/>
              <a:latin typeface="Verdana" panose="020B0604030504040204" pitchFamily="34"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07000"/>
              </a:lnSpc>
              <a:spcBef>
                <a:spcPts val="0"/>
              </a:spcBef>
              <a:spcAft>
                <a:spcPts val="800"/>
              </a:spcAft>
              <a:buClrTx/>
              <a:buSzTx/>
              <a:buFont typeface="+mj-lt"/>
              <a:buAutoNum type="arabicPeriod"/>
              <a:tabLst>
                <a:tab pos="457200" algn="l"/>
              </a:tabLst>
              <a:defRPr/>
            </a:pPr>
            <a:r>
              <a:rPr lang="da-DK" sz="1800" b="1" dirty="0">
                <a:latin typeface="Quicksand"/>
                <a:ea typeface="Quicksand"/>
                <a:cs typeface="Quicksand"/>
                <a:sym typeface="Quicksand"/>
              </a:rPr>
              <a:t>Pædagogisk personale, som har deltaget i aktionslæringsforløb, i nogen grad oplever, at organiseringen på skolen understøtter deres arbejde.</a:t>
            </a:r>
            <a:endParaRPr lang="da-DK" sz="1800" b="1" dirty="0">
              <a:effectLst/>
              <a:latin typeface="Verdana" panose="020B0604030504040204" pitchFamily="34" charset="0"/>
              <a:ea typeface="Calibri" panose="020F0502020204030204" pitchFamily="34" charset="0"/>
              <a:cs typeface="Times New Roman" panose="02020603050405020304" pitchFamily="18" charset="0"/>
            </a:endParaRPr>
          </a:p>
          <a:p>
            <a:pPr marL="702900" lvl="2" indent="-342900" algn="just">
              <a:lnSpc>
                <a:spcPct val="107000"/>
              </a:lnSpc>
              <a:spcAft>
                <a:spcPts val="800"/>
              </a:spcAft>
              <a:buFont typeface="Arial" panose="020B0604020202020204" pitchFamily="34" charset="0"/>
              <a:buChar char="•"/>
              <a:tabLst>
                <a:tab pos="457200" algn="l"/>
              </a:tabLst>
            </a:pPr>
            <a:r>
              <a:rPr lang="da-DK" sz="1800" dirty="0">
                <a:effectLst/>
                <a:latin typeface="Verdana" panose="020B0604030504040204" pitchFamily="34" charset="0"/>
                <a:ea typeface="Calibri" panose="020F0502020204030204" pitchFamily="34" charset="0"/>
                <a:cs typeface="Times New Roman" panose="02020603050405020304" pitchFamily="18" charset="0"/>
              </a:rPr>
              <a:t>Pædagogisk personale, som har angivet, at de har deltaget i et aktionslæringsforløb i regi af Den Mangfoldige Folkeskole, oplever kun i nogen grad, at organiseringen understøtter deres samarbejde om praksis. </a:t>
            </a:r>
          </a:p>
          <a:p>
            <a:pPr marL="702900" lvl="2" indent="-342900" algn="just">
              <a:lnSpc>
                <a:spcPct val="107000"/>
              </a:lnSpc>
              <a:spcAft>
                <a:spcPts val="800"/>
              </a:spcAft>
              <a:buFont typeface="Arial" panose="020B0604020202020204" pitchFamily="34" charset="0"/>
              <a:buChar char="•"/>
              <a:tabLst>
                <a:tab pos="457200" algn="l"/>
              </a:tabLst>
            </a:pPr>
            <a:r>
              <a:rPr lang="da-DK" sz="1800" dirty="0">
                <a:effectLst/>
                <a:latin typeface="Verdana" panose="020B0604030504040204" pitchFamily="34" charset="0"/>
                <a:ea typeface="Calibri" panose="020F0502020204030204" pitchFamily="34" charset="0"/>
                <a:cs typeface="Times New Roman" panose="02020603050405020304" pitchFamily="18" charset="0"/>
              </a:rPr>
              <a:t>Seks ud af 10 angiver, at skolens organisering gør det muligt for dem at forberede, gennemføre og evaluere læringsaktiviteter sammen i deres team.</a:t>
            </a:r>
          </a:p>
          <a:p>
            <a:pPr marL="702900" lvl="2" indent="-342900" algn="just">
              <a:lnSpc>
                <a:spcPct val="107000"/>
              </a:lnSpc>
              <a:spcAft>
                <a:spcPts val="800"/>
              </a:spcAft>
              <a:buFont typeface="Arial" panose="020B0604020202020204" pitchFamily="34" charset="0"/>
              <a:buChar char="•"/>
              <a:tabLst>
                <a:tab pos="457200" algn="l"/>
              </a:tabLst>
            </a:pPr>
            <a:r>
              <a:rPr lang="da-DK" sz="1800" dirty="0">
                <a:effectLst/>
                <a:latin typeface="Verdana" panose="020B0604030504040204" pitchFamily="34" charset="0"/>
                <a:ea typeface="Calibri" panose="020F0502020204030204" pitchFamily="34" charset="0"/>
                <a:cs typeface="Times New Roman" panose="02020603050405020304" pitchFamily="18" charset="0"/>
              </a:rPr>
              <a:t>Knap syv ud af 10 angiver, at skolens organisering understøtter, at de kan dele viden med kolleger om arbejdet med at skabe deltagelsesmuligheder for alle elever.</a:t>
            </a:r>
          </a:p>
          <a:p>
            <a:pPr marL="702900" lvl="2" indent="-342900" algn="just">
              <a:lnSpc>
                <a:spcPct val="107000"/>
              </a:lnSpc>
              <a:spcAft>
                <a:spcPts val="800"/>
              </a:spcAft>
              <a:buFont typeface="Arial" panose="020B0604020202020204" pitchFamily="34" charset="0"/>
              <a:buChar char="•"/>
              <a:tabLst>
                <a:tab pos="457200" algn="l"/>
              </a:tabLst>
            </a:pPr>
            <a:endParaRPr lang="da-DK" sz="1800" b="1"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mj-lt"/>
              <a:buAutoNum type="arabicPeriod"/>
              <a:tabLst>
                <a:tab pos="457200" algn="l"/>
              </a:tabLst>
            </a:pPr>
            <a:r>
              <a:rPr lang="da-DK" sz="1800" b="1" dirty="0">
                <a:effectLst/>
                <a:latin typeface="Verdana" panose="020B0604030504040204" pitchFamily="34" charset="0"/>
                <a:ea typeface="Calibri" panose="020F0502020204030204" pitchFamily="34" charset="0"/>
                <a:cs typeface="Times New Roman" panose="02020603050405020304" pitchFamily="18" charset="0"/>
              </a:rPr>
              <a:t>En god organisering er en forudsætning for, at pædagogisk personale oplever at kunne samarbejde som team om at udvikle læringsmiljøer.</a:t>
            </a:r>
          </a:p>
          <a:p>
            <a:pPr marL="702900" lvl="2" indent="-342900" algn="just">
              <a:lnSpc>
                <a:spcPct val="107000"/>
              </a:lnSpc>
              <a:spcAft>
                <a:spcPts val="800"/>
              </a:spcAft>
              <a:buFont typeface="Arial" panose="020B0604020202020204" pitchFamily="34" charset="0"/>
              <a:buChar char="•"/>
              <a:tabLst>
                <a:tab pos="457200" algn="l"/>
              </a:tabLst>
            </a:pPr>
            <a:r>
              <a:rPr lang="da-DK" sz="1800" dirty="0">
                <a:effectLst/>
                <a:latin typeface="Verdana" panose="020B0604030504040204" pitchFamily="34" charset="0"/>
                <a:ea typeface="Calibri" panose="020F0502020204030204" pitchFamily="34" charset="0"/>
                <a:cs typeface="Times New Roman" panose="02020603050405020304" pitchFamily="18" charset="0"/>
              </a:rPr>
              <a:t>Der er en klar sammenhæng mellem pædagogisk personales oplevelse af de organisatoriske rammer på skolen og deres vurdering af samarbejdet i det primære team. Pædagogisk personale, som oplever, at organiseringen understøtter, at de kan forberede, gennemføre og evaluere læringsaktiviteter sammen, oplever også i signifikant højere grad at samarbejde om elevernes læring og trivsel og udvikling af praksis. </a:t>
            </a:r>
          </a:p>
          <a:p>
            <a:pPr marL="702900" lvl="2" indent="-342900" algn="just">
              <a:lnSpc>
                <a:spcPct val="107000"/>
              </a:lnSpc>
              <a:spcAft>
                <a:spcPts val="800"/>
              </a:spcAft>
              <a:buFont typeface="Arial" panose="020B0604020202020204" pitchFamily="34" charset="0"/>
              <a:buChar char="•"/>
              <a:tabLst>
                <a:tab pos="457200" algn="l"/>
              </a:tabLst>
            </a:pPr>
            <a:r>
              <a:rPr lang="da-DK" sz="1800" dirty="0">
                <a:effectLst/>
                <a:latin typeface="Verdana" panose="020B0604030504040204" pitchFamily="34" charset="0"/>
                <a:ea typeface="Calibri" panose="020F0502020204030204" pitchFamily="34" charset="0"/>
                <a:cs typeface="Times New Roman" panose="02020603050405020304" pitchFamily="18" charset="0"/>
              </a:rPr>
              <a:t>Blandt lederne er der også en klar forståelse af, at de organisatoriske rammer skal være til stede, hvis målsætningerne for Den Mangfoldige Folkeskole skal indfries. De peger blandt andet på, at arbejdet med prøvehandlinger skal sættes i system, så det bliver en naturlig del af skolernes hverdag. </a:t>
            </a:r>
          </a:p>
          <a:p>
            <a:pPr marL="702900" lvl="2" indent="-342900" algn="just">
              <a:lnSpc>
                <a:spcPct val="107000"/>
              </a:lnSpc>
              <a:spcAft>
                <a:spcPts val="800"/>
              </a:spcAft>
              <a:buFont typeface="Arial" panose="020B0604020202020204" pitchFamily="34" charset="0"/>
              <a:buChar char="•"/>
              <a:tabLst>
                <a:tab pos="457200" algn="l"/>
              </a:tabLst>
            </a:pPr>
            <a:endParaRPr lang="da-DK" sz="1800" b="1"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mj-lt"/>
              <a:buAutoNum type="arabicPeriod"/>
              <a:tabLst>
                <a:tab pos="457200" algn="l"/>
              </a:tabLst>
            </a:pPr>
            <a:r>
              <a:rPr lang="da-DK" sz="1800" b="1" dirty="0">
                <a:effectLst/>
                <a:latin typeface="Verdana" panose="020B0604030504040204" pitchFamily="34" charset="0"/>
                <a:ea typeface="Calibri" panose="020F0502020204030204" pitchFamily="34" charset="0"/>
                <a:cs typeface="Times New Roman" panose="02020603050405020304" pitchFamily="18" charset="0"/>
              </a:rPr>
              <a:t>Der er forsat et uforløst potentiale i at inddrage skolens vejlederfunktioner mere aktivt i arbejdet med at skabe deltagelsesmuligheder for alle elever.</a:t>
            </a:r>
          </a:p>
          <a:p>
            <a:pPr marL="702900" lvl="2" indent="-342900" algn="just">
              <a:lnSpc>
                <a:spcPct val="107000"/>
              </a:lnSpc>
              <a:spcAft>
                <a:spcPts val="800"/>
              </a:spcAft>
              <a:buFont typeface="Arial" panose="020B0604020202020204" pitchFamily="34" charset="0"/>
              <a:buChar char="•"/>
              <a:tabLst>
                <a:tab pos="457200" algn="l"/>
              </a:tabLst>
            </a:pPr>
            <a:r>
              <a:rPr lang="da-DK" sz="1800" dirty="0">
                <a:effectLst/>
                <a:latin typeface="Verdana" panose="020B0604030504040204" pitchFamily="34" charset="0"/>
                <a:ea typeface="Calibri" panose="020F0502020204030204" pitchFamily="34" charset="0"/>
                <a:cs typeface="Times New Roman" panose="02020603050405020304" pitchFamily="18" charset="0"/>
              </a:rPr>
              <a:t>På tværs af skoler er der store forskelle på, hvilken rolle skolens ressourcepersoner og vejledere spiller i arbejdet med at skabe deltagelsesmuligheder for alle elever. Af spørgeskemaundersøgelsen fremgår det, at pædagogisk personale i varierende grad oplever at kunne få sparring og rådgivning fra skolens vejledere i arbejdet med at udvikle læringsmiljøerne. </a:t>
            </a:r>
          </a:p>
          <a:p>
            <a:pPr marL="702900" lvl="2" indent="-342900" algn="just">
              <a:lnSpc>
                <a:spcPct val="107000"/>
              </a:lnSpc>
              <a:spcAft>
                <a:spcPts val="800"/>
              </a:spcAft>
              <a:buFont typeface="Arial" panose="020B0604020202020204" pitchFamily="34" charset="0"/>
              <a:buChar char="•"/>
              <a:tabLst>
                <a:tab pos="457200" algn="l"/>
              </a:tabLst>
            </a:pPr>
            <a:r>
              <a:rPr lang="da-DK" sz="1800" dirty="0">
                <a:effectLst/>
                <a:latin typeface="Verdana" panose="020B0604030504040204" pitchFamily="34" charset="0"/>
                <a:ea typeface="Calibri" panose="020F0502020204030204" pitchFamily="34" charset="0"/>
                <a:cs typeface="Times New Roman" panose="02020603050405020304" pitchFamily="18" charset="0"/>
              </a:rPr>
              <a:t>På nogle skoler har de (med)ansvar for at understøtte pædagogisk personales arbejde med at omsætte ny viden til pædagogisk og didaktisk praksis. På andre skoler er de ikke tiltænkt en særlig rolle i forhold til at understøtte projektet og er ofte uvidende om de forløb, der gennemføres på skolen. </a:t>
            </a:r>
          </a:p>
          <a:p>
            <a:pPr marL="702900" lvl="2" indent="-342900" algn="just">
              <a:lnSpc>
                <a:spcPct val="107000"/>
              </a:lnSpc>
              <a:spcAft>
                <a:spcPts val="800"/>
              </a:spcAft>
              <a:buFont typeface="Arial" panose="020B0604020202020204" pitchFamily="34" charset="0"/>
              <a:buChar char="•"/>
              <a:tabLst>
                <a:tab pos="457200" algn="l"/>
              </a:tabLst>
            </a:pPr>
            <a:r>
              <a:rPr lang="da-DK" sz="1800" dirty="0">
                <a:effectLst/>
                <a:latin typeface="Verdana" panose="020B0604030504040204" pitchFamily="34" charset="0"/>
                <a:ea typeface="Calibri" panose="020F0502020204030204" pitchFamily="34" charset="0"/>
                <a:cs typeface="Times New Roman" panose="02020603050405020304" pitchFamily="18" charset="0"/>
              </a:rPr>
              <a:t>I kraft af deres vejlederfunktion ligger de dog inde med meget relevant viden, der i høj grad kunne bruges til at facilitere læringssamtaler i teams og gennemføre didaktiske samtaler med pædagogisk personale om deres prøvehandlinger. På grund af deres berøring med mange forskellige klasser på skolerne, kan ressourcepersonerne også være med til at sikre, at erfaringer fra forskellige prøvehandlinger spredes. </a:t>
            </a:r>
          </a:p>
          <a:p>
            <a:pPr marL="702900" lvl="2" indent="-342900" algn="just">
              <a:lnSpc>
                <a:spcPct val="107000"/>
              </a:lnSpc>
              <a:spcAft>
                <a:spcPts val="800"/>
              </a:spcAft>
              <a:buFont typeface="Arial" panose="020B0604020202020204" pitchFamily="34" charset="0"/>
              <a:buChar char="•"/>
              <a:tabLst>
                <a:tab pos="457200" algn="l"/>
              </a:tabLst>
            </a:pPr>
            <a:r>
              <a:rPr lang="da-DK" sz="1800" dirty="0">
                <a:effectLst/>
                <a:latin typeface="Verdana" panose="020B0604030504040204" pitchFamily="34" charset="0"/>
                <a:ea typeface="Calibri" panose="020F0502020204030204" pitchFamily="34" charset="0"/>
                <a:cs typeface="Times New Roman" panose="02020603050405020304" pitchFamily="18" charset="0"/>
              </a:rPr>
              <a:t>Der er derfor fortsat et uforløst potentiale i at bringe eksisterende ressourcepersoner og vejledere tættere på udviklingsarbejdet og på den måske sikre synergi på tværs af alle de medarbejdere, der fra hver sin indgangsvinkel arbejder med at skabe flere deltagelsesmuligheder for alle elever. </a:t>
            </a:r>
          </a:p>
          <a:p>
            <a:pPr algn="just">
              <a:lnSpc>
                <a:spcPct val="107000"/>
              </a:lnSpc>
              <a:spcAft>
                <a:spcPts val="800"/>
              </a:spcAft>
            </a:pPr>
            <a:endParaRPr lang="da-DK" sz="1800" b="1" dirty="0">
              <a:effectLst/>
              <a:latin typeface="Verdana" panose="020B0604030504040204" pitchFamily="34" charset="0"/>
              <a:ea typeface="Calibri" panose="020F0502020204030204" pitchFamily="34" charset="0"/>
              <a:cs typeface="Times New Roman" panose="02020603050405020304" pitchFamily="18" charset="0"/>
            </a:endParaRPr>
          </a:p>
          <a:p>
            <a:pPr algn="just">
              <a:lnSpc>
                <a:spcPct val="107000"/>
              </a:lnSpc>
              <a:spcAft>
                <a:spcPts val="800"/>
              </a:spcAft>
            </a:pPr>
            <a:endParaRPr lang="da-DK" sz="1800" b="1" dirty="0">
              <a:effectLst/>
              <a:latin typeface="Verdana" panose="020B060403050404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da-DK" sz="1800" b="0" dirty="0">
                <a:effectLst/>
                <a:latin typeface="Verdana" panose="020B0604030504040204" pitchFamily="34" charset="0"/>
                <a:ea typeface="Calibri" panose="020F0502020204030204" pitchFamily="34" charset="0"/>
                <a:cs typeface="Times New Roman" panose="02020603050405020304" pitchFamily="18" charset="0"/>
              </a:rPr>
              <a:t>Fremadrettet kan det styrke praksis, at… </a:t>
            </a:r>
          </a:p>
          <a:p>
            <a:pPr algn="just">
              <a:lnSpc>
                <a:spcPct val="107000"/>
              </a:lnSpc>
              <a:spcAft>
                <a:spcPts val="800"/>
              </a:spcAft>
            </a:pPr>
            <a:endParaRPr lang="da-DK" sz="1800" b="0" dirty="0">
              <a:effectLst/>
              <a:latin typeface="Verdana" panose="020B0604030504040204" pitchFamily="34" charset="0"/>
              <a:ea typeface="Calibri" panose="020F0502020204030204" pitchFamily="34" charset="0"/>
              <a:cs typeface="Times New Roman" panose="02020603050405020304" pitchFamily="18" charset="0"/>
            </a:endParaRPr>
          </a:p>
          <a:p>
            <a:pPr marL="285750" indent="-285750" algn="just">
              <a:lnSpc>
                <a:spcPct val="107000"/>
              </a:lnSpc>
              <a:spcAft>
                <a:spcPts val="800"/>
              </a:spcAft>
              <a:buFont typeface="Arial" panose="020B0604020202020204" pitchFamily="34" charset="0"/>
              <a:buChar char="•"/>
            </a:pPr>
            <a:r>
              <a:rPr lang="da-DK" sz="1800" b="1" dirty="0">
                <a:effectLst/>
                <a:latin typeface="Verdana" panose="020B0604030504040204" pitchFamily="34" charset="0"/>
                <a:ea typeface="Calibri" panose="020F0502020204030204" pitchFamily="34" charset="0"/>
                <a:cs typeface="Times New Roman" panose="02020603050405020304" pitchFamily="18" charset="0"/>
              </a:rPr>
              <a:t>… lederne forholder sig til, hvordan kompetenceudvikling (fx møder med UCN om aktionslæring) kan integreres i hverdagen, så det ikke opleves som ’noget ekstra’.</a:t>
            </a:r>
          </a:p>
          <a:p>
            <a:pPr marL="645750" lvl="2" indent="-285750" algn="just">
              <a:lnSpc>
                <a:spcPct val="107000"/>
              </a:lnSpc>
              <a:spcAft>
                <a:spcPts val="800"/>
              </a:spcAft>
              <a:buFont typeface="Courier New" panose="02070309020205020404" pitchFamily="49" charset="0"/>
              <a:buChar char="o"/>
            </a:pPr>
            <a:r>
              <a:rPr lang="da-DK" sz="1800" dirty="0">
                <a:effectLst/>
                <a:latin typeface="Verdana" panose="020B0604030504040204" pitchFamily="34" charset="0"/>
                <a:ea typeface="Calibri" panose="020F0502020204030204" pitchFamily="34" charset="0"/>
                <a:cs typeface="Times New Roman" panose="02020603050405020304" pitchFamily="18" charset="0"/>
              </a:rPr>
              <a:t>Både pædagogisk personale og ledere peger på, at det er vigtigt, at der er skemalagt tid, hvor pædagogisk personale kan arbejde med prøvehandlinger som en integreret del af deres eksisterende arbejde. Pædagogisk personale fortæller, at det er afgørende, at ledelsen sørger for, at det ikke bliver en ’byrde’ at deltage i kompetenceforløbene. De understreger, at det er vigtigt, at ledelsen sikrer, at kurserne placeres på tidspunkter, hvor man har energi til at deltage (fx ikke sent om eftermiddagen), og at man ikke skal læse store mængder baggrundsmaterialer som forberedelse. </a:t>
            </a:r>
          </a:p>
          <a:p>
            <a:pPr marL="645750" lvl="2" indent="-285750" algn="just">
              <a:lnSpc>
                <a:spcPct val="107000"/>
              </a:lnSpc>
              <a:spcAft>
                <a:spcPts val="800"/>
              </a:spcAft>
              <a:buFont typeface="Courier New" panose="02070309020205020404" pitchFamily="49" charset="0"/>
              <a:buChar char="o"/>
            </a:pPr>
            <a:r>
              <a:rPr lang="da-DK" sz="1800" dirty="0">
                <a:effectLst/>
                <a:latin typeface="Verdana" panose="020B0604030504040204" pitchFamily="34" charset="0"/>
                <a:ea typeface="Calibri" panose="020F0502020204030204" pitchFamily="34" charset="0"/>
                <a:cs typeface="Times New Roman" panose="02020603050405020304" pitchFamily="18" charset="0"/>
              </a:rPr>
              <a:t>Det er derfor vigtigt, at ledelsen forholder sig til, hvordan de kan mindske barriererne for at komme godt i gang med aktionslæringsforløbene ved blot at sikre, at de har tid og overskud til at fordybe sig i dialogerne på kurserne og møderne. </a:t>
            </a:r>
          </a:p>
          <a:p>
            <a:pPr marL="360000" lvl="2" indent="0" algn="just">
              <a:lnSpc>
                <a:spcPct val="107000"/>
              </a:lnSpc>
              <a:spcAft>
                <a:spcPts val="800"/>
              </a:spcAft>
              <a:buFont typeface="Courier New" panose="02070309020205020404" pitchFamily="49" charset="0"/>
              <a:buNone/>
            </a:pPr>
            <a:endParaRPr lang="da-DK" sz="1800" b="1" dirty="0">
              <a:effectLst/>
              <a:latin typeface="Verdana" panose="020B0604030504040204" pitchFamily="34" charset="0"/>
              <a:ea typeface="Calibri" panose="020F0502020204030204" pitchFamily="34" charset="0"/>
              <a:cs typeface="Times New Roman" panose="02020603050405020304" pitchFamily="18" charset="0"/>
            </a:endParaRPr>
          </a:p>
          <a:p>
            <a:pPr marL="285750" lvl="0" indent="-285750" algn="just">
              <a:lnSpc>
                <a:spcPct val="107000"/>
              </a:lnSpc>
              <a:spcAft>
                <a:spcPts val="800"/>
              </a:spcAft>
              <a:buFont typeface="Arial" panose="020B0604020202020204" pitchFamily="34" charset="0"/>
              <a:buChar char="•"/>
            </a:pPr>
            <a:r>
              <a:rPr lang="da-DK" sz="1800" b="1" dirty="0">
                <a:effectLst/>
                <a:latin typeface="Verdana" panose="020B0604030504040204" pitchFamily="34" charset="0"/>
                <a:ea typeface="Calibri" panose="020F0502020204030204" pitchFamily="34" charset="0"/>
                <a:cs typeface="Times New Roman" panose="02020603050405020304" pitchFamily="18" charset="0"/>
              </a:rPr>
              <a:t>… lederne tydeliggør over for pædagogisk personale, hvordan og i hvilket omfang de forventes at arbejde med prøvehandlinger. </a:t>
            </a:r>
          </a:p>
          <a:p>
            <a:pPr marL="645750" lvl="2" indent="-285750" algn="just">
              <a:lnSpc>
                <a:spcPct val="107000"/>
              </a:lnSpc>
              <a:spcAft>
                <a:spcPts val="800"/>
              </a:spcAft>
              <a:buFont typeface="Courier New" panose="02070309020205020404" pitchFamily="49" charset="0"/>
              <a:buChar char="o"/>
            </a:pPr>
            <a:r>
              <a:rPr lang="da-DK" sz="1800" dirty="0">
                <a:effectLst/>
                <a:latin typeface="Verdana" panose="020B0604030504040204" pitchFamily="34" charset="0"/>
                <a:ea typeface="Calibri" panose="020F0502020204030204" pitchFamily="34" charset="0"/>
                <a:cs typeface="Times New Roman" panose="02020603050405020304" pitchFamily="18" charset="0"/>
              </a:rPr>
              <a:t>Flere ledere har arbejdet med at tydeliggøre over for teams, hvordan de skal arbejde med prøvehandlingerne. Ifølge lederne er det en vigtig forudsætning for, at arbejdet med prøvehandlinger ikke kun finder sted som enkelte nedslag, men derimod foregår i en cirkulær bevægelse i løbet af hele skoleåret. </a:t>
            </a:r>
          </a:p>
          <a:p>
            <a:pPr marL="645750" lvl="2" indent="-285750" algn="just">
              <a:lnSpc>
                <a:spcPct val="107000"/>
              </a:lnSpc>
              <a:spcAft>
                <a:spcPts val="800"/>
              </a:spcAft>
              <a:buFont typeface="Courier New" panose="02070309020205020404" pitchFamily="49" charset="0"/>
              <a:buChar char="o"/>
            </a:pPr>
            <a:r>
              <a:rPr lang="da-DK" sz="1800" dirty="0">
                <a:effectLst/>
                <a:latin typeface="Verdana" panose="020B0604030504040204" pitchFamily="34" charset="0"/>
                <a:ea typeface="Calibri" panose="020F0502020204030204" pitchFamily="34" charset="0"/>
                <a:cs typeface="Times New Roman" panose="02020603050405020304" pitchFamily="18" charset="0"/>
              </a:rPr>
              <a:t>Konkrete eksempler på dette er, at lederne flere sted tager drøftelser med de enkelte teams om, hvad visionen for Den Mangfoldige Folkeskole betyder for deres daglige arbejde, at ledelsen sikrer, at der skemalægges tid til, at teams kan forberede og følge op på deres prøvehandlinger, og at ledelsen sikrer, at prøvehandlingerne bliver et fast indslag på mødedagsordener.</a:t>
            </a:r>
          </a:p>
          <a:p>
            <a:pPr marL="645750" lvl="2" indent="-285750" algn="just">
              <a:lnSpc>
                <a:spcPct val="107000"/>
              </a:lnSpc>
              <a:spcAft>
                <a:spcPts val="800"/>
              </a:spcAft>
              <a:buFont typeface="Courier New" panose="02070309020205020404" pitchFamily="49" charset="0"/>
              <a:buChar char="o"/>
            </a:pPr>
            <a:endParaRPr lang="da-DK" sz="1800" b="1" dirty="0">
              <a:effectLst/>
              <a:latin typeface="Verdana" panose="020B0604030504040204" pitchFamily="34" charset="0"/>
              <a:ea typeface="Calibri" panose="020F0502020204030204" pitchFamily="34" charset="0"/>
              <a:cs typeface="Times New Roman" panose="02020603050405020304" pitchFamily="18" charset="0"/>
            </a:endParaRPr>
          </a:p>
          <a:p>
            <a:pPr marL="285750" lvl="0" indent="-285750" algn="just">
              <a:lnSpc>
                <a:spcPct val="107000"/>
              </a:lnSpc>
              <a:spcAft>
                <a:spcPts val="800"/>
              </a:spcAft>
              <a:buFont typeface="Arial" panose="020B0604020202020204" pitchFamily="34" charset="0"/>
              <a:buChar char="•"/>
            </a:pPr>
            <a:r>
              <a:rPr lang="da-DK" sz="1800" b="1" dirty="0">
                <a:effectLst/>
                <a:latin typeface="Verdana" panose="020B0604030504040204" pitchFamily="34" charset="0"/>
                <a:ea typeface="Calibri" panose="020F0502020204030204" pitchFamily="34" charset="0"/>
                <a:cs typeface="Times New Roman" panose="02020603050405020304" pitchFamily="18" charset="0"/>
              </a:rPr>
              <a:t>… drøfte med skolens PLC eller vejlederteam, hvordan de i endnu højere grad kan spille en rolle i arbejdet med at skabe deltagelsesmuligheder for alle elever.</a:t>
            </a:r>
          </a:p>
          <a:p>
            <a:pPr marL="645750" lvl="2" indent="-285750" algn="just">
              <a:lnSpc>
                <a:spcPct val="107000"/>
              </a:lnSpc>
              <a:spcAft>
                <a:spcPts val="800"/>
              </a:spcAft>
              <a:buFont typeface="Courier New" panose="02070309020205020404" pitchFamily="49" charset="0"/>
              <a:buChar char="o"/>
            </a:pPr>
            <a:r>
              <a:rPr lang="da-DK" sz="1800" dirty="0">
                <a:effectLst/>
                <a:latin typeface="Verdana" panose="020B0604030504040204" pitchFamily="34" charset="0"/>
                <a:ea typeface="Calibri" panose="020F0502020204030204" pitchFamily="34" charset="0"/>
                <a:cs typeface="Times New Roman" panose="02020603050405020304" pitchFamily="18" charset="0"/>
              </a:rPr>
              <a:t>For at aktivere skolens ressourcepersoner og vejledere mere i arbejdet med at skabe forandring i praksis, er det væsentligt, at ledelsen har en dialog med vejlederne om, hvordan de kan indgå på en meningsfuld måde i praksisudviklingen. </a:t>
            </a:r>
          </a:p>
          <a:p>
            <a:pPr marL="645750" lvl="2" indent="-285750" algn="just">
              <a:lnSpc>
                <a:spcPct val="107000"/>
              </a:lnSpc>
              <a:spcAft>
                <a:spcPts val="800"/>
              </a:spcAft>
              <a:buFont typeface="Courier New" panose="02070309020205020404" pitchFamily="49" charset="0"/>
              <a:buChar char="o"/>
            </a:pPr>
            <a:r>
              <a:rPr lang="da-DK" sz="1800" dirty="0">
                <a:effectLst/>
                <a:latin typeface="Verdana" panose="020B0604030504040204" pitchFamily="34" charset="0"/>
                <a:ea typeface="Calibri" panose="020F0502020204030204" pitchFamily="34" charset="0"/>
                <a:cs typeface="Times New Roman" panose="02020603050405020304" pitchFamily="18" charset="0"/>
              </a:rPr>
              <a:t>Her kan ledelsen blandt andet drøfte med vejlederne, hvordan de i fællesskab kan sikre, at pædagogisk personale i højere grad oplever at have adgang til vejledning, og hvordan de kan samarbejde på tværs af årgange og teams om at understøtte arbejdet fra forskellige vinkler (fx læsevejledere, AKT-vejledere og matematikvejledere).</a:t>
            </a:r>
          </a:p>
          <a:p>
            <a:pPr marL="645750" lvl="2" indent="-285750" algn="just">
              <a:lnSpc>
                <a:spcPct val="107000"/>
              </a:lnSpc>
              <a:spcAft>
                <a:spcPts val="800"/>
              </a:spcAft>
              <a:buFont typeface="Courier New" panose="02070309020205020404" pitchFamily="49" charset="0"/>
              <a:buChar char="o"/>
            </a:pPr>
            <a:r>
              <a:rPr lang="da-DK" sz="1800" dirty="0">
                <a:effectLst/>
                <a:latin typeface="Verdana" panose="020B0604030504040204" pitchFamily="34" charset="0"/>
                <a:ea typeface="Calibri" panose="020F0502020204030204" pitchFamily="34" charset="0"/>
                <a:cs typeface="Times New Roman" panose="02020603050405020304" pitchFamily="18" charset="0"/>
              </a:rPr>
              <a:t>På skoler, hvor vejlederne spiller en central rolle, oplever de dog også, at det er en svær opgave at skulle observere kollegernes undervisning og sparre med dem om emner som fx børnesyn og didaktik. Derfor er det afgørende, at ledelsen sikrer, at vejlederne har tydelig ledelsesopbakning og adgang til sparring fra dem, så de ikke oplever at stå alene med denne opgav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da-DK"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5BBF7-0B0C-48D4-ABAA-EF360EF241C5}" type="datetime1">
              <a:rPr kumimoji="0" lang="da-DK"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6-2024</a:t>
            </a:fld>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309857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26</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195114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da-DK" sz="1000" b="1" dirty="0">
                <a:latin typeface="Verdana" panose="020B0604030504040204" pitchFamily="34" charset="0"/>
                <a:ea typeface="Verdana" panose="020B0604030504040204" pitchFamily="34" charset="0"/>
              </a:rPr>
              <a:t>Uddybende noter</a:t>
            </a:r>
          </a:p>
          <a:p>
            <a:pPr lvl="1"/>
            <a:endParaRPr lang="da-DK" sz="1000" dirty="0">
              <a:latin typeface="Verdana" panose="020B0604030504040204" pitchFamily="34" charset="0"/>
              <a:ea typeface="Verdana" panose="020B0604030504040204" pitchFamily="34" charset="0"/>
            </a:endParaRPr>
          </a:p>
          <a:p>
            <a:pPr marL="522900" lvl="1" indent="-342900">
              <a:lnSpc>
                <a:spcPct val="107000"/>
              </a:lnSpc>
              <a:spcAft>
                <a:spcPts val="800"/>
              </a:spcAft>
              <a:buFont typeface="+mj-lt"/>
              <a:buAutoNum type="arabicPeriod"/>
              <a:tabLst>
                <a:tab pos="457200" algn="l"/>
              </a:tabLst>
            </a:pPr>
            <a:r>
              <a:rPr lang="da-DK" sz="1000" dirty="0">
                <a:effectLst/>
                <a:latin typeface="Verdana" panose="020B0604030504040204" pitchFamily="34" charset="0"/>
                <a:ea typeface="Verdana" panose="020B0604030504040204" pitchFamily="34" charset="0"/>
                <a:cs typeface="Times New Roman" panose="02020603050405020304" pitchFamily="18" charset="0"/>
              </a:rPr>
              <a:t>Første del af evalueringen giver et indblik i </a:t>
            </a:r>
            <a:r>
              <a:rPr lang="da-DK" sz="1000" b="1" dirty="0">
                <a:effectLst/>
                <a:latin typeface="Verdana" panose="020B0604030504040204" pitchFamily="34" charset="0"/>
                <a:ea typeface="Verdana" panose="020B0604030504040204" pitchFamily="34" charset="0"/>
                <a:cs typeface="Times New Roman" panose="02020603050405020304" pitchFamily="18" charset="0"/>
              </a:rPr>
              <a:t>elevernes perspektiver</a:t>
            </a:r>
            <a:r>
              <a:rPr lang="da-DK" sz="1000" dirty="0">
                <a:effectLst/>
                <a:latin typeface="Verdana" panose="020B0604030504040204" pitchFamily="34" charset="0"/>
                <a:ea typeface="Verdana" panose="020B0604030504040204" pitchFamily="34" charset="0"/>
                <a:cs typeface="Times New Roman" panose="02020603050405020304" pitchFamily="18" charset="0"/>
              </a:rPr>
              <a:t>. I dette evalueringsrul har vi særligt fokus på at uddybe, hvilke forandringer eleverne oplever som følge af prøvehandlingerne. </a:t>
            </a:r>
          </a:p>
          <a:p>
            <a:pPr marL="522900" lvl="1" indent="-342900">
              <a:lnSpc>
                <a:spcPct val="107000"/>
              </a:lnSpc>
              <a:spcAft>
                <a:spcPts val="800"/>
              </a:spcAft>
              <a:buFont typeface="+mj-lt"/>
              <a:buAutoNum type="arabicPeriod"/>
              <a:tabLst>
                <a:tab pos="457200" algn="l"/>
              </a:tabLst>
            </a:pPr>
            <a:endParaRPr lang="da-DK" sz="1000" dirty="0">
              <a:effectLst/>
              <a:latin typeface="Verdana" panose="020B0604030504040204" pitchFamily="34" charset="0"/>
              <a:ea typeface="Verdana" panose="020B0604030504040204" pitchFamily="34" charset="0"/>
              <a:cs typeface="Times New Roman" panose="02020603050405020304" pitchFamily="18" charset="0"/>
            </a:endParaRPr>
          </a:p>
          <a:p>
            <a:pPr marL="522900" lvl="1" indent="-342900">
              <a:lnSpc>
                <a:spcPct val="107000"/>
              </a:lnSpc>
              <a:spcAft>
                <a:spcPts val="800"/>
              </a:spcAft>
              <a:buFont typeface="+mj-lt"/>
              <a:buAutoNum type="arabicPeriod"/>
              <a:tabLst>
                <a:tab pos="457200" algn="l"/>
              </a:tabLst>
            </a:pPr>
            <a:r>
              <a:rPr lang="da-DK" sz="1000" dirty="0">
                <a:effectLst/>
                <a:latin typeface="Verdana" panose="020B0604030504040204" pitchFamily="34" charset="0"/>
                <a:ea typeface="Verdana" panose="020B0604030504040204" pitchFamily="34" charset="0"/>
                <a:cs typeface="Times New Roman" panose="02020603050405020304" pitchFamily="18" charset="0"/>
              </a:rPr>
              <a:t>I anden del kan I læse om, hvilke </a:t>
            </a:r>
            <a:r>
              <a:rPr lang="da-DK" sz="1000" b="1" dirty="0">
                <a:effectLst/>
                <a:latin typeface="Verdana" panose="020B0604030504040204" pitchFamily="34" charset="0"/>
                <a:ea typeface="Verdana" panose="020B0604030504040204" pitchFamily="34" charset="0"/>
                <a:cs typeface="Times New Roman" panose="02020603050405020304" pitchFamily="18" charset="0"/>
              </a:rPr>
              <a:t>tegn på forandring</a:t>
            </a:r>
            <a:r>
              <a:rPr lang="da-DK" sz="1000" dirty="0">
                <a:effectLst/>
                <a:latin typeface="Verdana" panose="020B0604030504040204" pitchFamily="34" charset="0"/>
                <a:ea typeface="Verdana" panose="020B0604030504040204" pitchFamily="34" charset="0"/>
                <a:cs typeface="Times New Roman" panose="02020603050405020304" pitchFamily="18" charset="0"/>
              </a:rPr>
              <a:t>, som ses i skolernes praksis. Afsnittet stiller skarpt på de tværgående erfaringer med at arbejde med aktionslæring.</a:t>
            </a:r>
          </a:p>
          <a:p>
            <a:pPr marL="522900" lvl="1" indent="-342900">
              <a:lnSpc>
                <a:spcPct val="107000"/>
              </a:lnSpc>
              <a:spcAft>
                <a:spcPts val="800"/>
              </a:spcAft>
              <a:buFont typeface="+mj-lt"/>
              <a:buAutoNum type="arabicPeriod"/>
              <a:tabLst>
                <a:tab pos="457200" algn="l"/>
              </a:tabLst>
            </a:pPr>
            <a:endParaRPr lang="da-DK" sz="1000" dirty="0">
              <a:effectLst/>
              <a:latin typeface="Verdana" panose="020B0604030504040204" pitchFamily="34" charset="0"/>
              <a:ea typeface="Verdana" panose="020B0604030504040204" pitchFamily="34" charset="0"/>
              <a:cs typeface="Times New Roman" panose="02020603050405020304" pitchFamily="18" charset="0"/>
            </a:endParaRPr>
          </a:p>
          <a:p>
            <a:pPr marL="522900" lvl="1" indent="-342900">
              <a:lnSpc>
                <a:spcPct val="107000"/>
              </a:lnSpc>
              <a:spcAft>
                <a:spcPts val="800"/>
              </a:spcAft>
              <a:buFont typeface="+mj-lt"/>
              <a:buAutoNum type="arabicPeriod"/>
              <a:tabLst>
                <a:tab pos="457200" algn="l"/>
              </a:tabLst>
            </a:pPr>
            <a:r>
              <a:rPr lang="da-DK" sz="1000" dirty="0">
                <a:effectLst/>
                <a:latin typeface="Verdana" panose="020B0604030504040204" pitchFamily="34" charset="0"/>
                <a:ea typeface="Verdana" panose="020B0604030504040204" pitchFamily="34" charset="0"/>
                <a:cs typeface="Times New Roman" panose="02020603050405020304" pitchFamily="18" charset="0"/>
              </a:rPr>
              <a:t>Tredje del præsenterer resultater vedr. det pædagogiske personales </a:t>
            </a:r>
            <a:r>
              <a:rPr lang="da-DK" sz="1000" b="1" dirty="0">
                <a:effectLst/>
                <a:latin typeface="Verdana" panose="020B0604030504040204" pitchFamily="34" charset="0"/>
                <a:ea typeface="Verdana" panose="020B0604030504040204" pitchFamily="34" charset="0"/>
                <a:cs typeface="Times New Roman" panose="02020603050405020304" pitchFamily="18" charset="0"/>
              </a:rPr>
              <a:t>samarbejde og kapacitet</a:t>
            </a:r>
            <a:r>
              <a:rPr lang="da-DK" sz="1000" dirty="0">
                <a:effectLst/>
                <a:latin typeface="Verdana" panose="020B0604030504040204" pitchFamily="34" charset="0"/>
                <a:ea typeface="Verdana" panose="020B0604030504040204" pitchFamily="34" charset="0"/>
                <a:cs typeface="Times New Roman" panose="02020603050405020304" pitchFamily="18" charset="0"/>
              </a:rPr>
              <a:t> i forbindelse med udviklingen af læringsmiljøerne. </a:t>
            </a:r>
          </a:p>
          <a:p>
            <a:pPr marL="522900" lvl="1" indent="-342900">
              <a:lnSpc>
                <a:spcPct val="107000"/>
              </a:lnSpc>
              <a:spcAft>
                <a:spcPts val="800"/>
              </a:spcAft>
              <a:buFont typeface="+mj-lt"/>
              <a:buAutoNum type="arabicPeriod"/>
              <a:tabLst>
                <a:tab pos="457200" algn="l"/>
              </a:tabLst>
            </a:pPr>
            <a:endParaRPr lang="da-DK" sz="1000" dirty="0">
              <a:effectLst/>
              <a:latin typeface="Verdana" panose="020B0604030504040204" pitchFamily="34" charset="0"/>
              <a:ea typeface="Verdana" panose="020B0604030504040204" pitchFamily="34" charset="0"/>
              <a:cs typeface="Times New Roman" panose="02020603050405020304" pitchFamily="18" charset="0"/>
            </a:endParaRPr>
          </a:p>
          <a:p>
            <a:pPr marL="522900" lvl="1" indent="-342900">
              <a:lnSpc>
                <a:spcPct val="107000"/>
              </a:lnSpc>
              <a:spcAft>
                <a:spcPts val="800"/>
              </a:spcAft>
              <a:buFont typeface="+mj-lt"/>
              <a:buAutoNum type="arabicPeriod"/>
              <a:tabLst>
                <a:tab pos="457200" algn="l"/>
              </a:tabLst>
            </a:pPr>
            <a:r>
              <a:rPr lang="da-DK" sz="1000" dirty="0">
                <a:effectLst/>
                <a:latin typeface="Verdana" panose="020B0604030504040204" pitchFamily="34" charset="0"/>
                <a:ea typeface="Verdana" panose="020B0604030504040204" pitchFamily="34" charset="0"/>
                <a:cs typeface="Times New Roman" panose="02020603050405020304" pitchFamily="18" charset="0"/>
              </a:rPr>
              <a:t>I den fjerede og sidst del af evalueringen præsenterer vi resultater om </a:t>
            </a:r>
            <a:r>
              <a:rPr lang="da-DK" sz="1000" b="1" dirty="0">
                <a:effectLst/>
                <a:latin typeface="Verdana" panose="020B0604030504040204" pitchFamily="34" charset="0"/>
                <a:ea typeface="Verdana" panose="020B0604030504040204" pitchFamily="34" charset="0"/>
                <a:cs typeface="Times New Roman" panose="02020603050405020304" pitchFamily="18" charset="0"/>
              </a:rPr>
              <a:t>rammer, organisering og ledelse</a:t>
            </a:r>
            <a:r>
              <a:rPr lang="da-DK" sz="1000" dirty="0">
                <a:effectLst/>
                <a:latin typeface="Verdana" panose="020B0604030504040204" pitchFamily="34" charset="0"/>
                <a:ea typeface="Verdana" panose="020B0604030504040204" pitchFamily="34" charset="0"/>
                <a:cs typeface="Times New Roman" panose="02020603050405020304" pitchFamily="18" charset="0"/>
              </a:rPr>
              <a:t>, herunder hvordan lederne på skolerne arbejder med at sætte ledelsesmæssig retning og skabe de rette rammer for praksisudviklingen. </a:t>
            </a:r>
          </a:p>
        </p:txBody>
      </p:sp>
      <p:sp>
        <p:nvSpPr>
          <p:cNvPr id="4" name="Slide Number Placeholder 3"/>
          <p:cNvSpPr>
            <a:spLocks noGrp="1"/>
          </p:cNvSpPr>
          <p:nvPr>
            <p:ph type="sldNum" sz="quarter" idx="5"/>
          </p:nvPr>
        </p:nvSpPr>
        <p:spPr/>
        <p:txBody>
          <a:bodyPr/>
          <a:lstStyle/>
          <a:p>
            <a:fld id="{1B1D025B-ACD2-45C1-B156-1DDB470CE319}" type="slidenum">
              <a:rPr lang="da-DK" smtClean="0"/>
              <a:pPr/>
              <a:t>3</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595597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nSpc>
                <a:spcPts val="1300"/>
              </a:lnSpc>
            </a:pPr>
            <a:r>
              <a:rPr lang="da-DK" sz="1000" b="1" kern="1200" baseline="0" dirty="0">
                <a:solidFill>
                  <a:srgbClr val="000000"/>
                </a:solidFill>
                <a:effectLst/>
                <a:latin typeface="Verdana" panose="020B0604030504040204" pitchFamily="34" charset="0"/>
                <a:ea typeface="Verdana" panose="020B0604030504040204" pitchFamily="34" charset="0"/>
                <a:cs typeface="+mn-cs"/>
              </a:rPr>
              <a:t>Uddybende noter: </a:t>
            </a:r>
          </a:p>
          <a:p>
            <a:pPr marL="0">
              <a:lnSpc>
                <a:spcPts val="1300"/>
              </a:lnSpc>
            </a:pPr>
            <a:endParaRPr lang="da-DK" sz="1000" b="1" kern="1200" baseline="0" dirty="0">
              <a:solidFill>
                <a:srgbClr val="000000"/>
              </a:solidFill>
              <a:effectLst/>
              <a:latin typeface="Verdana" panose="020B0604030504040204" pitchFamily="34" charset="0"/>
              <a:ea typeface="Verdana" panose="020B0604030504040204" pitchFamily="34" charset="0"/>
              <a:cs typeface="+mn-cs"/>
            </a:endParaRPr>
          </a:p>
          <a:p>
            <a:pPr>
              <a:lnSpc>
                <a:spcPct val="107000"/>
              </a:lnSpc>
              <a:spcAft>
                <a:spcPts val="800"/>
              </a:spcAft>
            </a:pPr>
            <a:r>
              <a:rPr lang="da-DK" sz="1000" dirty="0">
                <a:effectLst/>
                <a:latin typeface="Verdana" panose="020B0604030504040204" pitchFamily="34" charset="0"/>
                <a:ea typeface="Calibri" panose="020F0502020204030204" pitchFamily="34" charset="0"/>
                <a:cs typeface="Times New Roman" panose="02020603050405020304" pitchFamily="18" charset="0"/>
              </a:rPr>
              <a:t>Dette evalueringsrul er det andet ud af tre evalueringsrul og bygger på resultater fra dataindsamling i foråret 2024.</a:t>
            </a:r>
          </a:p>
          <a:p>
            <a:pPr>
              <a:lnSpc>
                <a:spcPct val="107000"/>
              </a:lnSpc>
              <a:spcAft>
                <a:spcPts val="800"/>
              </a:spcAft>
            </a:pPr>
            <a:endParaRPr lang="da-DK" sz="1000" dirty="0">
              <a:effectLst/>
              <a:latin typeface="Verdana" panose="020B060403050404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a-DK" sz="1000" dirty="0">
                <a:effectLst/>
                <a:latin typeface="Verdana" panose="020B0604030504040204" pitchFamily="34" charset="0"/>
                <a:ea typeface="Calibri" panose="020F0502020204030204" pitchFamily="34" charset="0"/>
                <a:cs typeface="Times New Roman" panose="02020603050405020304" pitchFamily="18" charset="0"/>
              </a:rPr>
              <a:t>Data i andet evalueringsrul er indsamlet ved hjælp af en række forskellige kvalitative og kvantitative datakilder, som har haft til formål at komme tæt på praksis:</a:t>
            </a:r>
          </a:p>
          <a:p>
            <a:pPr>
              <a:lnSpc>
                <a:spcPct val="107000"/>
              </a:lnSpc>
              <a:spcAft>
                <a:spcPts val="800"/>
              </a:spcAft>
            </a:pPr>
            <a:endParaRPr lang="da-DK" sz="1000" b="1" dirty="0">
              <a:effectLst/>
              <a:latin typeface="Verdana" panose="020B060403050404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a-DK" sz="1000" b="1" dirty="0">
                <a:effectLst/>
                <a:latin typeface="Verdana" panose="020B0604030504040204" pitchFamily="34" charset="0"/>
                <a:ea typeface="Calibri" panose="020F0502020204030204" pitchFamily="34" charset="0"/>
                <a:cs typeface="Times New Roman" panose="02020603050405020304" pitchFamily="18" charset="0"/>
              </a:rPr>
              <a:t>Spørgeskema</a:t>
            </a:r>
          </a:p>
          <a:p>
            <a:pPr marL="171450" indent="-171450">
              <a:lnSpc>
                <a:spcPct val="107000"/>
              </a:lnSpc>
              <a:spcAft>
                <a:spcPts val="800"/>
              </a:spcAft>
              <a:buFont typeface="Arial" panose="020B0604020202020204" pitchFamily="34" charset="0"/>
              <a:buChar char="•"/>
            </a:pPr>
            <a:r>
              <a:rPr lang="da-DK" sz="1000" dirty="0">
                <a:effectLst/>
                <a:latin typeface="Verdana" panose="020B0604030504040204" pitchFamily="34" charset="0"/>
                <a:ea typeface="Calibri" panose="020F0502020204030204" pitchFamily="34" charset="0"/>
                <a:cs typeface="Times New Roman" panose="02020603050405020304" pitchFamily="18" charset="0"/>
              </a:rPr>
              <a:t>Pædagogisk personale og ledere på skoler i de 11 nordjyske kommuner har besvaret et spørgeskema omkring:</a:t>
            </a:r>
          </a:p>
          <a:p>
            <a:pPr marL="351450" lvl="1" indent="-171450">
              <a:lnSpc>
                <a:spcPct val="107000"/>
              </a:lnSpc>
              <a:spcAft>
                <a:spcPts val="800"/>
              </a:spcAft>
              <a:buFont typeface="Courier New" panose="02070309020205020404" pitchFamily="49" charset="0"/>
              <a:buChar char="o"/>
            </a:pPr>
            <a:r>
              <a:rPr lang="da-DK" sz="1000" dirty="0">
                <a:effectLst/>
                <a:latin typeface="Verdana" panose="020B0604030504040204" pitchFamily="34" charset="0"/>
                <a:ea typeface="Calibri" panose="020F0502020204030204" pitchFamily="34" charset="0"/>
                <a:cs typeface="Times New Roman" panose="02020603050405020304" pitchFamily="18" charset="0"/>
              </a:rPr>
              <a:t>samarbejde i professionelle læringsfællesskaber</a:t>
            </a:r>
          </a:p>
          <a:p>
            <a:pPr marL="351450" lvl="1" indent="-171450">
              <a:lnSpc>
                <a:spcPct val="107000"/>
              </a:lnSpc>
              <a:spcAft>
                <a:spcPts val="800"/>
              </a:spcAft>
              <a:buFont typeface="Courier New" panose="02070309020205020404" pitchFamily="49" charset="0"/>
              <a:buChar char="o"/>
            </a:pPr>
            <a:r>
              <a:rPr lang="da-DK" sz="1000" dirty="0">
                <a:effectLst/>
                <a:latin typeface="Verdana" panose="020B0604030504040204" pitchFamily="34" charset="0"/>
                <a:ea typeface="Calibri" panose="020F0502020204030204" pitchFamily="34" charset="0"/>
                <a:cs typeface="Times New Roman" panose="02020603050405020304" pitchFamily="18" charset="0"/>
              </a:rPr>
              <a:t>motivation, viden og kompetencer til at skabe deltagelsesmuligheder</a:t>
            </a:r>
          </a:p>
          <a:p>
            <a:pPr marL="351450" lvl="1" indent="-171450">
              <a:lnSpc>
                <a:spcPct val="107000"/>
              </a:lnSpc>
              <a:spcAft>
                <a:spcPts val="800"/>
              </a:spcAft>
              <a:buFont typeface="Courier New" panose="02070309020205020404" pitchFamily="49" charset="0"/>
              <a:buChar char="o"/>
            </a:pPr>
            <a:r>
              <a:rPr lang="da-DK" sz="1000" dirty="0">
                <a:effectLst/>
                <a:latin typeface="Verdana" panose="020B0604030504040204" pitchFamily="34" charset="0"/>
                <a:ea typeface="Calibri" panose="020F0502020204030204" pitchFamily="34" charset="0"/>
                <a:cs typeface="Times New Roman" panose="02020603050405020304" pitchFamily="18" charset="0"/>
              </a:rPr>
              <a:t>skolens børnesyn</a:t>
            </a:r>
          </a:p>
          <a:p>
            <a:pPr marL="351450" lvl="1" indent="-171450">
              <a:lnSpc>
                <a:spcPct val="107000"/>
              </a:lnSpc>
              <a:spcAft>
                <a:spcPts val="800"/>
              </a:spcAft>
              <a:buFont typeface="Courier New" panose="02070309020205020404" pitchFamily="49" charset="0"/>
              <a:buChar char="o"/>
            </a:pPr>
            <a:r>
              <a:rPr lang="da-DK" sz="1000" dirty="0">
                <a:effectLst/>
                <a:latin typeface="Verdana" panose="020B0604030504040204" pitchFamily="34" charset="0"/>
                <a:ea typeface="Calibri" panose="020F0502020204030204" pitchFamily="34" charset="0"/>
                <a:cs typeface="Times New Roman" panose="02020603050405020304" pitchFamily="18" charset="0"/>
              </a:rPr>
              <a:t>organisering og fysiske rammer</a:t>
            </a:r>
          </a:p>
          <a:p>
            <a:pPr marL="351450" lvl="1" indent="-171450">
              <a:lnSpc>
                <a:spcPct val="107000"/>
              </a:lnSpc>
              <a:spcAft>
                <a:spcPts val="800"/>
              </a:spcAft>
              <a:buFont typeface="Courier New" panose="02070309020205020404" pitchFamily="49" charset="0"/>
              <a:buChar char="o"/>
            </a:pPr>
            <a:r>
              <a:rPr lang="da-DK" sz="1000" dirty="0">
                <a:effectLst/>
                <a:latin typeface="Verdana" panose="020B0604030504040204" pitchFamily="34" charset="0"/>
                <a:ea typeface="Calibri" panose="020F0502020204030204" pitchFamily="34" charset="0"/>
                <a:cs typeface="Times New Roman" panose="02020603050405020304" pitchFamily="18" charset="0"/>
              </a:rPr>
              <a:t>vurdering af ledelsesunderstøttelse </a:t>
            </a:r>
          </a:p>
          <a:p>
            <a:pPr>
              <a:lnSpc>
                <a:spcPct val="107000"/>
              </a:lnSpc>
              <a:spcAft>
                <a:spcPts val="800"/>
              </a:spcAft>
            </a:pPr>
            <a:endParaRPr lang="da-DK" sz="1000" b="1" dirty="0">
              <a:effectLst/>
              <a:latin typeface="Verdana" panose="020B060403050404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a-DK" sz="1000" b="1" dirty="0">
                <a:effectLst/>
                <a:latin typeface="Verdana" panose="020B0604030504040204" pitchFamily="34" charset="0"/>
                <a:ea typeface="Calibri" panose="020F0502020204030204" pitchFamily="34" charset="0"/>
                <a:cs typeface="Times New Roman" panose="02020603050405020304" pitchFamily="18" charset="0"/>
              </a:rPr>
              <a:t>Dialogværktøjer</a:t>
            </a:r>
          </a:p>
          <a:p>
            <a:pPr marL="171450" indent="-171450">
              <a:lnSpc>
                <a:spcPct val="107000"/>
              </a:lnSpc>
              <a:spcAft>
                <a:spcPts val="800"/>
              </a:spcAft>
              <a:buFont typeface="Arial" panose="020B0604020202020204" pitchFamily="34" charset="0"/>
              <a:buChar char="•"/>
            </a:pPr>
            <a:r>
              <a:rPr lang="da-DK" sz="1000" dirty="0">
                <a:effectLst/>
                <a:latin typeface="Verdana" panose="020B0604030504040204" pitchFamily="34" charset="0"/>
                <a:ea typeface="Calibri" panose="020F0502020204030204" pitchFamily="34" charset="0"/>
                <a:cs typeface="Times New Roman" panose="02020603050405020304" pitchFamily="18" charset="0"/>
              </a:rPr>
              <a:t>Fire teams har gennemført refleksive dialoger ved hjælp af dialogværktøjer. Udvalgte teams på følgende skoler har anvendt dialogværktøjerne: Skolegades Skole, Thorup-Klim Skole, Bymarkskolen, Vejgaard Østre Skole. </a:t>
            </a:r>
          </a:p>
          <a:p>
            <a:pPr>
              <a:lnSpc>
                <a:spcPct val="107000"/>
              </a:lnSpc>
              <a:spcAft>
                <a:spcPts val="800"/>
              </a:spcAft>
            </a:pPr>
            <a:endParaRPr lang="da-DK" sz="1000" b="1" dirty="0">
              <a:effectLst/>
              <a:latin typeface="Verdana" panose="020B060403050404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a-DK" sz="1000" b="1" dirty="0">
                <a:effectLst/>
                <a:latin typeface="Verdana" panose="020B0604030504040204" pitchFamily="34" charset="0"/>
                <a:ea typeface="Calibri" panose="020F0502020204030204" pitchFamily="34" charset="0"/>
                <a:cs typeface="Times New Roman" panose="02020603050405020304" pitchFamily="18" charset="0"/>
              </a:rPr>
              <a:t>Fem kommuner har deltaget som case-kommune i andet evalueringsrul:</a:t>
            </a:r>
            <a:r>
              <a:rPr lang="da-DK" sz="1000" dirty="0">
                <a:effectLst/>
                <a:latin typeface="Verdana" panose="020B0604030504040204" pitchFamily="34" charset="0"/>
                <a:ea typeface="Calibri" panose="020F0502020204030204" pitchFamily="34" charset="0"/>
                <a:cs typeface="Times New Roman" panose="02020603050405020304" pitchFamily="18" charset="0"/>
              </a:rPr>
              <a:t> Vesthimmerland, Mariagerfjord, Brønderslev, Aalborg og Jammerbugt.</a:t>
            </a:r>
          </a:p>
          <a:p>
            <a:pPr>
              <a:lnSpc>
                <a:spcPct val="107000"/>
              </a:lnSpc>
              <a:spcAft>
                <a:spcPts val="800"/>
              </a:spcAft>
            </a:pPr>
            <a:endParaRPr lang="da-DK" sz="1000" b="1" dirty="0">
              <a:effectLst/>
              <a:latin typeface="Verdana" panose="020B060403050404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a-DK" sz="1000" b="1" dirty="0">
                <a:effectLst/>
                <a:latin typeface="Verdana" panose="020B0604030504040204" pitchFamily="34" charset="0"/>
                <a:ea typeface="Calibri" panose="020F0502020204030204" pitchFamily="34" charset="0"/>
                <a:cs typeface="Times New Roman" panose="02020603050405020304" pitchFamily="18" charset="0"/>
              </a:rPr>
              <a:t>Casebesøg på skoler</a:t>
            </a:r>
          </a:p>
          <a:p>
            <a:pPr marL="171450" indent="-171450">
              <a:lnSpc>
                <a:spcPct val="107000"/>
              </a:lnSpc>
              <a:spcAft>
                <a:spcPts val="800"/>
              </a:spcAft>
              <a:buFont typeface="Arial" panose="020B0604020202020204" pitchFamily="34" charset="0"/>
              <a:buChar char="•"/>
            </a:pPr>
            <a:r>
              <a:rPr lang="da-DK" sz="1000" dirty="0">
                <a:effectLst/>
                <a:latin typeface="Verdana" panose="020B0604030504040204" pitchFamily="34" charset="0"/>
                <a:ea typeface="Calibri" panose="020F0502020204030204" pitchFamily="34" charset="0"/>
                <a:cs typeface="Times New Roman" panose="02020603050405020304" pitchFamily="18" charset="0"/>
              </a:rPr>
              <a:t>Rambøll har gennemført casebesøg på fem skoler i de fem udvalgte kommuner: Aars Skole, Mariager Skole, Dronninglund Skole, Nibe Skole og Fjerritslev Skole. På skolerne har vi talt med elever, pædagogisk personale, vejledere og skoleledelse. </a:t>
            </a:r>
          </a:p>
          <a:p>
            <a:pPr marL="351450" lvl="1" indent="-171450">
              <a:lnSpc>
                <a:spcPct val="107000"/>
              </a:lnSpc>
              <a:spcAft>
                <a:spcPts val="800"/>
              </a:spcAft>
              <a:buFont typeface="Courier New" panose="02070309020205020404" pitchFamily="49" charset="0"/>
              <a:buChar char="o"/>
            </a:pPr>
            <a:r>
              <a:rPr lang="da-DK" sz="1000" dirty="0">
                <a:effectLst/>
                <a:latin typeface="Verdana" panose="020B0604030504040204" pitchFamily="34" charset="0"/>
                <a:ea typeface="Calibri" panose="020F0502020204030204" pitchFamily="34" charset="0"/>
                <a:cs typeface="Times New Roman" panose="02020603050405020304" pitchFamily="18" charset="0"/>
              </a:rPr>
              <a:t>Observationer af undervisning er sket som led i besøg på skolerne, hvor Rambøll deltog i undervisningen hos de elever, som efterfølgende blev interviewet.</a:t>
            </a:r>
          </a:p>
          <a:p>
            <a:pPr>
              <a:lnSpc>
                <a:spcPct val="107000"/>
              </a:lnSpc>
              <a:spcAft>
                <a:spcPts val="800"/>
              </a:spcAft>
            </a:pPr>
            <a:endParaRPr lang="da-DK" sz="1000" b="1" dirty="0">
              <a:effectLst/>
              <a:latin typeface="Verdana" panose="020B060403050404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da-DK" sz="1800" b="1" dirty="0">
                <a:effectLst/>
                <a:latin typeface="Verdana" panose="020B0604030504040204" pitchFamily="34" charset="0"/>
                <a:ea typeface="Calibri" panose="020F0502020204030204" pitchFamily="34" charset="0"/>
                <a:cs typeface="Times New Roman" panose="02020603050405020304" pitchFamily="18" charset="0"/>
              </a:rPr>
              <a:t>Valideringsworkshops</a:t>
            </a:r>
            <a:endParaRPr lang="da-DK" sz="18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Font typeface="Arial" panose="020B0604020202020204" pitchFamily="34" charset="0"/>
              <a:buChar char="•"/>
              <a:tabLst>
                <a:tab pos="457200" algn="l"/>
              </a:tabLst>
            </a:pPr>
            <a:r>
              <a:rPr lang="da-DK" sz="1800" dirty="0">
                <a:effectLst/>
                <a:latin typeface="Verdana" panose="020B0604030504040204" pitchFamily="34" charset="0"/>
                <a:ea typeface="Calibri" panose="020F0502020204030204" pitchFamily="34" charset="0"/>
                <a:cs typeface="Times New Roman" panose="02020603050405020304" pitchFamily="18" charset="0"/>
              </a:rPr>
              <a:t>Rambøll har gennemført valideringsworkshops med repræsentanter (pædagogisk personale, vejledere og ledere) fra fem forskellige skoler inden for de fem udvalgte kommuner. Det vil sige, at 15-18 repræsentanter i alt (pædagogisk personale, vejledere og ledere) fra hver af de fem kommuner deltog i valideringsworkshops.</a:t>
            </a:r>
          </a:p>
          <a:p>
            <a:pPr algn="just">
              <a:lnSpc>
                <a:spcPct val="107000"/>
              </a:lnSpc>
              <a:spcAft>
                <a:spcPts val="800"/>
              </a:spcAft>
            </a:pPr>
            <a:endParaRPr lang="da-DK" sz="1800" dirty="0">
              <a:effectLst/>
              <a:latin typeface="Verdana" panose="020B060403050404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da-DK" sz="1800" dirty="0">
                <a:effectLst/>
                <a:latin typeface="Verdana" panose="020B0604030504040204" pitchFamily="34" charset="0"/>
                <a:ea typeface="Calibri" panose="020F0502020204030204" pitchFamily="34" charset="0"/>
                <a:cs typeface="Times New Roman" panose="02020603050405020304" pitchFamily="18" charset="0"/>
              </a:rPr>
              <a:t>Data er indsamlet i februar-maj 2024 og afspejler derfor praksisudviklingen, som den så ud på daværende tidspunkt.</a:t>
            </a:r>
          </a:p>
          <a:p>
            <a:pPr marL="139700" indent="0">
              <a:buNone/>
            </a:pPr>
            <a:endParaRPr lang="da-DK" dirty="0">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4</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018493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5</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8521779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0"/>
        <p:cNvGrpSpPr/>
        <p:nvPr/>
      </p:nvGrpSpPr>
      <p:grpSpPr>
        <a:xfrm>
          <a:off x="0" y="0"/>
          <a:ext cx="0" cy="0"/>
          <a:chOff x="0" y="0"/>
          <a:chExt cx="0" cy="0"/>
        </a:xfrm>
      </p:grpSpPr>
      <p:sp>
        <p:nvSpPr>
          <p:cNvPr id="691" name="Google Shape;691;g35f391192_00:notes"/>
          <p:cNvSpPr>
            <a:spLocks noGrp="1" noRot="1" noChangeAspect="1"/>
          </p:cNvSpPr>
          <p:nvPr>
            <p:ph type="sldImg" idx="2"/>
          </p:nvPr>
        </p:nvSpPr>
        <p:spPr>
          <a:xfrm>
            <a:off x="-349250" y="808038"/>
            <a:ext cx="7183438" cy="40417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2" name="Google Shape;692;g35f391192_00:notes"/>
          <p:cNvSpPr txBox="1">
            <a:spLocks noGrp="1"/>
          </p:cNvSpPr>
          <p:nvPr>
            <p:ph type="body" idx="1"/>
          </p:nvPr>
        </p:nvSpPr>
        <p:spPr>
          <a:xfrm>
            <a:off x="648539" y="5118725"/>
            <a:ext cx="5188303" cy="4849318"/>
          </a:xfrm>
          <a:prstGeom prst="rect">
            <a:avLst/>
          </a:prstGeom>
        </p:spPr>
        <p:txBody>
          <a:bodyPr spcFirstLastPara="1" wrap="square" lIns="91425" tIns="91425" rIns="91425" bIns="91425" anchor="t" anchorCtr="0">
            <a:noAutofit/>
          </a:bodyPr>
          <a:lstStyle/>
          <a:p>
            <a:pPr marL="0" lvl="0" indent="0" algn="l">
              <a:spcBef>
                <a:spcPts val="0"/>
              </a:spcBef>
              <a:spcAft>
                <a:spcPts val="0"/>
              </a:spcAft>
              <a:buNone/>
            </a:pPr>
            <a:endParaRPr lang="da-DK" dirty="0"/>
          </a:p>
        </p:txBody>
      </p:sp>
    </p:spTree>
    <p:extLst>
      <p:ext uri="{BB962C8B-B14F-4D97-AF65-F5344CB8AC3E}">
        <p14:creationId xmlns:p14="http://schemas.microsoft.com/office/powerpoint/2010/main" val="40204110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da-DK" sz="1000" b="1" dirty="0">
                <a:latin typeface="Verdana" panose="020B0604030504040204" pitchFamily="34" charset="0"/>
                <a:ea typeface="Verdana" panose="020B0604030504040204" pitchFamily="34" charset="0"/>
              </a:rPr>
              <a:t>Uddybende noter: </a:t>
            </a:r>
          </a:p>
          <a:p>
            <a:pPr marL="0" indent="0">
              <a:buFont typeface="Arial" panose="020B0604020202020204" pitchFamily="34" charset="0"/>
              <a:buNone/>
            </a:pPr>
            <a:endParaRPr lang="da-DK" sz="1000" b="0" dirty="0">
              <a:latin typeface="Verdana" panose="020B0604030504040204" pitchFamily="34" charset="0"/>
              <a:ea typeface="Verdana" panose="020B0604030504040204" pitchFamily="34" charset="0"/>
            </a:endParaRPr>
          </a:p>
          <a:p>
            <a:pPr algn="just">
              <a:lnSpc>
                <a:spcPct val="107000"/>
              </a:lnSpc>
              <a:spcAft>
                <a:spcPts val="800"/>
              </a:spcAft>
            </a:pPr>
            <a:r>
              <a:rPr lang="da-DK" sz="1800" dirty="0">
                <a:effectLst/>
                <a:latin typeface="Verdana" panose="020B0604030504040204" pitchFamily="34" charset="0"/>
                <a:ea typeface="Calibri" panose="020F0502020204030204" pitchFamily="34" charset="0"/>
                <a:cs typeface="Times New Roman" panose="02020603050405020304" pitchFamily="18" charset="0"/>
              </a:rPr>
              <a:t>I dette evalueringsrul har vi undersøgt, hvordan og i hvilken grad eleverne oplever, at de forskellige prøvehandlinger bidrager til at skabe bedre læringsmiljøer, hvor der er deltagelsesmuligheder for alle. </a:t>
            </a:r>
          </a:p>
          <a:p>
            <a:pPr algn="just">
              <a:lnSpc>
                <a:spcPct val="107000"/>
              </a:lnSpc>
              <a:spcAft>
                <a:spcPts val="800"/>
              </a:spcAft>
            </a:pPr>
            <a:endParaRPr lang="da-DK" sz="1800" dirty="0">
              <a:effectLst/>
              <a:latin typeface="Verdana" panose="020B060403050404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da-DK" sz="1800" dirty="0">
                <a:effectLst/>
                <a:latin typeface="Verdana" panose="020B0604030504040204" pitchFamily="34" charset="0"/>
                <a:ea typeface="Calibri" panose="020F0502020204030204" pitchFamily="34" charset="0"/>
                <a:cs typeface="Times New Roman" panose="02020603050405020304" pitchFamily="18" charset="0"/>
              </a:rPr>
              <a:t>Konkret har vi bedt eleverne om at forholde sig til de specifikke prøvehandlinger, som er afprøvet i deres klasse. Følgende tre opmærksomhedspunkter kan udledes på baggrund af interviewene med eleverne: </a:t>
            </a:r>
          </a:p>
          <a:p>
            <a:pPr>
              <a:lnSpc>
                <a:spcPct val="107000"/>
              </a:lnSpc>
              <a:spcAft>
                <a:spcPts val="800"/>
              </a:spcAft>
            </a:pPr>
            <a:endParaRPr lang="da-DK" sz="10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pPr>
            <a:r>
              <a:rPr lang="da-DK" sz="1000" b="1" dirty="0">
                <a:effectLst/>
                <a:latin typeface="Verdana" panose="020B0604030504040204" pitchFamily="34" charset="0"/>
                <a:ea typeface="Calibri" panose="020F0502020204030204" pitchFamily="34" charset="0"/>
                <a:cs typeface="Times New Roman" panose="02020603050405020304" pitchFamily="18" charset="0"/>
              </a:rPr>
              <a:t>Forandringer i læringsmiljøet er ofte begrænset til enkelte fag eller timer</a:t>
            </a:r>
          </a:p>
          <a:p>
            <a:pPr marL="522900" lvl="1" indent="-342900">
              <a:lnSpc>
                <a:spcPct val="107000"/>
              </a:lnSpc>
              <a:spcAft>
                <a:spcPts val="800"/>
              </a:spcAft>
              <a:buFont typeface="Arial" panose="020B0604020202020204" pitchFamily="34" charset="0"/>
              <a:buChar char="•"/>
            </a:pPr>
            <a:r>
              <a:rPr lang="da-DK" sz="1000" dirty="0">
                <a:effectLst/>
                <a:latin typeface="Verdana" panose="020B0604030504040204" pitchFamily="34" charset="0"/>
                <a:ea typeface="Calibri" panose="020F0502020204030204" pitchFamily="34" charset="0"/>
                <a:cs typeface="Times New Roman" panose="02020603050405020304" pitchFamily="18" charset="0"/>
              </a:rPr>
              <a:t>Eleverne fortæller generelt, at der fortsat er meget stor forskel på det pædagogiske personales praksis i timerne. Ofte er prøvehandlinger afprøvet i specifikke fag eller af specifikke lærere, og det gør, at eleverne ikke oplever et mere generelt løft af læringsmiljøet.  </a:t>
            </a:r>
          </a:p>
          <a:p>
            <a:pPr marL="5229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da-DK" sz="1800" dirty="0">
                <a:effectLst/>
                <a:latin typeface="Verdana" panose="020B0604030504040204" pitchFamily="34" charset="0"/>
                <a:ea typeface="Calibri" panose="020F0502020204030204" pitchFamily="34" charset="0"/>
                <a:cs typeface="Times New Roman" panose="02020603050405020304" pitchFamily="18" charset="0"/>
              </a:rPr>
              <a:t>Elevernes oplevelser af forandringer er derfor tæt koblet til størrelsen på pædagogisk personales prøvehandlinger. Når pædagogisk personale eksperimenterer med små og afgrænsede prøvehandlinger i en kort periode, vil eleverne ofte opleve en tilsvarende begrænset forandring i undervisningen. </a:t>
            </a:r>
            <a:br>
              <a:rPr lang="da-DK" sz="1000" dirty="0">
                <a:effectLst/>
                <a:latin typeface="Verdana" panose="020B0604030504040204" pitchFamily="34" charset="0"/>
                <a:ea typeface="Calibri" panose="020F0502020204030204" pitchFamily="34" charset="0"/>
                <a:cs typeface="Times New Roman" panose="02020603050405020304" pitchFamily="18" charset="0"/>
              </a:rPr>
            </a:br>
            <a:endParaRPr lang="da-DK" sz="10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pPr>
            <a:r>
              <a:rPr lang="da-DK" sz="1000" b="1" dirty="0">
                <a:effectLst/>
                <a:latin typeface="Verdana" panose="020B0604030504040204" pitchFamily="34" charset="0"/>
                <a:ea typeface="Calibri" panose="020F0502020204030204" pitchFamily="34" charset="0"/>
                <a:cs typeface="Times New Roman" panose="02020603050405020304" pitchFamily="18" charset="0"/>
              </a:rPr>
              <a:t>Når prøvehandlinger vedrører enkelte elever, kommer det sjældent hele klassen til gavn</a:t>
            </a:r>
          </a:p>
          <a:p>
            <a:pPr marL="522900" marR="0" lvl="1" indent="-34290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da-DK" sz="1800" dirty="0">
                <a:effectLst/>
                <a:latin typeface="Verdana" panose="020B0604030504040204" pitchFamily="34" charset="0"/>
                <a:ea typeface="Calibri" panose="020F0502020204030204" pitchFamily="34" charset="0"/>
                <a:cs typeface="Times New Roman" panose="02020603050405020304" pitchFamily="18" charset="0"/>
              </a:rPr>
              <a:t>I mange teams har pædagogisk personale afprøvet prøvehandlinger, som vedrører enkelte elever med behov for ekstra støtte eller opmærksomhed. Når prøvehandlingen ikke vedrører alle elever, vil den brede elevgruppe ofte heller ikke mærke en stor forandring i læringsmiljøet. </a:t>
            </a:r>
            <a:br>
              <a:rPr lang="da-DK" sz="1000" dirty="0">
                <a:effectLst/>
                <a:latin typeface="Verdana" panose="020B0604030504040204" pitchFamily="34" charset="0"/>
                <a:ea typeface="Calibri" panose="020F0502020204030204" pitchFamily="34" charset="0"/>
                <a:cs typeface="Times New Roman" panose="02020603050405020304" pitchFamily="18" charset="0"/>
              </a:rPr>
            </a:br>
            <a:endParaRPr lang="da-DK" sz="1000" dirty="0">
              <a:effectLst/>
              <a:latin typeface="Verdana" panose="020B060403050404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pPr>
            <a:r>
              <a:rPr lang="da-DK" sz="1000" b="1" dirty="0">
                <a:effectLst/>
                <a:latin typeface="Verdana" panose="020B0604030504040204" pitchFamily="34" charset="0"/>
                <a:ea typeface="Calibri" panose="020F0502020204030204" pitchFamily="34" charset="0"/>
                <a:cs typeface="Times New Roman" panose="02020603050405020304" pitchFamily="18" charset="0"/>
              </a:rPr>
              <a:t>Eleverne bliver sjældent involveret i evalueringen af prøvehandlinger, men har meget på hjerte</a:t>
            </a:r>
            <a:endParaRPr lang="da-DK" sz="1000" b="1" kern="1200" dirty="0">
              <a:effectLst/>
              <a:latin typeface="Verdana" panose="020B0604030504040204" pitchFamily="34" charset="0"/>
              <a:ea typeface="Calibri" panose="020F0502020204030204" pitchFamily="34" charset="0"/>
              <a:cs typeface="Times New Roman" panose="02020603050405020304" pitchFamily="18" charset="0"/>
            </a:endParaRPr>
          </a:p>
          <a:p>
            <a:pPr marL="522900" lvl="1" indent="-342900">
              <a:lnSpc>
                <a:spcPct val="107000"/>
              </a:lnSpc>
              <a:spcAft>
                <a:spcPts val="800"/>
              </a:spcAft>
              <a:buFont typeface="Arial" panose="020B0604020202020204" pitchFamily="34" charset="0"/>
              <a:buChar char="•"/>
            </a:pPr>
            <a:r>
              <a:rPr lang="da-DK" sz="1800" dirty="0">
                <a:effectLst/>
                <a:latin typeface="Verdana" panose="020B0604030504040204" pitchFamily="34" charset="0"/>
                <a:ea typeface="Calibri" panose="020F0502020204030204" pitchFamily="34" charset="0"/>
                <a:cs typeface="Times New Roman" panose="02020603050405020304" pitchFamily="18" charset="0"/>
              </a:rPr>
              <a:t>Eleverne oplever sjældent at blive involveret i evalueringen af undervisningen og de konkrete prøvehandlinger. Flere fortæller dog, at de ikke nødvendigvis oplever, at prøvehandlingerne fungerer optimalt, eller har konkrete forslag til, hvordan de kunne forbedres. De har således mange perspektiver på undervisningen, som de dog sjældent oplever, at de får mulighed for at udtrykke. </a:t>
            </a:r>
          </a:p>
          <a:p>
            <a:pPr marL="342900" lvl="0" indent="-342900">
              <a:lnSpc>
                <a:spcPct val="107000"/>
              </a:lnSpc>
              <a:spcAft>
                <a:spcPts val="800"/>
              </a:spcAft>
              <a:buFont typeface="Arial" panose="020B0604020202020204" pitchFamily="34" charset="0"/>
              <a:buChar char="•"/>
            </a:pPr>
            <a:endParaRPr lang="da-DK" sz="1800" dirty="0">
              <a:effectLst/>
              <a:latin typeface="Verdana" panose="020B060403050404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defRPr/>
            </a:pPr>
            <a:r>
              <a:rPr lang="da-DK" sz="1800" dirty="0">
                <a:effectLst/>
                <a:latin typeface="Verdana" panose="020B0604030504040204" pitchFamily="34" charset="0"/>
                <a:ea typeface="Calibri" panose="020F0502020204030204" pitchFamily="34" charset="0"/>
                <a:cs typeface="Times New Roman" panose="02020603050405020304" pitchFamily="18" charset="0"/>
              </a:rPr>
              <a:t>På de kommende sider præsenteres to eksempler på prøvehandlinger. Prøvehandlingerne er udvalgt for at give et konkret indblik i skolernes arbejde og for at illustrere, at eleverne både oplever fordele og ulemper ved prøvehandlingerne, som er vigtige at forholde sig til i udviklingsarbejdet. </a:t>
            </a:r>
          </a:p>
          <a:p>
            <a:pPr marL="0" lvl="0" indent="0">
              <a:lnSpc>
                <a:spcPct val="107000"/>
              </a:lnSpc>
              <a:spcAft>
                <a:spcPts val="800"/>
              </a:spcAft>
              <a:buFont typeface="Arial" panose="020B0604020202020204" pitchFamily="34" charset="0"/>
              <a:buNone/>
            </a:pPr>
            <a:endParaRPr lang="da-DK" sz="1800" dirty="0">
              <a:effectLst/>
              <a:latin typeface="Verdana" panose="020B060403050404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B1D025B-ACD2-45C1-B156-1DDB470CE319}" type="slidenum">
              <a:rPr lang="da-DK" smtClean="0"/>
              <a:pPr/>
              <a:t>7</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9-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2858063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300"/>
              </a:lnSpc>
            </a:pPr>
            <a:endParaRPr lang="da-DK" sz="1000" baseline="0">
              <a:latin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da-DK"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5BBF7-0B0C-48D4-ABAA-EF360EF241C5}" type="datetime1">
              <a:rPr kumimoji="0" lang="da-DK"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6-2024</a:t>
            </a:fld>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224969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ts val="1300"/>
              </a:lnSpc>
            </a:pPr>
            <a:endParaRPr lang="da-DK" sz="1000" baseline="0" dirty="0">
              <a:latin typeface="Verdana" panose="020B060403050404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1D025B-ACD2-45C1-B156-1DDB470CE319}" type="slidenum">
              <a:rPr kumimoji="0" lang="da-DK"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5" name="Date Placeholder 4"/>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5BBF7-0B0C-48D4-ABAA-EF360EF241C5}" type="datetime1">
              <a:rPr kumimoji="0" lang="da-DK"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6-2024</a:t>
            </a:fld>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Header Placeholder 5"/>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119723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2.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05.xml"/><Relationship Id="rId4" Type="http://schemas.openxmlformats.org/officeDocument/2006/relationships/image" Target="../media/image2.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06.xml"/><Relationship Id="rId4" Type="http://schemas.openxmlformats.org/officeDocument/2006/relationships/image" Target="../media/image2.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08.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2.xml"/><Relationship Id="rId1" Type="http://schemas.openxmlformats.org/officeDocument/2006/relationships/tags" Target="../tags/tag109.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2.xml"/><Relationship Id="rId1" Type="http://schemas.openxmlformats.org/officeDocument/2006/relationships/tags" Target="../tags/tag11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2.xml"/><Relationship Id="rId1" Type="http://schemas.openxmlformats.org/officeDocument/2006/relationships/tags" Target="../tags/tag11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oleObject" Target="../embeddings/oleObject111.bin"/><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11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2.xml"/><Relationship Id="rId1" Type="http://schemas.openxmlformats.org/officeDocument/2006/relationships/tags" Target="../tags/tag113.xml"/><Relationship Id="rId4" Type="http://schemas.openxmlformats.org/officeDocument/2006/relationships/image" Target="../media/image2.emf"/></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2.emf"/></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oleObject" Target="../embeddings/oleObject55.bin"/><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56.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5.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2.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2.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2.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2.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2.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2.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2.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2.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2.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2.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2.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2.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2.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2.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2.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2.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01.xml"/><Relationship Id="rId4" Type="http://schemas.openxmlformats.org/officeDocument/2006/relationships/image" Target="../media/image2.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D48E49-C548-4C40-B4E5-416753470B56}"/>
              </a:ext>
            </a:extLst>
          </p:cNvPr>
          <p:cNvGraphicFramePr>
            <a:graphicFrameLocks noChangeAspect="1"/>
          </p:cNvGraphicFramePr>
          <p:nvPr userDrawn="1">
            <p:custDataLst>
              <p:tags r:id="rId1"/>
            </p:custDataLst>
            <p:extLst>
              <p:ext uri="{D42A27DB-BD31-4B8C-83A1-F6EECF244321}">
                <p14:modId xmlns:p14="http://schemas.microsoft.com/office/powerpoint/2010/main" val="1773381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6D48E49-C548-4C40-B4E5-416753470B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D1903C8B-6A03-40C4-AD50-AACDEC5FDA0C}" type="datetime1">
              <a:rPr lang="da-DK" smtClean="0"/>
              <a:pPr/>
              <a:t>19-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vert="horz" anchor="t" anchorCtr="0"/>
          <a:lstStyle>
            <a:lvl1pPr algn="l" rtl="0">
              <a:lnSpc>
                <a:spcPct val="91000"/>
              </a:lnSpc>
              <a:defRPr sz="3600">
                <a:solidFill>
                  <a:schemeClr val="bg1"/>
                </a:solidFill>
              </a:defRPr>
            </a:lvl1pPr>
          </a:lstStyle>
          <a:p>
            <a:r>
              <a:rPr lang="da-DK"/>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2711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rgbClr val="E6E6E6"/>
        </a:solidFill>
        <a:effectLst/>
      </p:bgPr>
    </p:bg>
    <p:spTree>
      <p:nvGrpSpPr>
        <p:cNvPr id="1" name=""/>
        <p:cNvGrpSpPr/>
        <p:nvPr/>
      </p:nvGrpSpPr>
      <p:grpSpPr>
        <a:xfrm>
          <a:off x="0" y="0"/>
          <a:ext cx="0" cy="0"/>
          <a:chOff x="0" y="0"/>
          <a:chExt cx="0" cy="0"/>
        </a:xfrm>
      </p:grpSpPr>
      <p:graphicFrame>
        <p:nvGraphicFramePr>
          <p:cNvPr id="68" name="Object 67" hidden="1">
            <a:extLst>
              <a:ext uri="{FF2B5EF4-FFF2-40B4-BE49-F238E27FC236}">
                <a16:creationId xmlns:a16="http://schemas.microsoft.com/office/drawing/2014/main" id="{A100C677-B418-4EDF-ABC6-CE08CDC695FD}"/>
              </a:ext>
            </a:extLst>
          </p:cNvPr>
          <p:cNvGraphicFramePr>
            <a:graphicFrameLocks noChangeAspect="1"/>
          </p:cNvGraphicFramePr>
          <p:nvPr userDrawn="1">
            <p:custDataLst>
              <p:tags r:id="rId1"/>
            </p:custDataLst>
            <p:extLst>
              <p:ext uri="{D42A27DB-BD31-4B8C-83A1-F6EECF244321}">
                <p14:modId xmlns:p14="http://schemas.microsoft.com/office/powerpoint/2010/main" val="1439516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8" name="Object 67" hidden="1">
                        <a:extLst>
                          <a:ext uri="{FF2B5EF4-FFF2-40B4-BE49-F238E27FC236}">
                            <a16:creationId xmlns:a16="http://schemas.microsoft.com/office/drawing/2014/main" id="{A100C677-B418-4EDF-ABC6-CE08CDC695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oogle Shape;437;p8">
            <a:extLst>
              <a:ext uri="{FF2B5EF4-FFF2-40B4-BE49-F238E27FC236}">
                <a16:creationId xmlns:a16="http://schemas.microsoft.com/office/drawing/2014/main" id="{DFA3D236-3486-4F19-A7C5-E133BD55CE1C}"/>
              </a:ext>
            </a:extLst>
          </p:cNvPr>
          <p:cNvGrpSpPr/>
          <p:nvPr userDrawn="1"/>
        </p:nvGrpSpPr>
        <p:grpSpPr>
          <a:xfrm>
            <a:off x="-85616" y="5833206"/>
            <a:ext cx="12363231" cy="1214388"/>
            <a:chOff x="-45603" y="440026"/>
            <a:chExt cx="9272423" cy="910791"/>
          </a:xfrm>
        </p:grpSpPr>
        <p:sp>
          <p:nvSpPr>
            <p:cNvPr id="8" name="Google Shape;438;p8">
              <a:extLst>
                <a:ext uri="{FF2B5EF4-FFF2-40B4-BE49-F238E27FC236}">
                  <a16:creationId xmlns:a16="http://schemas.microsoft.com/office/drawing/2014/main" id="{52DDEDDC-15D2-4E4C-901E-42E502E2A8B1}"/>
                </a:ext>
              </a:extLst>
            </p:cNvPr>
            <p:cNvSpPr/>
            <p:nvPr/>
          </p:nvSpPr>
          <p:spPr>
            <a:xfrm>
              <a:off x="2176354" y="708034"/>
              <a:ext cx="281779" cy="397462"/>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9" name="Google Shape;439;p8">
              <a:extLst>
                <a:ext uri="{FF2B5EF4-FFF2-40B4-BE49-F238E27FC236}">
                  <a16:creationId xmlns:a16="http://schemas.microsoft.com/office/drawing/2014/main" id="{CA5C13E6-5A09-4E57-8AA5-E627EC086C2F}"/>
                </a:ext>
              </a:extLst>
            </p:cNvPr>
            <p:cNvSpPr/>
            <p:nvPr/>
          </p:nvSpPr>
          <p:spPr>
            <a:xfrm>
              <a:off x="552323" y="912340"/>
              <a:ext cx="339086" cy="309912"/>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0" name="Google Shape;440;p8">
              <a:extLst>
                <a:ext uri="{FF2B5EF4-FFF2-40B4-BE49-F238E27FC236}">
                  <a16:creationId xmlns:a16="http://schemas.microsoft.com/office/drawing/2014/main" id="{DAF7605A-6C97-4A29-A6C4-D0BCB41B7E04}"/>
                </a:ext>
              </a:extLst>
            </p:cNvPr>
            <p:cNvSpPr/>
            <p:nvPr/>
          </p:nvSpPr>
          <p:spPr>
            <a:xfrm rot="-2700000">
              <a:off x="4913658" y="470447"/>
              <a:ext cx="181249" cy="400170"/>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1" name="Google Shape;441;p8">
              <a:extLst>
                <a:ext uri="{FF2B5EF4-FFF2-40B4-BE49-F238E27FC236}">
                  <a16:creationId xmlns:a16="http://schemas.microsoft.com/office/drawing/2014/main" id="{95F694D8-E89D-4F85-B965-6ABB0FD294C9}"/>
                </a:ext>
              </a:extLst>
            </p:cNvPr>
            <p:cNvSpPr/>
            <p:nvPr/>
          </p:nvSpPr>
          <p:spPr>
            <a:xfrm rot="-1967309">
              <a:off x="27613" y="549243"/>
              <a:ext cx="142154" cy="312221"/>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2" name="Google Shape;442;p8">
              <a:extLst>
                <a:ext uri="{FF2B5EF4-FFF2-40B4-BE49-F238E27FC236}">
                  <a16:creationId xmlns:a16="http://schemas.microsoft.com/office/drawing/2014/main" id="{42F9A808-20E2-4D0D-BC85-EA2AD4EE89EA}"/>
                </a:ext>
              </a:extLst>
            </p:cNvPr>
            <p:cNvSpPr/>
            <p:nvPr/>
          </p:nvSpPr>
          <p:spPr>
            <a:xfrm>
              <a:off x="6508977" y="1054156"/>
              <a:ext cx="212880" cy="143991"/>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3" name="Google Shape;443;p8">
              <a:extLst>
                <a:ext uri="{FF2B5EF4-FFF2-40B4-BE49-F238E27FC236}">
                  <a16:creationId xmlns:a16="http://schemas.microsoft.com/office/drawing/2014/main" id="{0172F219-15C9-4DE3-85DB-880E95DE5D8E}"/>
                </a:ext>
              </a:extLst>
            </p:cNvPr>
            <p:cNvSpPr/>
            <p:nvPr/>
          </p:nvSpPr>
          <p:spPr>
            <a:xfrm>
              <a:off x="4683118" y="1001445"/>
              <a:ext cx="272854" cy="185024"/>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4" name="Google Shape;444;p8">
              <a:extLst>
                <a:ext uri="{FF2B5EF4-FFF2-40B4-BE49-F238E27FC236}">
                  <a16:creationId xmlns:a16="http://schemas.microsoft.com/office/drawing/2014/main" id="{59F8DCF2-19C0-4EC9-AB80-F9304608F1A7}"/>
                </a:ext>
              </a:extLst>
            </p:cNvPr>
            <p:cNvSpPr/>
            <p:nvPr/>
          </p:nvSpPr>
          <p:spPr>
            <a:xfrm rot="3663599">
              <a:off x="5966469" y="976075"/>
              <a:ext cx="204754" cy="377157"/>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5" name="Google Shape;445;p8">
              <a:extLst>
                <a:ext uri="{FF2B5EF4-FFF2-40B4-BE49-F238E27FC236}">
                  <a16:creationId xmlns:a16="http://schemas.microsoft.com/office/drawing/2014/main" id="{B918CB4E-9A2D-4280-B8D6-EAE731751A45}"/>
                </a:ext>
              </a:extLst>
            </p:cNvPr>
            <p:cNvSpPr/>
            <p:nvPr/>
          </p:nvSpPr>
          <p:spPr>
            <a:xfrm rot="-3368760">
              <a:off x="5437768" y="638636"/>
              <a:ext cx="351278" cy="93987"/>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6" name="Google Shape;446;p8">
              <a:extLst>
                <a:ext uri="{FF2B5EF4-FFF2-40B4-BE49-F238E27FC236}">
                  <a16:creationId xmlns:a16="http://schemas.microsoft.com/office/drawing/2014/main" id="{37435EF2-1CCA-4464-9F09-3ECBC1399B9C}"/>
                </a:ext>
              </a:extLst>
            </p:cNvPr>
            <p:cNvSpPr/>
            <p:nvPr/>
          </p:nvSpPr>
          <p:spPr>
            <a:xfrm rot="3013936">
              <a:off x="1856192" y="906044"/>
              <a:ext cx="112704" cy="289910"/>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7" name="Google Shape;447;p8">
              <a:extLst>
                <a:ext uri="{FF2B5EF4-FFF2-40B4-BE49-F238E27FC236}">
                  <a16:creationId xmlns:a16="http://schemas.microsoft.com/office/drawing/2014/main" id="{F7A74B35-E181-4700-99FD-FFD1E7C070B6}"/>
                </a:ext>
              </a:extLst>
            </p:cNvPr>
            <p:cNvSpPr/>
            <p:nvPr/>
          </p:nvSpPr>
          <p:spPr>
            <a:xfrm rot="2198047">
              <a:off x="3510054" y="793341"/>
              <a:ext cx="140231" cy="36705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8" name="Google Shape;448;p8">
              <a:extLst>
                <a:ext uri="{FF2B5EF4-FFF2-40B4-BE49-F238E27FC236}">
                  <a16:creationId xmlns:a16="http://schemas.microsoft.com/office/drawing/2014/main" id="{062EB108-DA8F-4CAA-A021-2FB10C1EC4F1}"/>
                </a:ext>
              </a:extLst>
            </p:cNvPr>
            <p:cNvSpPr/>
            <p:nvPr/>
          </p:nvSpPr>
          <p:spPr>
            <a:xfrm rot="9906392">
              <a:off x="7295836" y="1033664"/>
              <a:ext cx="191420" cy="182909"/>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9" name="Google Shape;449;p8">
              <a:extLst>
                <a:ext uri="{FF2B5EF4-FFF2-40B4-BE49-F238E27FC236}">
                  <a16:creationId xmlns:a16="http://schemas.microsoft.com/office/drawing/2014/main" id="{73D1FC50-BAC9-4E63-B3C2-BC7032F81AAD}"/>
                </a:ext>
              </a:extLst>
            </p:cNvPr>
            <p:cNvSpPr/>
            <p:nvPr/>
          </p:nvSpPr>
          <p:spPr>
            <a:xfrm>
              <a:off x="301831" y="611168"/>
              <a:ext cx="314135" cy="349552"/>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0" name="Google Shape;450;p8">
              <a:extLst>
                <a:ext uri="{FF2B5EF4-FFF2-40B4-BE49-F238E27FC236}">
                  <a16:creationId xmlns:a16="http://schemas.microsoft.com/office/drawing/2014/main" id="{5F9B7FB3-35F4-4CBE-A09C-F66F590CFFE8}"/>
                </a:ext>
              </a:extLst>
            </p:cNvPr>
            <p:cNvSpPr/>
            <p:nvPr/>
          </p:nvSpPr>
          <p:spPr>
            <a:xfrm>
              <a:off x="5200465" y="821938"/>
              <a:ext cx="313748" cy="356086"/>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1" name="Google Shape;451;p8">
              <a:extLst>
                <a:ext uri="{FF2B5EF4-FFF2-40B4-BE49-F238E27FC236}">
                  <a16:creationId xmlns:a16="http://schemas.microsoft.com/office/drawing/2014/main" id="{D916FBB6-384D-4771-8641-58BD9CD17907}"/>
                </a:ext>
              </a:extLst>
            </p:cNvPr>
            <p:cNvSpPr/>
            <p:nvPr/>
          </p:nvSpPr>
          <p:spPr>
            <a:xfrm rot="-988374">
              <a:off x="8793699" y="981136"/>
              <a:ext cx="395858" cy="320125"/>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2" name="Google Shape;452;p8">
              <a:extLst>
                <a:ext uri="{FF2B5EF4-FFF2-40B4-BE49-F238E27FC236}">
                  <a16:creationId xmlns:a16="http://schemas.microsoft.com/office/drawing/2014/main" id="{71BF65B1-EDAE-48BD-9611-9B3FAF80BFC6}"/>
                </a:ext>
              </a:extLst>
            </p:cNvPr>
            <p:cNvSpPr/>
            <p:nvPr/>
          </p:nvSpPr>
          <p:spPr>
            <a:xfrm rot="1179229">
              <a:off x="6978602" y="547675"/>
              <a:ext cx="347146" cy="378286"/>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3" name="Google Shape;453;p8">
              <a:extLst>
                <a:ext uri="{FF2B5EF4-FFF2-40B4-BE49-F238E27FC236}">
                  <a16:creationId xmlns:a16="http://schemas.microsoft.com/office/drawing/2014/main" id="{9BA01FEA-2993-4024-825B-1DB626CB98BB}"/>
                </a:ext>
              </a:extLst>
            </p:cNvPr>
            <p:cNvSpPr/>
            <p:nvPr/>
          </p:nvSpPr>
          <p:spPr>
            <a:xfrm>
              <a:off x="980841" y="910413"/>
              <a:ext cx="326644" cy="367792"/>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4" name="Google Shape;454;p8">
              <a:extLst>
                <a:ext uri="{FF2B5EF4-FFF2-40B4-BE49-F238E27FC236}">
                  <a16:creationId xmlns:a16="http://schemas.microsoft.com/office/drawing/2014/main" id="{99AD2AE6-9050-4889-82F2-C1419125FF29}"/>
                </a:ext>
              </a:extLst>
            </p:cNvPr>
            <p:cNvSpPr/>
            <p:nvPr/>
          </p:nvSpPr>
          <p:spPr>
            <a:xfrm>
              <a:off x="8699186" y="523462"/>
              <a:ext cx="403969" cy="323646"/>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5" name="Google Shape;455;p8">
              <a:extLst>
                <a:ext uri="{FF2B5EF4-FFF2-40B4-BE49-F238E27FC236}">
                  <a16:creationId xmlns:a16="http://schemas.microsoft.com/office/drawing/2014/main" id="{C57713A8-CEA2-47F3-BD43-6ADEB3FE868B}"/>
                </a:ext>
              </a:extLst>
            </p:cNvPr>
            <p:cNvSpPr/>
            <p:nvPr/>
          </p:nvSpPr>
          <p:spPr>
            <a:xfrm>
              <a:off x="6870722" y="1009504"/>
              <a:ext cx="256151" cy="229019"/>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6" name="Google Shape;456;p8">
              <a:extLst>
                <a:ext uri="{FF2B5EF4-FFF2-40B4-BE49-F238E27FC236}">
                  <a16:creationId xmlns:a16="http://schemas.microsoft.com/office/drawing/2014/main" id="{7E90AF16-2D94-4AA6-8F4F-BA951107600C}"/>
                </a:ext>
              </a:extLst>
            </p:cNvPr>
            <p:cNvSpPr/>
            <p:nvPr/>
          </p:nvSpPr>
          <p:spPr>
            <a:xfrm rot="-2424567">
              <a:off x="1204048" y="475241"/>
              <a:ext cx="211213" cy="278694"/>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7" name="Google Shape;457;p8">
              <a:extLst>
                <a:ext uri="{FF2B5EF4-FFF2-40B4-BE49-F238E27FC236}">
                  <a16:creationId xmlns:a16="http://schemas.microsoft.com/office/drawing/2014/main" id="{C9486BE3-4E3B-4C58-A77A-744CDAC1B7B6}"/>
                </a:ext>
              </a:extLst>
            </p:cNvPr>
            <p:cNvSpPr/>
            <p:nvPr/>
          </p:nvSpPr>
          <p:spPr>
            <a:xfrm>
              <a:off x="7556769" y="607048"/>
              <a:ext cx="402022" cy="236475"/>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28" name="Google Shape;458;p8">
              <a:extLst>
                <a:ext uri="{FF2B5EF4-FFF2-40B4-BE49-F238E27FC236}">
                  <a16:creationId xmlns:a16="http://schemas.microsoft.com/office/drawing/2014/main" id="{3C6F0935-C1C0-463D-A543-D7A18AF418BF}"/>
                </a:ext>
              </a:extLst>
            </p:cNvPr>
            <p:cNvGrpSpPr/>
            <p:nvPr/>
          </p:nvGrpSpPr>
          <p:grpSpPr>
            <a:xfrm rot="890855">
              <a:off x="3181660" y="515636"/>
              <a:ext cx="370663" cy="217580"/>
              <a:chOff x="1429156" y="1387535"/>
              <a:chExt cx="657769" cy="386112"/>
            </a:xfrm>
          </p:grpSpPr>
          <p:sp>
            <p:nvSpPr>
              <p:cNvPr id="65" name="Google Shape;459;p8">
                <a:extLst>
                  <a:ext uri="{FF2B5EF4-FFF2-40B4-BE49-F238E27FC236}">
                    <a16:creationId xmlns:a16="http://schemas.microsoft.com/office/drawing/2014/main" id="{398577B8-887D-49A3-BAB5-913FE53A8C39}"/>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6" name="Google Shape;460;p8">
                <a:extLst>
                  <a:ext uri="{FF2B5EF4-FFF2-40B4-BE49-F238E27FC236}">
                    <a16:creationId xmlns:a16="http://schemas.microsoft.com/office/drawing/2014/main" id="{EFA2CCDF-E88F-49CB-8522-55A21ECFC218}"/>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29" name="Google Shape;461;p8">
              <a:extLst>
                <a:ext uri="{FF2B5EF4-FFF2-40B4-BE49-F238E27FC236}">
                  <a16:creationId xmlns:a16="http://schemas.microsoft.com/office/drawing/2014/main" id="{B70BC019-5B58-4937-8117-6773BDC0F1EF}"/>
                </a:ext>
              </a:extLst>
            </p:cNvPr>
            <p:cNvSpPr/>
            <p:nvPr/>
          </p:nvSpPr>
          <p:spPr>
            <a:xfrm rot="-2499483">
              <a:off x="4165391" y="919169"/>
              <a:ext cx="428994" cy="113072"/>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0" name="Google Shape;462;p8">
              <a:extLst>
                <a:ext uri="{FF2B5EF4-FFF2-40B4-BE49-F238E27FC236}">
                  <a16:creationId xmlns:a16="http://schemas.microsoft.com/office/drawing/2014/main" id="{037CE266-13C0-448C-A563-1454B36CFBA4}"/>
                </a:ext>
              </a:extLst>
            </p:cNvPr>
            <p:cNvSpPr/>
            <p:nvPr/>
          </p:nvSpPr>
          <p:spPr>
            <a:xfrm>
              <a:off x="674582" y="523294"/>
              <a:ext cx="375105" cy="294447"/>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31" name="Google Shape;463;p8">
              <a:extLst>
                <a:ext uri="{FF2B5EF4-FFF2-40B4-BE49-F238E27FC236}">
                  <a16:creationId xmlns:a16="http://schemas.microsoft.com/office/drawing/2014/main" id="{27EDFF7F-5034-4BC9-BE8B-3E6D7C6197BC}"/>
                </a:ext>
              </a:extLst>
            </p:cNvPr>
            <p:cNvGrpSpPr/>
            <p:nvPr/>
          </p:nvGrpSpPr>
          <p:grpSpPr>
            <a:xfrm>
              <a:off x="3707787" y="505390"/>
              <a:ext cx="212392" cy="256778"/>
              <a:chOff x="1010452" y="1144365"/>
              <a:chExt cx="376916" cy="455685"/>
            </a:xfrm>
          </p:grpSpPr>
          <p:sp>
            <p:nvSpPr>
              <p:cNvPr id="63" name="Google Shape;464;p8">
                <a:extLst>
                  <a:ext uri="{FF2B5EF4-FFF2-40B4-BE49-F238E27FC236}">
                    <a16:creationId xmlns:a16="http://schemas.microsoft.com/office/drawing/2014/main" id="{2FFF5DD8-0F93-4F46-AD24-11024FDF3236}"/>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4" name="Google Shape;465;p8">
                <a:extLst>
                  <a:ext uri="{FF2B5EF4-FFF2-40B4-BE49-F238E27FC236}">
                    <a16:creationId xmlns:a16="http://schemas.microsoft.com/office/drawing/2014/main" id="{747E638D-D925-4CD5-BA8E-12E806D795E9}"/>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32" name="Google Shape;466;p8">
              <a:extLst>
                <a:ext uri="{FF2B5EF4-FFF2-40B4-BE49-F238E27FC236}">
                  <a16:creationId xmlns:a16="http://schemas.microsoft.com/office/drawing/2014/main" id="{4DFA9240-E771-4987-974F-DCEF5FC6723C}"/>
                </a:ext>
              </a:extLst>
            </p:cNvPr>
            <p:cNvSpPr/>
            <p:nvPr/>
          </p:nvSpPr>
          <p:spPr>
            <a:xfrm rot="-1100489">
              <a:off x="8420309" y="672386"/>
              <a:ext cx="223722" cy="226855"/>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3" name="Google Shape;467;p8">
              <a:extLst>
                <a:ext uri="{FF2B5EF4-FFF2-40B4-BE49-F238E27FC236}">
                  <a16:creationId xmlns:a16="http://schemas.microsoft.com/office/drawing/2014/main" id="{5FE706DA-1126-4F4C-8BBA-DC7AC43A2500}"/>
                </a:ext>
              </a:extLst>
            </p:cNvPr>
            <p:cNvSpPr/>
            <p:nvPr/>
          </p:nvSpPr>
          <p:spPr>
            <a:xfrm>
              <a:off x="3572521" y="981550"/>
              <a:ext cx="255529" cy="288428"/>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4" name="Google Shape;468;p8">
              <a:extLst>
                <a:ext uri="{FF2B5EF4-FFF2-40B4-BE49-F238E27FC236}">
                  <a16:creationId xmlns:a16="http://schemas.microsoft.com/office/drawing/2014/main" id="{663F8069-EBEA-4D62-B798-7843177FF1CB}"/>
                </a:ext>
              </a:extLst>
            </p:cNvPr>
            <p:cNvSpPr/>
            <p:nvPr/>
          </p:nvSpPr>
          <p:spPr>
            <a:xfrm rot="1800079">
              <a:off x="8229930" y="1002016"/>
              <a:ext cx="198020" cy="248076"/>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5" name="Google Shape;469;p8">
              <a:extLst>
                <a:ext uri="{FF2B5EF4-FFF2-40B4-BE49-F238E27FC236}">
                  <a16:creationId xmlns:a16="http://schemas.microsoft.com/office/drawing/2014/main" id="{6D8D561E-D592-4F4A-A43C-EC6417F3F195}"/>
                </a:ext>
              </a:extLst>
            </p:cNvPr>
            <p:cNvSpPr/>
            <p:nvPr/>
          </p:nvSpPr>
          <p:spPr>
            <a:xfrm>
              <a:off x="3943429" y="927518"/>
              <a:ext cx="163399" cy="25729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6" name="Google Shape;470;p8">
              <a:extLst>
                <a:ext uri="{FF2B5EF4-FFF2-40B4-BE49-F238E27FC236}">
                  <a16:creationId xmlns:a16="http://schemas.microsoft.com/office/drawing/2014/main" id="{A2209A31-DFA2-4D5E-AC37-61A897B80BA2}"/>
                </a:ext>
              </a:extLst>
            </p:cNvPr>
            <p:cNvSpPr/>
            <p:nvPr/>
          </p:nvSpPr>
          <p:spPr>
            <a:xfrm>
              <a:off x="4038156" y="505004"/>
              <a:ext cx="340006" cy="361563"/>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7" name="Google Shape;471;p8">
              <a:extLst>
                <a:ext uri="{FF2B5EF4-FFF2-40B4-BE49-F238E27FC236}">
                  <a16:creationId xmlns:a16="http://schemas.microsoft.com/office/drawing/2014/main" id="{5129EA7F-C30F-425A-947A-D527198CD2FD}"/>
                </a:ext>
              </a:extLst>
            </p:cNvPr>
            <p:cNvSpPr/>
            <p:nvPr/>
          </p:nvSpPr>
          <p:spPr>
            <a:xfrm>
              <a:off x="2854633" y="688547"/>
              <a:ext cx="416637" cy="259709"/>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8" name="Google Shape;472;p8">
              <a:extLst>
                <a:ext uri="{FF2B5EF4-FFF2-40B4-BE49-F238E27FC236}">
                  <a16:creationId xmlns:a16="http://schemas.microsoft.com/office/drawing/2014/main" id="{5881CFEE-ADE8-48E5-AB7C-68CB9039AA11}"/>
                </a:ext>
              </a:extLst>
            </p:cNvPr>
            <p:cNvSpPr/>
            <p:nvPr/>
          </p:nvSpPr>
          <p:spPr>
            <a:xfrm rot="-1252057">
              <a:off x="6497159" y="534061"/>
              <a:ext cx="204722" cy="302187"/>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9" name="Google Shape;473;p8">
              <a:extLst>
                <a:ext uri="{FF2B5EF4-FFF2-40B4-BE49-F238E27FC236}">
                  <a16:creationId xmlns:a16="http://schemas.microsoft.com/office/drawing/2014/main" id="{69E898E1-6FA4-4718-AFF7-3DC996848B50}"/>
                </a:ext>
              </a:extLst>
            </p:cNvPr>
            <p:cNvSpPr/>
            <p:nvPr/>
          </p:nvSpPr>
          <p:spPr>
            <a:xfrm>
              <a:off x="2537776" y="539860"/>
              <a:ext cx="230803" cy="290180"/>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0" name="Google Shape;474;p8">
              <a:extLst>
                <a:ext uri="{FF2B5EF4-FFF2-40B4-BE49-F238E27FC236}">
                  <a16:creationId xmlns:a16="http://schemas.microsoft.com/office/drawing/2014/main" id="{F154A736-934B-41BD-A76B-8E0C52C1AE46}"/>
                </a:ext>
              </a:extLst>
            </p:cNvPr>
            <p:cNvSpPr/>
            <p:nvPr/>
          </p:nvSpPr>
          <p:spPr>
            <a:xfrm>
              <a:off x="5713194" y="743996"/>
              <a:ext cx="256984" cy="24403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1" name="Google Shape;475;p8">
              <a:extLst>
                <a:ext uri="{FF2B5EF4-FFF2-40B4-BE49-F238E27FC236}">
                  <a16:creationId xmlns:a16="http://schemas.microsoft.com/office/drawing/2014/main" id="{C3AC04FE-8671-498F-828D-203CBC0BB635}"/>
                </a:ext>
              </a:extLst>
            </p:cNvPr>
            <p:cNvSpPr/>
            <p:nvPr/>
          </p:nvSpPr>
          <p:spPr>
            <a:xfrm>
              <a:off x="2507283" y="945803"/>
              <a:ext cx="99390" cy="211075"/>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2" name="Google Shape;476;p8">
              <a:extLst>
                <a:ext uri="{FF2B5EF4-FFF2-40B4-BE49-F238E27FC236}">
                  <a16:creationId xmlns:a16="http://schemas.microsoft.com/office/drawing/2014/main" id="{63F18C92-17B7-43A5-A68C-C450B779DADC}"/>
                </a:ext>
              </a:extLst>
            </p:cNvPr>
            <p:cNvSpPr/>
            <p:nvPr/>
          </p:nvSpPr>
          <p:spPr>
            <a:xfrm>
              <a:off x="8045390" y="829868"/>
              <a:ext cx="135793" cy="114511"/>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3" name="Google Shape;477;p8">
              <a:extLst>
                <a:ext uri="{FF2B5EF4-FFF2-40B4-BE49-F238E27FC236}">
                  <a16:creationId xmlns:a16="http://schemas.microsoft.com/office/drawing/2014/main" id="{417EB980-32D0-4DC4-A6C4-7E6D846EC924}"/>
                </a:ext>
              </a:extLst>
            </p:cNvPr>
            <p:cNvSpPr/>
            <p:nvPr/>
          </p:nvSpPr>
          <p:spPr>
            <a:xfrm>
              <a:off x="5019180" y="1018026"/>
              <a:ext cx="99190" cy="9853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4" name="Google Shape;478;p8">
              <a:extLst>
                <a:ext uri="{FF2B5EF4-FFF2-40B4-BE49-F238E27FC236}">
                  <a16:creationId xmlns:a16="http://schemas.microsoft.com/office/drawing/2014/main" id="{381163EF-7629-4CFF-B559-9851352F5ACF}"/>
                </a:ext>
              </a:extLst>
            </p:cNvPr>
            <p:cNvSpPr/>
            <p:nvPr/>
          </p:nvSpPr>
          <p:spPr>
            <a:xfrm rot="9301126">
              <a:off x="6297718" y="732778"/>
              <a:ext cx="123698" cy="266216"/>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5" name="Google Shape;479;p8">
              <a:extLst>
                <a:ext uri="{FF2B5EF4-FFF2-40B4-BE49-F238E27FC236}">
                  <a16:creationId xmlns:a16="http://schemas.microsoft.com/office/drawing/2014/main" id="{0F50E663-39E1-4AD0-93A3-1908DAE033F1}"/>
                </a:ext>
              </a:extLst>
            </p:cNvPr>
            <p:cNvSpPr/>
            <p:nvPr/>
          </p:nvSpPr>
          <p:spPr>
            <a:xfrm>
              <a:off x="1756780" y="575182"/>
              <a:ext cx="134585" cy="137354"/>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6" name="Google Shape;480;p8">
              <a:extLst>
                <a:ext uri="{FF2B5EF4-FFF2-40B4-BE49-F238E27FC236}">
                  <a16:creationId xmlns:a16="http://schemas.microsoft.com/office/drawing/2014/main" id="{71494E0A-A727-4295-A68E-7B51FCE149E5}"/>
                </a:ext>
              </a:extLst>
            </p:cNvPr>
            <p:cNvSpPr/>
            <p:nvPr/>
          </p:nvSpPr>
          <p:spPr>
            <a:xfrm>
              <a:off x="4716478" y="737980"/>
              <a:ext cx="145419" cy="160635"/>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7" name="Google Shape;481;p8">
              <a:extLst>
                <a:ext uri="{FF2B5EF4-FFF2-40B4-BE49-F238E27FC236}">
                  <a16:creationId xmlns:a16="http://schemas.microsoft.com/office/drawing/2014/main" id="{631DB046-E1DA-46FF-B77D-914F220E12DF}"/>
                </a:ext>
              </a:extLst>
            </p:cNvPr>
            <p:cNvSpPr/>
            <p:nvPr/>
          </p:nvSpPr>
          <p:spPr>
            <a:xfrm>
              <a:off x="1639378" y="819333"/>
              <a:ext cx="126045" cy="135687"/>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8" name="Google Shape;482;p8">
              <a:extLst>
                <a:ext uri="{FF2B5EF4-FFF2-40B4-BE49-F238E27FC236}">
                  <a16:creationId xmlns:a16="http://schemas.microsoft.com/office/drawing/2014/main" id="{6C3F2E69-7F19-4BB4-9196-BC1986750B11}"/>
                </a:ext>
              </a:extLst>
            </p:cNvPr>
            <p:cNvSpPr/>
            <p:nvPr/>
          </p:nvSpPr>
          <p:spPr>
            <a:xfrm>
              <a:off x="8172573" y="555140"/>
              <a:ext cx="115263" cy="15729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9" name="Google Shape;483;p8">
              <a:extLst>
                <a:ext uri="{FF2B5EF4-FFF2-40B4-BE49-F238E27FC236}">
                  <a16:creationId xmlns:a16="http://schemas.microsoft.com/office/drawing/2014/main" id="{9B2453D0-FA03-4643-84F5-9E3C91A5CBC8}"/>
                </a:ext>
              </a:extLst>
            </p:cNvPr>
            <p:cNvSpPr/>
            <p:nvPr/>
          </p:nvSpPr>
          <p:spPr>
            <a:xfrm>
              <a:off x="4481735" y="547509"/>
              <a:ext cx="87093" cy="153839"/>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0" name="Google Shape;484;p8">
              <a:extLst>
                <a:ext uri="{FF2B5EF4-FFF2-40B4-BE49-F238E27FC236}">
                  <a16:creationId xmlns:a16="http://schemas.microsoft.com/office/drawing/2014/main" id="{9807AEC3-39CD-4D14-B42A-CD3D9393FE2E}"/>
                </a:ext>
              </a:extLst>
            </p:cNvPr>
            <p:cNvSpPr/>
            <p:nvPr/>
          </p:nvSpPr>
          <p:spPr>
            <a:xfrm>
              <a:off x="2048182" y="505004"/>
              <a:ext cx="126077" cy="173483"/>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1" name="Google Shape;485;p8">
              <a:extLst>
                <a:ext uri="{FF2B5EF4-FFF2-40B4-BE49-F238E27FC236}">
                  <a16:creationId xmlns:a16="http://schemas.microsoft.com/office/drawing/2014/main" id="{796D8525-F78B-4E8E-B835-32B685225339}"/>
                </a:ext>
              </a:extLst>
            </p:cNvPr>
            <p:cNvSpPr/>
            <p:nvPr/>
          </p:nvSpPr>
          <p:spPr>
            <a:xfrm>
              <a:off x="126658" y="1006747"/>
              <a:ext cx="126356" cy="163706"/>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2" name="Google Shape;486;p8">
              <a:extLst>
                <a:ext uri="{FF2B5EF4-FFF2-40B4-BE49-F238E27FC236}">
                  <a16:creationId xmlns:a16="http://schemas.microsoft.com/office/drawing/2014/main" id="{1ED48132-0E3B-4C9F-8080-7B4FB0379E28}"/>
                </a:ext>
              </a:extLst>
            </p:cNvPr>
            <p:cNvGrpSpPr/>
            <p:nvPr/>
          </p:nvGrpSpPr>
          <p:grpSpPr>
            <a:xfrm>
              <a:off x="7836651" y="987182"/>
              <a:ext cx="121750" cy="155749"/>
              <a:chOff x="6422295" y="3351500"/>
              <a:chExt cx="252856" cy="323399"/>
            </a:xfrm>
          </p:grpSpPr>
          <p:sp>
            <p:nvSpPr>
              <p:cNvPr id="61" name="Google Shape;487;p8">
                <a:extLst>
                  <a:ext uri="{FF2B5EF4-FFF2-40B4-BE49-F238E27FC236}">
                    <a16:creationId xmlns:a16="http://schemas.microsoft.com/office/drawing/2014/main" id="{865D144E-115E-4C0F-858B-7AD446047D5F}"/>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2" name="Google Shape;488;p8">
                <a:extLst>
                  <a:ext uri="{FF2B5EF4-FFF2-40B4-BE49-F238E27FC236}">
                    <a16:creationId xmlns:a16="http://schemas.microsoft.com/office/drawing/2014/main" id="{FBDD473D-941E-49C0-95D2-5368D36472F6}"/>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3" name="Google Shape;489;p8">
              <a:extLst>
                <a:ext uri="{FF2B5EF4-FFF2-40B4-BE49-F238E27FC236}">
                  <a16:creationId xmlns:a16="http://schemas.microsoft.com/office/drawing/2014/main" id="{2CFDE35F-9C93-41AA-AF39-B673BE122D10}"/>
                </a:ext>
              </a:extLst>
            </p:cNvPr>
            <p:cNvSpPr/>
            <p:nvPr/>
          </p:nvSpPr>
          <p:spPr>
            <a:xfrm>
              <a:off x="1353734" y="881315"/>
              <a:ext cx="187420" cy="190001"/>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4" name="Google Shape;490;p8">
              <a:extLst>
                <a:ext uri="{FF2B5EF4-FFF2-40B4-BE49-F238E27FC236}">
                  <a16:creationId xmlns:a16="http://schemas.microsoft.com/office/drawing/2014/main" id="{205D0610-BF1E-4924-B2BC-5F952001F3CA}"/>
                </a:ext>
              </a:extLst>
            </p:cNvPr>
            <p:cNvSpPr/>
            <p:nvPr/>
          </p:nvSpPr>
          <p:spPr>
            <a:xfrm>
              <a:off x="6088369" y="586056"/>
              <a:ext cx="149720" cy="115699"/>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5" name="Google Shape;491;p8">
              <a:extLst>
                <a:ext uri="{FF2B5EF4-FFF2-40B4-BE49-F238E27FC236}">
                  <a16:creationId xmlns:a16="http://schemas.microsoft.com/office/drawing/2014/main" id="{644799B6-39C4-4EDA-90F6-B1BA328AF112}"/>
                </a:ext>
              </a:extLst>
            </p:cNvPr>
            <p:cNvGrpSpPr/>
            <p:nvPr/>
          </p:nvGrpSpPr>
          <p:grpSpPr>
            <a:xfrm>
              <a:off x="3137402" y="1006079"/>
              <a:ext cx="129429" cy="165162"/>
              <a:chOff x="6793660" y="3322411"/>
              <a:chExt cx="268804" cy="342944"/>
            </a:xfrm>
          </p:grpSpPr>
          <p:sp>
            <p:nvSpPr>
              <p:cNvPr id="58" name="Google Shape;492;p8">
                <a:extLst>
                  <a:ext uri="{FF2B5EF4-FFF2-40B4-BE49-F238E27FC236}">
                    <a16:creationId xmlns:a16="http://schemas.microsoft.com/office/drawing/2014/main" id="{DA90D220-A61A-410A-82F9-F4435DFF17DB}"/>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9" name="Google Shape;493;p8">
                <a:extLst>
                  <a:ext uri="{FF2B5EF4-FFF2-40B4-BE49-F238E27FC236}">
                    <a16:creationId xmlns:a16="http://schemas.microsoft.com/office/drawing/2014/main" id="{9207D843-5CE4-4D01-AACF-727765A8CE11}"/>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0" name="Google Shape;494;p8">
                <a:extLst>
                  <a:ext uri="{FF2B5EF4-FFF2-40B4-BE49-F238E27FC236}">
                    <a16:creationId xmlns:a16="http://schemas.microsoft.com/office/drawing/2014/main" id="{3B7AA49C-B52E-45C3-B4F0-5DB3CE9ACE95}"/>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6" name="Google Shape;495;p8">
              <a:extLst>
                <a:ext uri="{FF2B5EF4-FFF2-40B4-BE49-F238E27FC236}">
                  <a16:creationId xmlns:a16="http://schemas.microsoft.com/office/drawing/2014/main" id="{6F723D16-9CA1-4043-8ACE-CDD24A84CAAE}"/>
                </a:ext>
              </a:extLst>
            </p:cNvPr>
            <p:cNvSpPr/>
            <p:nvPr/>
          </p:nvSpPr>
          <p:spPr>
            <a:xfrm>
              <a:off x="2776508" y="1006744"/>
              <a:ext cx="212021" cy="115156"/>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7" name="Google Shape;496;p8">
              <a:extLst>
                <a:ext uri="{FF2B5EF4-FFF2-40B4-BE49-F238E27FC236}">
                  <a16:creationId xmlns:a16="http://schemas.microsoft.com/office/drawing/2014/main" id="{C4E55DC9-07C5-4BD4-87D7-ECDF770DF217}"/>
                </a:ext>
              </a:extLst>
            </p:cNvPr>
            <p:cNvSpPr/>
            <p:nvPr/>
          </p:nvSpPr>
          <p:spPr>
            <a:xfrm rot="1466637">
              <a:off x="5246242" y="579297"/>
              <a:ext cx="132710" cy="129208"/>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2" name="Title 1"/>
          <p:cNvSpPr>
            <a:spLocks noGrp="1"/>
          </p:cNvSpPr>
          <p:nvPr>
            <p:ph type="title" hasCustomPrompt="1"/>
          </p:nvPr>
        </p:nvSpPr>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18018371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BB53CDE-9890-4DBB-BE92-8111C65D2AE8}"/>
              </a:ext>
            </a:extLst>
          </p:cNvPr>
          <p:cNvGraphicFramePr>
            <a:graphicFrameLocks noChangeAspect="1"/>
          </p:cNvGraphicFramePr>
          <p:nvPr userDrawn="1">
            <p:custDataLst>
              <p:tags r:id="rId1"/>
            </p:custDataLst>
            <p:extLst>
              <p:ext uri="{D42A27DB-BD31-4B8C-83A1-F6EECF244321}">
                <p14:modId xmlns:p14="http://schemas.microsoft.com/office/powerpoint/2010/main" val="1767268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3BB53CDE-9890-4DBB-BE92-8111C65D2A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a:xfrm>
            <a:off x="1350000" y="1122363"/>
            <a:ext cx="8509963" cy="1984631"/>
          </a:xfrm>
        </p:spPr>
        <p:txBody>
          <a:bodyPr vert="horz" anchor="b"/>
          <a:lstStyle>
            <a:lvl1pPr algn="l" rtl="0">
              <a:defRPr sz="6000">
                <a:solidFill>
                  <a:schemeClr val="accent2"/>
                </a:solidFill>
              </a:defRPr>
            </a:lvl1pPr>
          </a:lstStyle>
          <a:p>
            <a:r>
              <a:rPr lang="da-DK" noProof="0"/>
              <a:t>Click to add </a:t>
            </a:r>
            <a:r>
              <a:rPr lang="da-DK"/>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da-DK" smtClean="0"/>
              <a:pPr/>
              <a:t>19-06-2024</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785830897"/>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66A539-0101-4A82-B9C3-F577CEB05A9E}"/>
              </a:ext>
            </a:extLst>
          </p:cNvPr>
          <p:cNvGraphicFramePr>
            <a:graphicFrameLocks noChangeAspect="1"/>
          </p:cNvGraphicFramePr>
          <p:nvPr userDrawn="1">
            <p:custDataLst>
              <p:tags r:id="rId1"/>
            </p:custDataLst>
            <p:extLst>
              <p:ext uri="{D42A27DB-BD31-4B8C-83A1-F6EECF244321}">
                <p14:modId xmlns:p14="http://schemas.microsoft.com/office/powerpoint/2010/main" val="110371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166A539-0101-4A82-B9C3-F577CEB05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rtl="0">
              <a:defRPr sz="100">
                <a:noFill/>
              </a:defRPr>
            </a:lvl1pPr>
          </a:lstStyle>
          <a:p>
            <a:fld id="{1466C188-1D45-4F08-8DB4-23F6002C2B91}" type="datetime1">
              <a:rPr lang="da-DK" smtClean="0"/>
              <a:pPr/>
              <a:t>19-06-2024</a:t>
            </a:fld>
            <a:endParaRPr lang="da-DK"/>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vert="horz" anchor="b"/>
          <a:lstStyle>
            <a:lvl1pPr algn="l" rtl="0">
              <a:defRPr sz="6000">
                <a:solidFill>
                  <a:schemeClr val="bg1"/>
                </a:solidFill>
              </a:defRPr>
            </a:lvl1pPr>
          </a:lstStyle>
          <a:p>
            <a:r>
              <a:rPr lang="da-DK" noProof="0"/>
              <a:t>Click to add </a:t>
            </a:r>
            <a:r>
              <a:rPr lang="da-DK"/>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Tree>
    <p:extLst>
      <p:ext uri="{BB962C8B-B14F-4D97-AF65-F5344CB8AC3E}">
        <p14:creationId xmlns:p14="http://schemas.microsoft.com/office/powerpoint/2010/main" val="135973420"/>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A44A42-9A21-496B-8550-E0C5720EF5BA}"/>
              </a:ext>
            </a:extLst>
          </p:cNvPr>
          <p:cNvGraphicFramePr>
            <a:graphicFrameLocks noChangeAspect="1"/>
          </p:cNvGraphicFramePr>
          <p:nvPr userDrawn="1">
            <p:custDataLst>
              <p:tags r:id="rId1"/>
            </p:custDataLst>
            <p:extLst>
              <p:ext uri="{D42A27DB-BD31-4B8C-83A1-F6EECF244321}">
                <p14:modId xmlns:p14="http://schemas.microsoft.com/office/powerpoint/2010/main" val="2239372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C5A44A42-9A21-496B-8550-E0C5720EF5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endParaRPr lang="da-DK"/>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da-DK" smtClean="0"/>
              <a:pPr/>
              <a:t>19-06-2024</a:t>
            </a:fld>
            <a:endParaRPr lang="da-DK"/>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9429470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DF22F3-2934-407B-B386-5E19FC8C9F3E}"/>
              </a:ext>
            </a:extLst>
          </p:cNvPr>
          <p:cNvGraphicFramePr>
            <a:graphicFrameLocks noChangeAspect="1"/>
          </p:cNvGraphicFramePr>
          <p:nvPr userDrawn="1">
            <p:custDataLst>
              <p:tags r:id="rId1"/>
            </p:custDataLst>
            <p:extLst>
              <p:ext uri="{D42A27DB-BD31-4B8C-83A1-F6EECF244321}">
                <p14:modId xmlns:p14="http://schemas.microsoft.com/office/powerpoint/2010/main" val="1139108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9DF22F3-2934-407B-B386-5E19FC8C9F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da-DK" smtClean="0"/>
              <a:pPr/>
              <a:t>19-06-2024</a:t>
            </a:fld>
            <a:endParaRPr lang="da-DK"/>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015500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B59735-DCF7-4C85-B703-F0D90F8EA2BD}"/>
              </a:ext>
            </a:extLst>
          </p:cNvPr>
          <p:cNvGraphicFramePr>
            <a:graphicFrameLocks noChangeAspect="1"/>
          </p:cNvGraphicFramePr>
          <p:nvPr userDrawn="1">
            <p:custDataLst>
              <p:tags r:id="rId1"/>
            </p:custDataLst>
            <p:extLst>
              <p:ext uri="{D42A27DB-BD31-4B8C-83A1-F6EECF244321}">
                <p14:modId xmlns:p14="http://schemas.microsoft.com/office/powerpoint/2010/main" val="3913615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5FB59735-DCF7-4C85-B703-F0D90F8EA2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8E8C12B2-0AE5-428E-985F-E18D4DA17AC7}" type="datetime1">
              <a:rPr lang="da-DK" smtClean="0"/>
              <a:pPr/>
              <a:t>19-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360000" y="654050"/>
            <a:ext cx="11471638" cy="938213"/>
          </a:xfrm>
        </p:spPr>
        <p:txBody>
          <a:bodyPr vert="horz" anchor="t" anchorCtr="0"/>
          <a:lstStyle>
            <a:lvl1pPr algn="l" rtl="0">
              <a:defRPr sz="6000">
                <a:solidFill>
                  <a:schemeClr val="bg2"/>
                </a:solidFill>
              </a:defRPr>
            </a:lvl1pPr>
          </a:lstStyle>
          <a:p>
            <a:r>
              <a:rPr lang="da-DK" noProof="0"/>
              <a:t>Click to add </a:t>
            </a:r>
            <a:r>
              <a:rPr lang="da-DK"/>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2799866313"/>
      </p:ext>
    </p:extLst>
  </p:cSld>
  <p:clrMapOvr>
    <a:overrideClrMapping bg1="dk1" tx1="lt1" bg2="dk2" tx2="lt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00ADF0-CFE3-4E1E-A6F1-50578BEF7A5A}"/>
              </a:ext>
            </a:extLst>
          </p:cNvPr>
          <p:cNvGraphicFramePr>
            <a:graphicFrameLocks noChangeAspect="1"/>
          </p:cNvGraphicFramePr>
          <p:nvPr userDrawn="1">
            <p:custDataLst>
              <p:tags r:id="rId1"/>
            </p:custDataLst>
            <p:extLst>
              <p:ext uri="{D42A27DB-BD31-4B8C-83A1-F6EECF244321}">
                <p14:modId xmlns:p14="http://schemas.microsoft.com/office/powerpoint/2010/main" val="51873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8B00ADF0-CFE3-4E1E-A6F1-50578BEF7A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19-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1"/>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3209672871"/>
      </p:ext>
    </p:extLst>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05142B-6D8F-49A5-8C11-B0866A0D6D5F}"/>
              </a:ext>
            </a:extLst>
          </p:cNvPr>
          <p:cNvGraphicFramePr>
            <a:graphicFrameLocks noChangeAspect="1"/>
          </p:cNvGraphicFramePr>
          <p:nvPr userDrawn="1">
            <p:custDataLst>
              <p:tags r:id="rId1"/>
            </p:custDataLst>
            <p:extLst>
              <p:ext uri="{D42A27DB-BD31-4B8C-83A1-F6EECF244321}">
                <p14:modId xmlns:p14="http://schemas.microsoft.com/office/powerpoint/2010/main" val="1013710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705142B-6D8F-49A5-8C11-B0866A0D6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19-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2"/>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464205823"/>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EFBFFD-CEF3-49D8-9E2C-F36F01EA735A}"/>
              </a:ext>
            </a:extLst>
          </p:cNvPr>
          <p:cNvGraphicFramePr>
            <a:graphicFrameLocks noChangeAspect="1"/>
          </p:cNvGraphicFramePr>
          <p:nvPr userDrawn="1">
            <p:custDataLst>
              <p:tags r:id="rId1"/>
            </p:custDataLst>
            <p:extLst>
              <p:ext uri="{D42A27DB-BD31-4B8C-83A1-F6EECF244321}">
                <p14:modId xmlns:p14="http://schemas.microsoft.com/office/powerpoint/2010/main" val="130829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AFEFBFFD-CEF3-49D8-9E2C-F36F01EA73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A6F26645-C2A2-4B76-9EB3-5D9CA57B224A}" type="datetime1">
              <a:rPr lang="da-DK" smtClean="0"/>
              <a:pPr/>
              <a:t>19-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468074775"/>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C198CB-AAA7-4F5B-A35F-DE9960E6AC38}"/>
              </a:ext>
            </a:extLst>
          </p:cNvPr>
          <p:cNvGraphicFramePr>
            <a:graphicFrameLocks noChangeAspect="1"/>
          </p:cNvGraphicFramePr>
          <p:nvPr userDrawn="1">
            <p:custDataLst>
              <p:tags r:id="rId1"/>
            </p:custDataLst>
            <p:extLst>
              <p:ext uri="{D42A27DB-BD31-4B8C-83A1-F6EECF244321}">
                <p14:modId xmlns:p14="http://schemas.microsoft.com/office/powerpoint/2010/main" val="1305316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F2C198CB-AAA7-4F5B-A35F-DE9960E6AC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F25BA43C-8502-4266-A056-72866794E701}" type="datetime1">
              <a:rPr lang="da-DK" smtClean="0"/>
              <a:pPr/>
              <a:t>19-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101826671"/>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CADD21-FA21-4BEC-9BE4-76FA96D63047}"/>
              </a:ext>
            </a:extLst>
          </p:cNvPr>
          <p:cNvGraphicFramePr>
            <a:graphicFrameLocks noChangeAspect="1"/>
          </p:cNvGraphicFramePr>
          <p:nvPr userDrawn="1">
            <p:custDataLst>
              <p:tags r:id="rId1"/>
            </p:custDataLst>
            <p:extLst>
              <p:ext uri="{D42A27DB-BD31-4B8C-83A1-F6EECF244321}">
                <p14:modId xmlns:p14="http://schemas.microsoft.com/office/powerpoint/2010/main" val="137046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C3CADD21-FA21-4BEC-9BE4-76FA96D630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5"/>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PICTURES</a:t>
            </a:r>
            <a:br>
              <a:rPr lang="da-DK" sz="900">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Insert corporate picture from Templafy</a:t>
            </a: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rgbClr val="333333"/>
                </a:solidFill>
                <a:latin typeface="+mn-lt"/>
                <a:cs typeface="Verdana" panose="020B0604030504040204" pitchFamily="34" charset="0"/>
              </a:rPr>
              <a:t>1.</a:t>
            </a:r>
            <a:r>
              <a:rPr lang="da-DK" altLang="da-DK" sz="900" b="0" noProof="1">
                <a:solidFill>
                  <a:srgbClr val="333333"/>
                </a:solidFill>
                <a:latin typeface="+mn-lt"/>
                <a:cs typeface="Verdana" panose="020B0604030504040204" pitchFamily="34" charset="0"/>
              </a:rPr>
              <a:t> Click the blue </a:t>
            </a:r>
            <a:r>
              <a:rPr lang="da-DK" altLang="da-DK" sz="900" b="1" baseline="0" noProof="1">
                <a:solidFill>
                  <a:srgbClr val="333333"/>
                </a:solidFill>
                <a:latin typeface="+mn-lt"/>
                <a:cs typeface="Verdana" panose="020B0604030504040204" pitchFamily="34" charset="0"/>
              </a:rPr>
              <a:t>Templafy </a:t>
            </a:r>
            <a:r>
              <a:rPr lang="da-DK"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2. </a:t>
            </a:r>
            <a:r>
              <a:rPr lang="da-DK" altLang="da-DK" sz="900" b="0" baseline="0" noProof="1">
                <a:solidFill>
                  <a:srgbClr val="333333"/>
                </a:solidFill>
                <a:latin typeface="+mn-lt"/>
                <a:cs typeface="Verdana" panose="020B0604030504040204" pitchFamily="34" charset="0"/>
              </a:rPr>
              <a:t>In the dropdown, click </a:t>
            </a:r>
            <a:r>
              <a:rPr lang="da-DK" altLang="da-DK" sz="900" b="1" baseline="0" noProof="1">
                <a:solidFill>
                  <a:srgbClr val="333333"/>
                </a:solidFill>
                <a:latin typeface="+mn-lt"/>
                <a:cs typeface="Verdana" panose="020B0604030504040204" pitchFamily="34" charset="0"/>
              </a:rPr>
              <a:t>Images</a:t>
            </a:r>
            <a:r>
              <a:rPr lang="da-DK" altLang="da-DK" sz="900" b="0" baseline="0" noProof="1">
                <a:solidFill>
                  <a:srgbClr val="333333"/>
                </a:solidFill>
                <a:latin typeface="+mn-lt"/>
                <a:cs typeface="Verdana" panose="020B0604030504040204" pitchFamily="34" charset="0"/>
              </a:rPr>
              <a:t>, or click the </a:t>
            </a:r>
            <a:r>
              <a:rPr lang="da-DK" altLang="da-DK" sz="900" b="1" baseline="0" noProof="1">
                <a:solidFill>
                  <a:srgbClr val="333333"/>
                </a:solidFill>
                <a:latin typeface="+mn-lt"/>
                <a:cs typeface="Verdana" panose="020B0604030504040204" pitchFamily="34" charset="0"/>
              </a:rPr>
              <a:t>Images </a:t>
            </a:r>
            <a:r>
              <a:rPr lang="da-DK" altLang="da-DK" sz="900" b="0" i="0" baseline="0" noProof="1">
                <a:solidFill>
                  <a:srgbClr val="333333"/>
                </a:solidFill>
                <a:latin typeface="+mn-lt"/>
                <a:cs typeface="Verdana" panose="020B0604030504040204" pitchFamily="34" charset="0"/>
              </a:rPr>
              <a:t>button</a:t>
            </a:r>
            <a:r>
              <a:rPr lang="da-DK" altLang="da-DK" sz="900" b="0" baseline="0" noProof="1">
                <a:solidFill>
                  <a:srgbClr val="333333"/>
                </a:solidFill>
                <a:latin typeface="+mn-lt"/>
                <a:cs typeface="Verdana" panose="020B0604030504040204" pitchFamily="34" charset="0"/>
              </a:rPr>
              <a:t> in the Templafy pane on the right side of the screen</a:t>
            </a:r>
            <a:endParaRPr lang="da-DK"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Insert picture</a:t>
            </a:r>
          </a:p>
          <a:p>
            <a:pPr rtl="0" eaLnBrk="1" hangingPunct="1">
              <a:spcAft>
                <a:spcPts val="600"/>
              </a:spcAft>
              <a:defRPr/>
            </a:pPr>
            <a:r>
              <a:rPr lang="da-DK" altLang="da-DK" sz="900" b="0" noProof="1">
                <a:solidFill>
                  <a:srgbClr val="333333"/>
                </a:solidFill>
                <a:latin typeface="+mn-lt"/>
                <a:cs typeface="Verdana" panose="020B0604030504040204" pitchFamily="34" charset="0"/>
              </a:rPr>
              <a:t>On slides with pictureplaceholder, click on the icon and choose </a:t>
            </a:r>
            <a:r>
              <a:rPr lang="da-DK" altLang="da-DK" sz="900" b="1" noProof="1">
                <a:solidFill>
                  <a:srgbClr val="333333"/>
                </a:solidFill>
                <a:latin typeface="+mn-lt"/>
                <a:cs typeface="Verdana" panose="020B0604030504040204" pitchFamily="34" charset="0"/>
              </a:rPr>
              <a:t>Insert</a:t>
            </a:r>
          </a:p>
          <a:p>
            <a:pPr rtl="0" eaLnBrk="1" hangingPunct="1">
              <a:spcBef>
                <a:spcPts val="1200"/>
              </a:spcBef>
              <a:spcAft>
                <a:spcPts val="600"/>
              </a:spcAft>
              <a:defRPr/>
            </a:pPr>
            <a:r>
              <a:rPr lang="da-DK" sz="900" b="1" noProof="1">
                <a:solidFill>
                  <a:srgbClr val="333333"/>
                </a:solidFill>
                <a:latin typeface="+mn-lt"/>
                <a:cs typeface="Verdana" panose="020B0604030504040204" pitchFamily="34" charset="0"/>
              </a:rPr>
              <a:t>Crop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1. </a:t>
            </a: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Crop</a:t>
            </a:r>
            <a:r>
              <a:rPr lang="da-DK" altLang="da-DK" sz="900" b="0" noProof="1">
                <a:solidFill>
                  <a:srgbClr val="333333"/>
                </a:solidFill>
                <a:latin typeface="+mn-lt"/>
                <a:cs typeface="Verdana" panose="020B0604030504040204" pitchFamily="34" charset="0"/>
              </a:rPr>
              <a:t> to change size or focus of the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If you want to scale the picture, hold </a:t>
            </a:r>
            <a:r>
              <a:rPr lang="da-DK" altLang="da-DK" sz="900" b="1" noProof="1">
                <a:solidFill>
                  <a:srgbClr val="333333"/>
                </a:solidFill>
                <a:latin typeface="+mn-lt"/>
                <a:cs typeface="Verdana" panose="020B0604030504040204" pitchFamily="34" charset="0"/>
              </a:rPr>
              <a:t>SHIFT</a:t>
            </a:r>
            <a:r>
              <a:rPr lang="da-DK" altLang="da-DK" sz="900" b="0" noProof="1">
                <a:solidFill>
                  <a:srgbClr val="333333"/>
                </a:solidFill>
                <a:latin typeface="+mn-lt"/>
                <a:cs typeface="Verdana" panose="020B0604030504040204" pitchFamily="34" charset="0"/>
              </a:rPr>
              <a:t>-key down while dragging the corners of the picture</a:t>
            </a:r>
            <a:br>
              <a:rPr lang="da-DK" altLang="da-DK" sz="900" b="0" noProof="1">
                <a:solidFill>
                  <a:srgbClr val="333333"/>
                </a:solidFill>
                <a:latin typeface="+mn-lt"/>
                <a:cs typeface="Verdana" panose="020B0604030504040204" pitchFamily="34" charset="0"/>
              </a:rPr>
            </a:b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t>
            </a:r>
            <a:r>
              <a:rPr lang="da-DK"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da-DK"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GUIDES</a:t>
            </a:r>
            <a:endParaRPr lang="da-DK" sz="1600" b="1"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Click the </a:t>
            </a:r>
            <a:r>
              <a:rPr lang="da-DK" altLang="da-DK" sz="900" b="1" noProof="1">
                <a:solidFill>
                  <a:srgbClr val="333333"/>
                </a:solidFill>
                <a:latin typeface="+mn-lt"/>
                <a:cs typeface="Verdana" panose="020B0604030504040204" pitchFamily="34" charset="0"/>
              </a:rPr>
              <a:t>View</a:t>
            </a:r>
            <a:r>
              <a:rPr lang="da-DK" altLang="da-DK" sz="900" b="0" noProof="1">
                <a:solidFill>
                  <a:srgbClr val="333333"/>
                </a:solidFill>
                <a:latin typeface="+mn-lt"/>
                <a:cs typeface="Verdana" panose="020B0604030504040204" pitchFamily="34" charset="0"/>
              </a:rPr>
              <a:t> tab and set tick mark next to </a:t>
            </a:r>
            <a:r>
              <a:rPr lang="da-DK" altLang="da-DK" sz="900" b="1" noProof="1">
                <a:solidFill>
                  <a:srgbClr val="333333"/>
                </a:solidFill>
                <a:latin typeface="+mn-lt"/>
                <a:cs typeface="Verdana" panose="020B0604030504040204" pitchFamily="34" charset="0"/>
              </a:rPr>
              <a:t>Guides</a:t>
            </a: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lt + F9 </a:t>
            </a:r>
            <a:r>
              <a:rPr lang="da-DK" altLang="da-DK" sz="900" b="0" noProof="1">
                <a:solidFill>
                  <a:srgbClr val="333333"/>
                </a:solidFill>
                <a:latin typeface="+mn-lt"/>
                <a:cs typeface="Verdana" panose="020B0604030504040204" pitchFamily="34" charset="0"/>
              </a:rPr>
              <a:t>for quick view of guides</a:t>
            </a: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Mac: </a:t>
            </a:r>
            <a:r>
              <a:rPr lang="da-DK" sz="900" b="0" i="0">
                <a:solidFill>
                  <a:srgbClr val="333333"/>
                </a:solidFill>
                <a:effectLst/>
                <a:latin typeface="Verdana"/>
              </a:rPr>
              <a:t>⌘ </a:t>
            </a:r>
            <a:r>
              <a:rPr lang="da-DK"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8"/>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HEADER &amp; FOOTER</a:t>
            </a:r>
          </a:p>
          <a:p>
            <a:pPr rtl="0" eaLnBrk="1" hangingPunct="1">
              <a:spcAft>
                <a:spcPts val="600"/>
              </a:spcAft>
              <a:defRPr/>
            </a:pPr>
            <a:r>
              <a:rPr lang="da-DK" altLang="da-DK" sz="900" b="0" noProof="1">
                <a:solidFill>
                  <a:srgbClr val="333333"/>
                </a:solidFill>
                <a:latin typeface="+mn-lt"/>
                <a:cs typeface="Verdana" panose="020B0604030504040204" pitchFamily="34" charset="0"/>
              </a:rPr>
              <a:t>Do this at the very end to apply the changes on all slides</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on </a:t>
            </a:r>
            <a:r>
              <a:rPr lang="da-DK" altLang="da-DK" sz="900" b="1" noProof="1">
                <a:solidFill>
                  <a:srgbClr val="333333"/>
                </a:solidFill>
                <a:latin typeface="+mn-lt"/>
                <a:cs typeface="Verdana" panose="020B0604030504040204" pitchFamily="34" charset="0"/>
              </a:rPr>
              <a:t>Header and Footer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Insert</a:t>
            </a:r>
            <a:r>
              <a:rPr lang="da-DK" altLang="da-DK" sz="9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Apply to All </a:t>
            </a:r>
            <a:r>
              <a:rPr lang="da-DK" altLang="da-DK" sz="900" b="0" noProof="1">
                <a:solidFill>
                  <a:srgbClr val="333333"/>
                </a:solidFill>
                <a:latin typeface="+mn-lt"/>
                <a:cs typeface="Verdana" panose="020B0604030504040204" pitchFamily="34" charset="0"/>
              </a:rPr>
              <a:t>or </a:t>
            </a:r>
            <a:r>
              <a:rPr lang="da-DK" altLang="da-DK" sz="900" b="1" noProof="1">
                <a:solidFill>
                  <a:srgbClr val="333333"/>
                </a:solidFill>
                <a:latin typeface="+mn-lt"/>
                <a:cs typeface="Verdana" panose="020B0604030504040204" pitchFamily="34" charset="0"/>
              </a:rPr>
              <a:t>Apply</a:t>
            </a:r>
            <a:r>
              <a:rPr lang="da-DK" altLang="da-DK" sz="900" b="0" noProof="1">
                <a:solidFill>
                  <a:srgbClr val="333333"/>
                </a:solidFill>
                <a:latin typeface="+mn-lt"/>
                <a:cs typeface="Verdana" panose="020B0604030504040204" pitchFamily="34" charset="0"/>
              </a:rPr>
              <a:t> if only used on one slide</a:t>
            </a: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1600" b="0" noProof="1">
                <a:solidFill>
                  <a:srgbClr val="333333"/>
                </a:solidFill>
                <a:latin typeface="+mn-lt"/>
                <a:cs typeface="Verdana" panose="020B0604030504040204" pitchFamily="34" charset="0"/>
              </a:rPr>
              <a:t>COPY/PASTE CONTENT</a:t>
            </a:r>
          </a:p>
          <a:p>
            <a:pPr rtl="0" eaLnBrk="1" hangingPunct="1">
              <a:spcAft>
                <a:spcPts val="600"/>
              </a:spcAft>
              <a:defRPr/>
            </a:pPr>
            <a:r>
              <a:rPr lang="da-DK" altLang="da-DK" sz="9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600"/>
              </a:spcAft>
              <a:defRPr/>
            </a:pPr>
            <a:r>
              <a:rPr lang="da-DK" altLang="da-DK" sz="900" b="1" noProof="1">
                <a:solidFill>
                  <a:srgbClr val="333333"/>
                </a:solidFill>
                <a:latin typeface="+mn-lt"/>
                <a:cs typeface="Verdana" panose="020B0604030504040204" pitchFamily="34" charset="0"/>
              </a:rPr>
              <a:t>1. Best practice: </a:t>
            </a:r>
            <a:r>
              <a:rPr lang="da-DK" altLang="da-DK" sz="900" b="0" noProof="1">
                <a:solidFill>
                  <a:srgbClr val="333333"/>
                </a:solidFill>
                <a:latin typeface="+mn-lt"/>
                <a:cs typeface="Verdana" panose="020B0604030504040204" pitchFamily="34" charset="0"/>
              </a:rPr>
              <a:t>Create a slide in your new presentation and copy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piece of content at a time (e.g. copy all text from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textbox)</a:t>
            </a:r>
            <a:endParaRPr lang="da-DK" altLang="da-DK" sz="900" b="1" i="0" u="sng"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da-DK" altLang="da-DK" sz="900" b="1" noProof="1">
              <a:solidFill>
                <a:srgbClr val="333333"/>
              </a:solidFill>
              <a:latin typeface="+mn-lt"/>
              <a:cs typeface="Verdana" panose="020B0604030504040204" pitchFamily="34" charset="0"/>
            </a:endParaRP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Insert predefined slides and elements from the Templafy button. Choose </a:t>
            </a:r>
            <a:r>
              <a:rPr lang="da-DK" altLang="da-DK" sz="900" b="1" noProof="1">
                <a:solidFill>
                  <a:srgbClr val="333333"/>
                </a:solidFill>
                <a:latin typeface="+mn-lt"/>
                <a:cs typeface="Verdana" panose="020B0604030504040204" pitchFamily="34" charset="0"/>
              </a:rPr>
              <a:t>Slides</a:t>
            </a:r>
            <a:r>
              <a:rPr lang="da-DK" altLang="da-DK" sz="900" b="0" noProof="1">
                <a:solidFill>
                  <a:srgbClr val="333333"/>
                </a:solidFill>
                <a:latin typeface="+mn-lt"/>
                <a:cs typeface="Verdana" panose="020B0604030504040204" pitchFamily="34" charset="0"/>
              </a:rPr>
              <a:t> and </a:t>
            </a:r>
            <a:r>
              <a:rPr lang="da-DK" altLang="da-DK" sz="900" b="1" noProof="1">
                <a:solidFill>
                  <a:srgbClr val="333333"/>
                </a:solidFill>
                <a:latin typeface="+mn-lt"/>
                <a:cs typeface="Verdana" panose="020B0604030504040204" pitchFamily="34" charset="0"/>
              </a:rPr>
              <a:t>Slide elements </a:t>
            </a:r>
            <a:r>
              <a:rPr lang="da-DK"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da-DK"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pPr rtl="0"/>
            <a:r>
              <a:rPr lang="da-DK"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9"/>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rtl="0">
              <a:defRPr sz="100">
                <a:noFill/>
              </a:defRPr>
            </a:lvl1pPr>
          </a:lstStyle>
          <a:p>
            <a:fld id="{A5B220B3-5DAB-45AB-9B6A-9B7C36B5A57F}" type="datetime1">
              <a:rPr lang="da-DK" smtClean="0"/>
              <a:pPr/>
              <a:t>19-06-2024</a:t>
            </a:fld>
            <a:endParaRPr lang="da-DK"/>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0"/>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TEXT STYLES</a:t>
            </a:r>
            <a:endParaRPr lang="da-DK" altLang="da-DK" sz="1600" b="0"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Use the </a:t>
            </a:r>
            <a:r>
              <a:rPr lang="da-DK" altLang="da-DK" sz="900" b="1" noProof="1">
                <a:solidFill>
                  <a:srgbClr val="333333"/>
                </a:solidFill>
                <a:latin typeface="+mn-lt"/>
                <a:cs typeface="Verdana" panose="020B0604030504040204" pitchFamily="34" charset="0"/>
              </a:rPr>
              <a:t>TAB</a:t>
            </a:r>
            <a:r>
              <a:rPr lang="da-DK" altLang="da-DK" sz="900" b="0" noProof="1">
                <a:solidFill>
                  <a:srgbClr val="333333"/>
                </a:solidFill>
                <a:latin typeface="+mn-lt"/>
                <a:cs typeface="Verdana" panose="020B0604030504040204" pitchFamily="34" charset="0"/>
              </a:rPr>
              <a:t>-key</a:t>
            </a:r>
            <a:r>
              <a:rPr lang="da-DK" altLang="da-DK" sz="900" b="0" baseline="0" noProof="1">
                <a:solidFill>
                  <a:srgbClr val="333333"/>
                </a:solidFill>
                <a:latin typeface="+mn-lt"/>
                <a:cs typeface="Verdana" panose="020B0604030504040204" pitchFamily="34" charset="0"/>
              </a:rPr>
              <a:t> to jump through levels. Click </a:t>
            </a:r>
            <a:r>
              <a:rPr lang="da-DK" altLang="da-DK" sz="900" b="1" baseline="0" noProof="1">
                <a:solidFill>
                  <a:srgbClr val="333333"/>
                </a:solidFill>
                <a:latin typeface="+mn-lt"/>
                <a:cs typeface="Verdana" panose="020B0604030504040204" pitchFamily="34" charset="0"/>
              </a:rPr>
              <a:t>ENTER</a:t>
            </a:r>
            <a:r>
              <a:rPr lang="da-DK" altLang="da-DK" sz="900" b="0" baseline="0" noProof="1">
                <a:solidFill>
                  <a:srgbClr val="333333"/>
                </a:solidFill>
                <a:latin typeface="+mn-lt"/>
                <a:cs typeface="Verdana" panose="020B0604030504040204" pitchFamily="34" charset="0"/>
              </a:rPr>
              <a:t>, then </a:t>
            </a:r>
            <a:r>
              <a:rPr lang="da-DK" altLang="da-DK" sz="900" b="1" baseline="0" noProof="1">
                <a:solidFill>
                  <a:srgbClr val="333333"/>
                </a:solidFill>
                <a:latin typeface="+mn-lt"/>
                <a:cs typeface="Verdana" panose="020B0604030504040204" pitchFamily="34" charset="0"/>
              </a:rPr>
              <a:t>TAB</a:t>
            </a:r>
            <a:r>
              <a:rPr lang="da-DK" altLang="da-DK" sz="900" b="0" baseline="0" noProof="1">
                <a:solidFill>
                  <a:srgbClr val="333333"/>
                </a:solidFill>
                <a:latin typeface="+mn-lt"/>
                <a:cs typeface="Verdana" panose="020B0604030504040204" pitchFamily="34" charset="0"/>
              </a:rPr>
              <a:t> to switch from one level to the next level</a:t>
            </a:r>
          </a:p>
          <a:p>
            <a:pPr rtl="0" eaLnBrk="1" hangingPunct="1">
              <a:spcAft>
                <a:spcPts val="600"/>
              </a:spcAft>
              <a:defRPr/>
            </a:pPr>
            <a:r>
              <a:rPr lang="da-DK" altLang="da-DK" sz="900" b="0" baseline="0" noProof="1">
                <a:solidFill>
                  <a:srgbClr val="333333"/>
                </a:solidFill>
                <a:latin typeface="+mn-lt"/>
                <a:cs typeface="Verdana" panose="020B0604030504040204" pitchFamily="34" charset="0"/>
              </a:rPr>
              <a:t>To go back in levels use </a:t>
            </a:r>
            <a:r>
              <a:rPr lang="da-DK" altLang="da-DK" sz="900" b="1" baseline="0" noProof="1">
                <a:solidFill>
                  <a:srgbClr val="333333"/>
                </a:solidFill>
                <a:latin typeface="+mn-lt"/>
                <a:cs typeface="Verdana" panose="020B0604030504040204" pitchFamily="34" charset="0"/>
              </a:rPr>
              <a:t>SHIFT-TAB</a:t>
            </a:r>
            <a:endParaRPr lang="da-DK" sz="900" b="1" noProof="1">
              <a:solidFill>
                <a:srgbClr val="333333"/>
              </a:solidFill>
              <a:latin typeface="+mn-lt"/>
              <a:cs typeface="Verdana" panose="020B0604030504040204" pitchFamily="34" charset="0"/>
            </a:endParaRPr>
          </a:p>
          <a:p>
            <a:pPr rtl="0" eaLnBrk="1" hangingPunct="1">
              <a:spcAft>
                <a:spcPts val="600"/>
              </a:spcAft>
              <a:defRPr/>
            </a:pPr>
            <a:r>
              <a:rPr lang="da-DK" sz="900" noProof="1">
                <a:solidFill>
                  <a:srgbClr val="333333"/>
                </a:solidFill>
                <a:latin typeface="+mn-lt"/>
                <a:cs typeface="Verdana" panose="020B0604030504040204" pitchFamily="34" charset="0"/>
              </a:rPr>
              <a:t>Alternatively, </a:t>
            </a:r>
            <a:r>
              <a:rPr lang="da-DK" sz="900" b="1" noProof="1">
                <a:solidFill>
                  <a:srgbClr val="333333"/>
                </a:solidFill>
                <a:latin typeface="+mn-lt"/>
                <a:cs typeface="Verdana" panose="020B0604030504040204" pitchFamily="34" charset="0"/>
              </a:rPr>
              <a:t>Increase</a:t>
            </a:r>
            <a:r>
              <a:rPr lang="da-DK" sz="900" baseline="0" noProof="1">
                <a:solidFill>
                  <a:srgbClr val="333333"/>
                </a:solidFill>
                <a:latin typeface="+mn-lt"/>
                <a:cs typeface="Verdana" panose="020B0604030504040204" pitchFamily="34" charset="0"/>
              </a:rPr>
              <a:t> and </a:t>
            </a:r>
            <a:r>
              <a:rPr lang="da-DK" sz="900" b="1" baseline="0" noProof="1">
                <a:solidFill>
                  <a:srgbClr val="333333"/>
                </a:solidFill>
                <a:latin typeface="+mn-lt"/>
                <a:cs typeface="Verdana" panose="020B0604030504040204" pitchFamily="34" charset="0"/>
              </a:rPr>
              <a:t>Decrease </a:t>
            </a:r>
            <a:r>
              <a:rPr lang="da-DK" sz="900" baseline="0" noProof="1">
                <a:solidFill>
                  <a:srgbClr val="333333"/>
                </a:solidFill>
                <a:latin typeface="+mn-lt"/>
                <a:cs typeface="Verdana" panose="020B0604030504040204" pitchFamily="34" charset="0"/>
              </a:rPr>
              <a:t>list level can be used</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noProof="1">
                <a:solidFill>
                  <a:srgbClr val="333333"/>
                </a:solidFill>
                <a:latin typeface="+mn-lt"/>
                <a:cs typeface="Verdana" panose="020B0604030504040204" pitchFamily="34" charset="0"/>
              </a:rPr>
              <a:t>Click the </a:t>
            </a:r>
            <a:r>
              <a:rPr lang="da-DK" altLang="da-DK" sz="900" b="1" baseline="0" noProof="1">
                <a:solidFill>
                  <a:srgbClr val="333333"/>
                </a:solidFill>
                <a:latin typeface="+mn-lt"/>
                <a:cs typeface="Verdana" panose="020B0604030504040204" pitchFamily="34" charset="0"/>
              </a:rPr>
              <a:t>Reset </a:t>
            </a:r>
            <a:r>
              <a:rPr lang="da-DK" altLang="da-DK" sz="900" noProof="1">
                <a:solidFill>
                  <a:srgbClr val="333333"/>
                </a:solidFill>
                <a:latin typeface="+mn-lt"/>
                <a:cs typeface="Verdana" panose="020B0604030504040204" pitchFamily="34" charset="0"/>
              </a:rPr>
              <a:t>menu to reset position, size</a:t>
            </a:r>
            <a:r>
              <a:rPr lang="da-DK"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900" b="0" noProof="1">
                <a:solidFill>
                  <a:srgbClr val="333333"/>
                </a:solidFill>
                <a:latin typeface="+mn-lt"/>
                <a:cs typeface="Verdana" panose="020B0604030504040204" pitchFamily="34" charset="0"/>
              </a:rPr>
            </a:br>
            <a:r>
              <a:rPr lang="da-DK"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Click on the menu </a:t>
            </a:r>
            <a:r>
              <a:rPr lang="da-DK" altLang="da-DK" sz="900" b="1" noProof="1">
                <a:solidFill>
                  <a:srgbClr val="333333"/>
                </a:solidFill>
                <a:latin typeface="+mn-lt"/>
                <a:cs typeface="Verdana" panose="020B0604030504040204" pitchFamily="34" charset="0"/>
              </a:rPr>
              <a:t>New Slide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Home</a:t>
            </a:r>
            <a:r>
              <a:rPr lang="da-DK" altLang="da-DK" sz="900" b="0" noProof="1">
                <a:solidFill>
                  <a:srgbClr val="333333"/>
                </a:solidFill>
                <a:latin typeface="+mn-lt"/>
                <a:cs typeface="Verdana" panose="020B0604030504040204" pitchFamily="34" charset="0"/>
              </a:rPr>
              <a:t> tab to insert a new slide</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Change layout</a:t>
            </a:r>
            <a:endParaRPr lang="da-DK" altLang="da-DK" sz="900" b="0" noProof="1">
              <a:solidFill>
                <a:srgbClr val="333333"/>
              </a:solidFill>
              <a:latin typeface="+mn-lt"/>
              <a:cs typeface="Verdana" panose="020B0604030504040204" pitchFamily="34" charset="0"/>
            </a:endParaRPr>
          </a:p>
          <a:p>
            <a:pPr marL="0" indent="0" rtl="0">
              <a:spcAft>
                <a:spcPts val="600"/>
              </a:spcAft>
              <a:buFont typeface="+mj-lt"/>
              <a:buNone/>
            </a:pPr>
            <a:r>
              <a:rPr lang="da-DK" sz="900" err="1">
                <a:solidFill>
                  <a:srgbClr val="333333"/>
                </a:solidFill>
                <a:latin typeface="+mn-lt"/>
                <a:ea typeface="Verdana" panose="020B0604030504040204" pitchFamily="34" charset="0"/>
              </a:rPr>
              <a:t>Click</a:t>
            </a:r>
            <a:r>
              <a:rPr lang="da-DK" sz="900">
                <a:solidFill>
                  <a:srgbClr val="333333"/>
                </a:solidFill>
                <a:latin typeface="+mn-lt"/>
                <a:ea typeface="Verdana" panose="020B0604030504040204" pitchFamily="34" charset="0"/>
              </a:rPr>
              <a:t> on the </a:t>
            </a:r>
            <a:r>
              <a:rPr lang="da-DK" sz="900" err="1">
                <a:solidFill>
                  <a:srgbClr val="333333"/>
                </a:solidFill>
                <a:latin typeface="+mn-lt"/>
                <a:ea typeface="Verdana" panose="020B0604030504040204" pitchFamily="34" charset="0"/>
              </a:rPr>
              <a:t>arrow</a:t>
            </a:r>
            <a:r>
              <a:rPr lang="da-DK" sz="900">
                <a:solidFill>
                  <a:srgbClr val="333333"/>
                </a:solidFill>
                <a:latin typeface="+mn-lt"/>
                <a:ea typeface="Verdana" panose="020B0604030504040204" pitchFamily="34" charset="0"/>
              </a:rPr>
              <a:t> </a:t>
            </a:r>
            <a:r>
              <a:rPr lang="da-DK" sz="900" err="1">
                <a:solidFill>
                  <a:srgbClr val="333333"/>
                </a:solidFill>
                <a:latin typeface="+mn-lt"/>
                <a:ea typeface="Verdana" panose="020B0604030504040204" pitchFamily="34" charset="0"/>
              </a:rPr>
              <a:t>next</a:t>
            </a:r>
            <a:r>
              <a:rPr lang="da-DK" sz="900">
                <a:solidFill>
                  <a:srgbClr val="333333"/>
                </a:solidFill>
                <a:latin typeface="+mn-lt"/>
                <a:ea typeface="Verdana" panose="020B0604030504040204" pitchFamily="34" charset="0"/>
              </a:rPr>
              <a:t> to </a:t>
            </a:r>
            <a:r>
              <a:rPr lang="da-DK" sz="900" b="1">
                <a:solidFill>
                  <a:srgbClr val="333333"/>
                </a:solidFill>
                <a:latin typeface="+mn-lt"/>
                <a:ea typeface="Verdana" panose="020B0604030504040204" pitchFamily="34" charset="0"/>
              </a:rPr>
              <a:t>Layout </a:t>
            </a:r>
            <a:r>
              <a:rPr lang="da-DK" sz="900">
                <a:solidFill>
                  <a:srgbClr val="333333"/>
                </a:solidFill>
                <a:latin typeface="+mn-lt"/>
                <a:ea typeface="Verdana" panose="020B0604030504040204" pitchFamily="34" charset="0"/>
              </a:rPr>
              <a:t>to view a </a:t>
            </a:r>
            <a:r>
              <a:rPr lang="da-DK" sz="900" err="1">
                <a:solidFill>
                  <a:srgbClr val="333333"/>
                </a:solidFill>
                <a:latin typeface="+mn-lt"/>
                <a:ea typeface="Verdana" panose="020B0604030504040204" pitchFamily="34" charset="0"/>
              </a:rPr>
              <a:t>dropdown</a:t>
            </a:r>
            <a:r>
              <a:rPr lang="da-DK" sz="900">
                <a:solidFill>
                  <a:srgbClr val="333333"/>
                </a:solidFill>
                <a:latin typeface="+mn-lt"/>
                <a:ea typeface="Verdana" panose="020B0604030504040204" pitchFamily="34" charset="0"/>
              </a:rPr>
              <a:t> menu of </a:t>
            </a:r>
            <a:r>
              <a:rPr lang="da-DK" sz="900" err="1">
                <a:solidFill>
                  <a:srgbClr val="333333"/>
                </a:solidFill>
                <a:latin typeface="+mn-lt"/>
                <a:ea typeface="Verdana" panose="020B0604030504040204" pitchFamily="34" charset="0"/>
              </a:rPr>
              <a:t>possible</a:t>
            </a:r>
            <a:r>
              <a:rPr lang="da-DK" sz="900">
                <a:solidFill>
                  <a:srgbClr val="333333"/>
                </a:solidFill>
                <a:latin typeface="+mn-lt"/>
                <a:ea typeface="Verdana" panose="020B0604030504040204" pitchFamily="34" charset="0"/>
              </a:rPr>
              <a:t> slide layouts</a:t>
            </a:r>
          </a:p>
          <a:p>
            <a:pPr marL="0" indent="0" rtl="0">
              <a:spcAft>
                <a:spcPts val="600"/>
              </a:spcAft>
              <a:buFont typeface="+mj-lt"/>
              <a:buNone/>
            </a:pPr>
            <a:endParaRPr lang="da-DK"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err="1">
                <a:solidFill>
                  <a:srgbClr val="333333"/>
                </a:solidFill>
                <a:latin typeface="+mn-lt"/>
                <a:cs typeface="Verdana" panose="020B0604030504040204" pitchFamily="34" charset="0"/>
              </a:rPr>
              <a:t>Color</a:t>
            </a:r>
            <a:endParaRPr lang="da-DK" sz="1600">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Use </a:t>
            </a:r>
            <a:r>
              <a:rPr lang="da-DK" altLang="da-DK" sz="900" b="1" noProof="1">
                <a:solidFill>
                  <a:srgbClr val="333333"/>
                </a:solidFill>
                <a:latin typeface="+mn-lt"/>
                <a:cs typeface="Verdana" panose="020B0604030504040204" pitchFamily="34" charset="0"/>
              </a:rPr>
              <a:t>Custom Colors </a:t>
            </a:r>
            <a:r>
              <a:rPr lang="da-DK" altLang="da-DK" sz="900" b="0" noProof="1">
                <a:solidFill>
                  <a:srgbClr val="333333"/>
                </a:solidFill>
                <a:latin typeface="+mn-lt"/>
                <a:cs typeface="Verdana" panose="020B0604030504040204" pitchFamily="34" charset="0"/>
              </a:rPr>
              <a:t>to change color.</a:t>
            </a:r>
            <a:br>
              <a:rPr lang="da-DK" altLang="da-DK" sz="900" b="0" noProof="1">
                <a:solidFill>
                  <a:srgbClr val="333333"/>
                </a:solidFill>
                <a:latin typeface="+mn-lt"/>
                <a:cs typeface="Verdana" panose="020B0604030504040204" pitchFamily="34" charset="0"/>
              </a:rPr>
            </a:br>
            <a:endParaRPr lang="da-DK"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2"/>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3"/>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4"/>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5"/>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649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FCB6B6B-24B0-44AB-9048-2F686A564E91}"/>
              </a:ext>
            </a:extLst>
          </p:cNvPr>
          <p:cNvGraphicFramePr>
            <a:graphicFrameLocks noChangeAspect="1"/>
          </p:cNvGraphicFramePr>
          <p:nvPr userDrawn="1">
            <p:custDataLst>
              <p:tags r:id="rId1"/>
            </p:custDataLst>
            <p:extLst>
              <p:ext uri="{D42A27DB-BD31-4B8C-83A1-F6EECF244321}">
                <p14:modId xmlns:p14="http://schemas.microsoft.com/office/powerpoint/2010/main" val="957079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FCB6B6B-24B0-44AB-9048-2F686A564E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da-DK" smtClean="0"/>
              <a:pPr/>
              <a:t>19-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88701528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EBB3B6D-DD31-4C13-AD80-04ABEA8E27A0}"/>
              </a:ext>
            </a:extLst>
          </p:cNvPr>
          <p:cNvGraphicFramePr>
            <a:graphicFrameLocks noChangeAspect="1"/>
          </p:cNvGraphicFramePr>
          <p:nvPr userDrawn="1">
            <p:custDataLst>
              <p:tags r:id="rId1"/>
            </p:custDataLst>
            <p:extLst>
              <p:ext uri="{D42A27DB-BD31-4B8C-83A1-F6EECF244321}">
                <p14:modId xmlns:p14="http://schemas.microsoft.com/office/powerpoint/2010/main" val="332558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6EBB3B6D-DD31-4C13-AD80-04ABEA8E27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4000" b="0" noProof="0">
                <a:solidFill>
                  <a:schemeClr val="tx1"/>
                </a:solidFill>
              </a:rPr>
              <a:t>If you see any </a:t>
            </a:r>
            <a:r>
              <a:rPr lang="da-DK" sz="4000" b="1" i="1" noProof="0">
                <a:solidFill>
                  <a:schemeClr val="tx1"/>
                </a:solidFill>
              </a:rPr>
              <a:t>layouts after this </a:t>
            </a:r>
            <a:r>
              <a:rPr lang="da-DK" sz="4000" b="0" i="0" noProof="0">
                <a:solidFill>
                  <a:schemeClr val="tx1"/>
                </a:solidFill>
              </a:rPr>
              <a:t>one</a:t>
            </a:r>
            <a:r>
              <a:rPr lang="da-DK" sz="4000" b="1" i="1" noProof="0">
                <a:solidFill>
                  <a:schemeClr val="tx1"/>
                </a:solidFill>
              </a:rPr>
              <a:t>,</a:t>
            </a:r>
            <a:br>
              <a:rPr lang="da-DK" sz="4000" b="0" i="0" noProof="0">
                <a:solidFill>
                  <a:schemeClr val="tx1"/>
                </a:solidFill>
              </a:rPr>
            </a:br>
            <a:r>
              <a:rPr lang="da-DK" sz="4000" b="0" noProof="0">
                <a:solidFill>
                  <a:schemeClr val="tx1"/>
                </a:solidFill>
              </a:rPr>
              <a:t>do not use them. These layouts </a:t>
            </a:r>
            <a:r>
              <a:rPr lang="da-DK" sz="4000" b="1" i="1" u="none" noProof="0">
                <a:solidFill>
                  <a:schemeClr val="tx1"/>
                </a:solidFill>
              </a:rPr>
              <a:t>are not </a:t>
            </a:r>
            <a:r>
              <a:rPr lang="da-DK" sz="4000" b="0" noProof="0">
                <a:solidFill>
                  <a:schemeClr val="tx1"/>
                </a:solidFill>
              </a:rPr>
              <a:t>part of our corporate template.</a:t>
            </a:r>
            <a:endParaRPr lang="da-DK"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rtl="0"/>
            <a:r>
              <a:rPr lang="da-DK" sz="11500" b="1" i="1" noProof="0">
                <a:solidFill>
                  <a:schemeClr val="tx1"/>
                </a:solidFill>
              </a:rPr>
              <a:t>Do not use </a:t>
            </a:r>
            <a:endParaRPr lang="da-DK"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rtl="0">
              <a:defRPr sz="100">
                <a:noFill/>
              </a:defRPr>
            </a:lvl1pPr>
          </a:lstStyle>
          <a:p>
            <a:fld id="{06357EC7-0D53-4A60-9E41-D75A47B48389}" type="datetime1">
              <a:rPr lang="da-DK" smtClean="0"/>
              <a:pPr/>
              <a:t>19-06-2024</a:t>
            </a:fld>
            <a:endParaRPr lang="da-DK"/>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165976985"/>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8" name="FLD_PresentationTitle">
            <a:extLst>
              <a:ext uri="{FF2B5EF4-FFF2-40B4-BE49-F238E27FC236}">
                <a16:creationId xmlns:a16="http://schemas.microsoft.com/office/drawing/2014/main" id="{B1DAA5DF-5AA7-49EC-ACBF-10E8A1971277}"/>
              </a:ext>
            </a:extLst>
          </p:cNvPr>
          <p:cNvSpPr>
            <a:spLocks noGrp="1"/>
          </p:cNvSpPr>
          <p:nvPr>
            <p:ph type="ctrTitle" hasCustomPrompt="1"/>
          </p:nvPr>
        </p:nvSpPr>
        <p:spPr>
          <a:xfrm>
            <a:off x="798617" y="409475"/>
            <a:ext cx="9774384" cy="681390"/>
          </a:xfrm>
        </p:spPr>
        <p:txBody>
          <a:bodyPr tIns="0" anchor="t" anchorCtr="0"/>
          <a:lstStyle>
            <a:lvl1pPr>
              <a:defRPr sz="1539" cap="all" spc="-48" baseline="0" smtClean="0">
                <a:solidFill>
                  <a:schemeClr val="tx1"/>
                </a:solidFill>
                <a:latin typeface="Verdana" pitchFamily="34" charset="0"/>
              </a:defRPr>
            </a:lvl1pPr>
          </a:lstStyle>
          <a:p>
            <a:r>
              <a:rPr lang="en-GB" noProof="0"/>
              <a:t>Headline</a:t>
            </a:r>
          </a:p>
        </p:txBody>
      </p:sp>
      <p:sp>
        <p:nvSpPr>
          <p:cNvPr id="19" name="FLD_PresentationTitle_2">
            <a:extLst>
              <a:ext uri="{FF2B5EF4-FFF2-40B4-BE49-F238E27FC236}">
                <a16:creationId xmlns:a16="http://schemas.microsoft.com/office/drawing/2014/main" id="{5B27253C-39D7-4448-BD0F-A9FC3677BCBD}"/>
              </a:ext>
            </a:extLst>
          </p:cNvPr>
          <p:cNvSpPr>
            <a:spLocks noGrp="1" noChangeArrowheads="1"/>
          </p:cNvSpPr>
          <p:nvPr>
            <p:ph type="subTitle" sz="quarter" idx="1" hasCustomPrompt="1"/>
          </p:nvPr>
        </p:nvSpPr>
        <p:spPr>
          <a:xfrm>
            <a:off x="798616" y="1139481"/>
            <a:ext cx="9773924" cy="1254271"/>
          </a:xfrm>
        </p:spPr>
        <p:txBody>
          <a:bodyPr lIns="0"/>
          <a:lstStyle>
            <a:lvl1pPr marL="0" indent="0">
              <a:lnSpc>
                <a:spcPct val="100000"/>
              </a:lnSpc>
              <a:spcAft>
                <a:spcPts val="0"/>
              </a:spcAft>
              <a:buFontTx/>
              <a:buNone/>
              <a:defRPr sz="1539" b="1" cap="all" spc="-48" baseline="0" smtClean="0">
                <a:solidFill>
                  <a:schemeClr val="tx2"/>
                </a:solidFill>
                <a:latin typeface="Verdana" pitchFamily="34" charset="0"/>
              </a:defRPr>
            </a:lvl1pPr>
          </a:lstStyle>
          <a:p>
            <a:r>
              <a:rPr lang="en-GB" noProof="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618" y="5018936"/>
            <a:ext cx="8137938" cy="1084011"/>
          </a:xfrm>
        </p:spPr>
        <p:txBody>
          <a:bodyPr lIns="0"/>
          <a:lstStyle>
            <a:lvl1pPr marL="0" indent="0">
              <a:buFont typeface="Arial" panose="020B0604020202020204" pitchFamily="34" charset="0"/>
              <a:buChar char="​"/>
              <a:defRPr sz="513"/>
            </a:lvl1pPr>
          </a:lstStyle>
          <a:p>
            <a:pPr lvl="0"/>
            <a:r>
              <a:rPr lang="en-GB"/>
              <a:t>Subtitle</a:t>
            </a:r>
          </a:p>
        </p:txBody>
      </p:sp>
      <p:sp>
        <p:nvSpPr>
          <p:cNvPr id="9" name="Slide Number Placeholder 5"/>
          <p:cNvSpPr>
            <a:spLocks noGrp="1"/>
          </p:cNvSpPr>
          <p:nvPr>
            <p:ph type="sldNum" sz="quarter" idx="4"/>
          </p:nvPr>
        </p:nvSpPr>
        <p:spPr>
          <a:xfrm>
            <a:off x="10908620" y="6283328"/>
            <a:ext cx="480001" cy="155575"/>
          </a:xfrm>
          <a:prstGeom prst="rect">
            <a:avLst/>
          </a:prstGeom>
        </p:spPr>
        <p:txBody>
          <a:bodyPr vert="horz" wrap="square" lIns="0" tIns="0" rIns="0" bIns="0" numCol="1" anchor="ctr" anchorCtr="0" compatLnSpc="1">
            <a:prstTxWarp prst="textNoShape">
              <a:avLst/>
            </a:prstTxWarp>
          </a:bodyPr>
          <a:lstStyle>
            <a:lvl1pPr algn="r">
              <a:defRPr sz="257">
                <a:solidFill>
                  <a:schemeClr val="tx1"/>
                </a:solidFill>
              </a:defRPr>
            </a:lvl1pPr>
          </a:lstStyle>
          <a:p>
            <a:fld id="{31421AFA-3AE7-4CEA-BC9B-447859BED57B}" type="slidenum">
              <a:rPr lang="en-GB" smtClean="0"/>
              <a:pPr/>
              <a:t>‹#›</a:t>
            </a:fld>
            <a:endParaRPr lang="en-GB"/>
          </a:p>
        </p:txBody>
      </p:sp>
      <p:sp>
        <p:nvSpPr>
          <p:cNvPr id="11" name="Footer Placeholder 4">
            <a:extLst>
              <a:ext uri="{FF2B5EF4-FFF2-40B4-BE49-F238E27FC236}">
                <a16:creationId xmlns:a16="http://schemas.microsoft.com/office/drawing/2014/main" id="{FC6EA742-E999-426B-9F1C-33524D47AEA4}"/>
              </a:ext>
            </a:extLst>
          </p:cNvPr>
          <p:cNvSpPr>
            <a:spLocks noGrp="1"/>
          </p:cNvSpPr>
          <p:nvPr>
            <p:ph type="ftr" sz="quarter" idx="3"/>
          </p:nvPr>
        </p:nvSpPr>
        <p:spPr>
          <a:xfrm>
            <a:off x="4056591" y="6280502"/>
            <a:ext cx="6515949"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2" name="Date_DateCustomA">
            <a:extLst>
              <a:ext uri="{FF2B5EF4-FFF2-40B4-BE49-F238E27FC236}">
                <a16:creationId xmlns:a16="http://schemas.microsoft.com/office/drawing/2014/main" id="{09BA1C59-AB8D-4ACE-A4C9-3A97AB0B83E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A13F78D9-42B8-43DD-B9D4-11FA41011F45}" type="datetime1">
              <a:rPr lang="en-GB" smtClean="0"/>
              <a:t>19/06/2024</a:t>
            </a:fld>
            <a:endParaRPr lang="en-GB"/>
          </a:p>
        </p:txBody>
      </p:sp>
      <p:grpSp>
        <p:nvGrpSpPr>
          <p:cNvPr id="13" name="Group 12">
            <a:extLst>
              <a:ext uri="{FF2B5EF4-FFF2-40B4-BE49-F238E27FC236}">
                <a16:creationId xmlns:a16="http://schemas.microsoft.com/office/drawing/2014/main" id="{8CA71D2E-512F-4EB0-AAF9-E4FEBA858101}"/>
              </a:ext>
            </a:extLst>
          </p:cNvPr>
          <p:cNvGrpSpPr/>
          <p:nvPr userDrawn="1"/>
        </p:nvGrpSpPr>
        <p:grpSpPr>
          <a:xfrm>
            <a:off x="-1972350" y="1633992"/>
            <a:ext cx="1797025" cy="2906915"/>
            <a:chOff x="-1899137" y="-1"/>
            <a:chExt cx="1796791" cy="2907588"/>
          </a:xfrm>
        </p:grpSpPr>
        <p:grpSp>
          <p:nvGrpSpPr>
            <p:cNvPr id="14" name="Group 13">
              <a:extLst>
                <a:ext uri="{FF2B5EF4-FFF2-40B4-BE49-F238E27FC236}">
                  <a16:creationId xmlns:a16="http://schemas.microsoft.com/office/drawing/2014/main" id="{8404ACBE-98F7-42FA-B2C4-2BDACC351B5F}"/>
                </a:ext>
              </a:extLst>
            </p:cNvPr>
            <p:cNvGrpSpPr/>
            <p:nvPr userDrawn="1"/>
          </p:nvGrpSpPr>
          <p:grpSpPr>
            <a:xfrm>
              <a:off x="-1899137" y="-1"/>
              <a:ext cx="1796791" cy="2907588"/>
              <a:chOff x="9009867" y="1645032"/>
              <a:chExt cx="2365739" cy="3828268"/>
            </a:xfrm>
          </p:grpSpPr>
          <p:pic>
            <p:nvPicPr>
              <p:cNvPr id="16" name="Picture 15">
                <a:extLst>
                  <a:ext uri="{FF2B5EF4-FFF2-40B4-BE49-F238E27FC236}">
                    <a16:creationId xmlns:a16="http://schemas.microsoft.com/office/drawing/2014/main" id="{7674FC44-6BF9-46ED-9900-58E4FF056204}"/>
                  </a:ext>
                </a:extLst>
              </p:cNvPr>
              <p:cNvPicPr>
                <a:picLocks noChangeAspect="1"/>
              </p:cNvPicPr>
              <p:nvPr/>
            </p:nvPicPr>
            <p:blipFill>
              <a:blip r:embed="rId2"/>
              <a:stretch>
                <a:fillRect/>
              </a:stretch>
            </p:blipFill>
            <p:spPr>
              <a:xfrm>
                <a:off x="9182748" y="1852126"/>
                <a:ext cx="599367" cy="280555"/>
              </a:xfrm>
              <a:prstGeom prst="rect">
                <a:avLst/>
              </a:prstGeom>
            </p:spPr>
          </p:pic>
          <p:sp>
            <p:nvSpPr>
              <p:cNvPr id="17" name="TextBox 16">
                <a:extLst>
                  <a:ext uri="{FF2B5EF4-FFF2-40B4-BE49-F238E27FC236}">
                    <a16:creationId xmlns:a16="http://schemas.microsoft.com/office/drawing/2014/main" id="{D5F5BB9B-F1EC-45D9-9CB7-D11256272499}"/>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1" name="Rectangle: Rounded Corners 20">
                <a:extLst>
                  <a:ext uri="{FF2B5EF4-FFF2-40B4-BE49-F238E27FC236}">
                    <a16:creationId xmlns:a16="http://schemas.microsoft.com/office/drawing/2014/main" id="{8543A725-2ECD-475C-B8F2-4B95DD799F0D}"/>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pic>
          <p:nvPicPr>
            <p:cNvPr id="15" name="Picture 14">
              <a:extLst>
                <a:ext uri="{FF2B5EF4-FFF2-40B4-BE49-F238E27FC236}">
                  <a16:creationId xmlns:a16="http://schemas.microsoft.com/office/drawing/2014/main" id="{5D058906-F75B-403B-B22D-B41549B2401D}"/>
                </a:ext>
              </a:extLst>
            </p:cNvPr>
            <p:cNvPicPr>
              <a:picLocks noChangeAspect="1"/>
            </p:cNvPicPr>
            <p:nvPr userDrawn="1"/>
          </p:nvPicPr>
          <p:blipFill>
            <a:blip r:embed="rId3"/>
            <a:stretch>
              <a:fillRect/>
            </a:stretch>
          </p:blipFill>
          <p:spPr>
            <a:xfrm>
              <a:off x="-1884053" y="1200637"/>
              <a:ext cx="1418614" cy="1444137"/>
            </a:xfrm>
            <a:prstGeom prst="rect">
              <a:avLst/>
            </a:prstGeom>
          </p:spPr>
        </p:pic>
      </p:grpSp>
      <p:pic>
        <p:nvPicPr>
          <p:cNvPr id="24" name="Picture 23">
            <a:extLst>
              <a:ext uri="{FF2B5EF4-FFF2-40B4-BE49-F238E27FC236}">
                <a16:creationId xmlns:a16="http://schemas.microsoft.com/office/drawing/2014/main" id="{BB368B35-1A95-4DB8-9489-9493B9DFE5DC}"/>
              </a:ext>
            </a:extLst>
          </p:cNvPr>
          <p:cNvPicPr>
            <a:picLocks noChangeAspect="1"/>
          </p:cNvPicPr>
          <p:nvPr userDrawn="1"/>
        </p:nvPicPr>
        <p:blipFill>
          <a:blip r:embed="rId4"/>
          <a:stretch>
            <a:fillRect/>
          </a:stretch>
        </p:blipFill>
        <p:spPr>
          <a:xfrm>
            <a:off x="798617" y="6158174"/>
            <a:ext cx="2826826" cy="255541"/>
          </a:xfrm>
          <a:prstGeom prst="rect">
            <a:avLst/>
          </a:prstGeom>
        </p:spPr>
      </p:pic>
    </p:spTree>
    <p:extLst>
      <p:ext uri="{BB962C8B-B14F-4D97-AF65-F5344CB8AC3E}">
        <p14:creationId xmlns:p14="http://schemas.microsoft.com/office/powerpoint/2010/main" val="12062175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bright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1" y="0"/>
            <a:ext cx="12192000" cy="6858000"/>
          </a:xfrm>
          <a:noFill/>
          <a:ln>
            <a:noFill/>
          </a:ln>
        </p:spPr>
        <p:txBody>
          <a:bodyPr tIns="0" anchor="t" anchorCtr="0"/>
          <a:lstStyle>
            <a:lvl1pPr algn="ctr">
              <a:buNone/>
              <a:defRPr>
                <a:solidFill>
                  <a:schemeClr val="tx1"/>
                </a:solidFill>
              </a:defRPr>
            </a:lvl1pPr>
          </a:lstStyle>
          <a:p>
            <a:r>
              <a:rPr lang="en-GB" noProof="0"/>
              <a:t>Mark placeholder to insert image</a:t>
            </a:r>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618" y="409475"/>
            <a:ext cx="9773923" cy="681390"/>
          </a:xfrm>
        </p:spPr>
        <p:txBody>
          <a:bodyPr tIns="0" anchor="t" anchorCtr="0"/>
          <a:lstStyle>
            <a:lvl1pPr>
              <a:defRPr sz="1539" cap="all" spc="-48" baseline="0" smtClean="0">
                <a:solidFill>
                  <a:schemeClr val="tx1"/>
                </a:solidFill>
                <a:latin typeface="Verdana" pitchFamily="34" charset="0"/>
              </a:defRPr>
            </a:lvl1pPr>
          </a:lstStyle>
          <a:p>
            <a:r>
              <a:rPr lang="en-GB" noProof="0"/>
              <a:t>Headline</a:t>
            </a: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617" y="1139481"/>
            <a:ext cx="9773463" cy="1254271"/>
          </a:xfrm>
        </p:spPr>
        <p:txBody>
          <a:bodyPr lIns="0"/>
          <a:lstStyle>
            <a:lvl1pPr marL="0" indent="0">
              <a:lnSpc>
                <a:spcPct val="100000"/>
              </a:lnSpc>
              <a:spcAft>
                <a:spcPts val="0"/>
              </a:spcAft>
              <a:buFontTx/>
              <a:buNone/>
              <a:defRPr sz="1539" b="1" cap="all" spc="-48" baseline="0" smtClean="0">
                <a:solidFill>
                  <a:schemeClr val="tx2"/>
                </a:solidFill>
                <a:latin typeface="Verdana" pitchFamily="34" charset="0"/>
              </a:defRPr>
            </a:lvl1pPr>
          </a:lstStyle>
          <a:p>
            <a:r>
              <a:rPr lang="en-GB" noProof="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618" y="5018936"/>
            <a:ext cx="8137938" cy="1084011"/>
          </a:xfrm>
        </p:spPr>
        <p:txBody>
          <a:bodyPr lIns="0"/>
          <a:lstStyle>
            <a:lvl1pPr marL="0" indent="0">
              <a:buFont typeface="Arial" panose="020B0604020202020204" pitchFamily="34" charset="0"/>
              <a:buChar char="​"/>
              <a:defRPr sz="513"/>
            </a:lvl1pPr>
          </a:lstStyle>
          <a:p>
            <a:pPr lvl="0"/>
            <a:r>
              <a:rPr lang="en-GB"/>
              <a:t>Subtitle</a:t>
            </a:r>
          </a:p>
        </p:txBody>
      </p:sp>
      <p:sp>
        <p:nvSpPr>
          <p:cNvPr id="7"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9" name="Slide Number Placeholder 5" hidden="1"/>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7" name="Footer Placeholder 4" hidden="1">
            <a:extLst>
              <a:ext uri="{FF2B5EF4-FFF2-40B4-BE49-F238E27FC236}">
                <a16:creationId xmlns:a16="http://schemas.microsoft.com/office/drawing/2014/main" id="{32F99A81-D9A2-4F30-8989-49FBFDFFBC22}"/>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8" name="Date_DateCustomA">
            <a:extLst>
              <a:ext uri="{FF2B5EF4-FFF2-40B4-BE49-F238E27FC236}">
                <a16:creationId xmlns:a16="http://schemas.microsoft.com/office/drawing/2014/main" id="{4677BC5A-C865-45E8-BEA2-32CF74611B59}"/>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
        <p:nvSpPr>
          <p:cNvPr id="12" name="Text Placeholder 2">
            <a:extLst>
              <a:ext uri="{FF2B5EF4-FFF2-40B4-BE49-F238E27FC236}">
                <a16:creationId xmlns:a16="http://schemas.microsoft.com/office/drawing/2014/main" id="{7BCB23DC-9A5C-4856-B9D3-C9BA6C166827}"/>
              </a:ext>
            </a:extLst>
          </p:cNvPr>
          <p:cNvSpPr>
            <a:spLocks noGrp="1"/>
          </p:cNvSpPr>
          <p:nvPr>
            <p:ph type="body" sz="quarter" idx="12" hasCustomPrompt="1"/>
          </p:nvPr>
        </p:nvSpPr>
        <p:spPr>
          <a:xfrm>
            <a:off x="798617" y="6158174"/>
            <a:ext cx="2826368" cy="255541"/>
          </a:xfrm>
          <a:blipFill>
            <a:blip r:embed="rId2"/>
            <a:stretch>
              <a:fillRect/>
            </a:stretch>
          </a:blipFill>
        </p:spPr>
        <p:txBody>
          <a:bodyPr/>
          <a:lstStyle>
            <a:lvl1pPr marL="0" indent="0">
              <a:buNone/>
              <a:defRPr sz="100">
                <a:noFill/>
              </a:defRPr>
            </a:lvl1pPr>
          </a:lstStyle>
          <a:p>
            <a:pPr lvl="0"/>
            <a:r>
              <a:rPr lang="en-US"/>
              <a:t>.</a:t>
            </a:r>
          </a:p>
        </p:txBody>
      </p:sp>
    </p:spTree>
    <p:extLst>
      <p:ext uri="{BB962C8B-B14F-4D97-AF65-F5344CB8AC3E}">
        <p14:creationId xmlns:p14="http://schemas.microsoft.com/office/powerpoint/2010/main" val="128974741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dark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1" y="0"/>
            <a:ext cx="12192000" cy="6858000"/>
          </a:xfrm>
          <a:solidFill>
            <a:srgbClr val="F6F6F4"/>
          </a:solidFill>
          <a:ln>
            <a:noFill/>
          </a:ln>
        </p:spPr>
        <p:txBody>
          <a:bodyPr tIns="0" anchor="t" anchorCtr="0"/>
          <a:lstStyle>
            <a:lvl1pPr algn="ctr">
              <a:buNone/>
              <a:defRPr>
                <a:solidFill>
                  <a:schemeClr val="tx1"/>
                </a:solidFill>
              </a:defRPr>
            </a:lvl1pPr>
          </a:lstStyle>
          <a:p>
            <a:r>
              <a:rPr lang="en-GB" noProof="0"/>
              <a:t>Mark placeholder to insert image</a:t>
            </a:r>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618" y="409475"/>
            <a:ext cx="9774382" cy="681390"/>
          </a:xfrm>
        </p:spPr>
        <p:txBody>
          <a:bodyPr tIns="0" anchor="t" anchorCtr="0"/>
          <a:lstStyle>
            <a:lvl1pPr>
              <a:defRPr sz="1539" cap="all" spc="-48" baseline="0" smtClean="0">
                <a:solidFill>
                  <a:schemeClr val="tx2"/>
                </a:solidFill>
                <a:latin typeface="Verdana" pitchFamily="34" charset="0"/>
              </a:defRPr>
            </a:lvl1pPr>
          </a:lstStyle>
          <a:p>
            <a:r>
              <a:rPr lang="en-GB" noProof="0"/>
              <a:t>Headline</a:t>
            </a: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617" y="1139481"/>
            <a:ext cx="9773923" cy="1254271"/>
          </a:xfrm>
        </p:spPr>
        <p:txBody>
          <a:bodyPr lIns="0"/>
          <a:lstStyle>
            <a:lvl1pPr marL="0" indent="0">
              <a:lnSpc>
                <a:spcPct val="100000"/>
              </a:lnSpc>
              <a:spcAft>
                <a:spcPts val="0"/>
              </a:spcAft>
              <a:buFontTx/>
              <a:buNone/>
              <a:defRPr sz="1539" b="1" cap="all" spc="-48" baseline="0" smtClean="0">
                <a:solidFill>
                  <a:schemeClr val="bg1"/>
                </a:solidFill>
                <a:latin typeface="Verdana" pitchFamily="34" charset="0"/>
              </a:defRPr>
            </a:lvl1pPr>
          </a:lstStyle>
          <a:p>
            <a:r>
              <a:rPr lang="en-GB" noProof="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618" y="5018936"/>
            <a:ext cx="8137938" cy="1084011"/>
          </a:xfrm>
        </p:spPr>
        <p:txBody>
          <a:bodyPr lIns="0"/>
          <a:lstStyle>
            <a:lvl1pPr marL="0" indent="0">
              <a:buFont typeface="Arial" panose="020B0604020202020204" pitchFamily="34" charset="0"/>
              <a:buChar char="​"/>
              <a:defRPr sz="513">
                <a:solidFill>
                  <a:schemeClr val="bg1"/>
                </a:solidFill>
              </a:defRPr>
            </a:lvl1pPr>
          </a:lstStyle>
          <a:p>
            <a:pPr lvl="0"/>
            <a:r>
              <a:rPr lang="en-GB"/>
              <a:t>Subtitle</a:t>
            </a:r>
          </a:p>
        </p:txBody>
      </p:sp>
      <p:sp>
        <p:nvSpPr>
          <p:cNvPr id="7"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19" name="Slide Number Placeholder 5" hidden="1">
            <a:extLst>
              <a:ext uri="{FF2B5EF4-FFF2-40B4-BE49-F238E27FC236}">
                <a16:creationId xmlns:a16="http://schemas.microsoft.com/office/drawing/2014/main" id="{F31626DF-C504-456C-BABA-F9E112AEAE62}"/>
              </a:ext>
            </a:extLst>
          </p:cNvPr>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22" name="Footer Placeholder 4" hidden="1">
            <a:extLst>
              <a:ext uri="{FF2B5EF4-FFF2-40B4-BE49-F238E27FC236}">
                <a16:creationId xmlns:a16="http://schemas.microsoft.com/office/drawing/2014/main" id="{148EA343-9CD9-4A35-8E70-A9FAF3855BD9}"/>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23" name="Date_DateCustomA" hidden="1">
            <a:extLst>
              <a:ext uri="{FF2B5EF4-FFF2-40B4-BE49-F238E27FC236}">
                <a16:creationId xmlns:a16="http://schemas.microsoft.com/office/drawing/2014/main" id="{D46E539C-AF02-4268-B134-91B646ABB7B9}"/>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
        <p:nvSpPr>
          <p:cNvPr id="12" name="Text Placeholder 2">
            <a:extLst>
              <a:ext uri="{FF2B5EF4-FFF2-40B4-BE49-F238E27FC236}">
                <a16:creationId xmlns:a16="http://schemas.microsoft.com/office/drawing/2014/main" id="{CB71DD6B-2BD1-40F7-8209-3A56F244488F}"/>
              </a:ext>
            </a:extLst>
          </p:cNvPr>
          <p:cNvSpPr>
            <a:spLocks noGrp="1"/>
          </p:cNvSpPr>
          <p:nvPr>
            <p:ph type="body" sz="quarter" idx="12" hasCustomPrompt="1"/>
          </p:nvPr>
        </p:nvSpPr>
        <p:spPr>
          <a:xfrm>
            <a:off x="798617" y="6158174"/>
            <a:ext cx="2826368" cy="255541"/>
          </a:xfrm>
          <a:blipFill>
            <a:blip r:embed="rId2"/>
            <a:stretch>
              <a:fillRect/>
            </a:stretch>
          </a:blipFill>
        </p:spPr>
        <p:txBody>
          <a:bodyPr/>
          <a:lstStyle>
            <a:lvl1pPr marL="0" indent="0">
              <a:buNone/>
              <a:defRPr sz="100">
                <a:noFill/>
              </a:defRPr>
            </a:lvl1pPr>
          </a:lstStyle>
          <a:p>
            <a:pPr lvl="0"/>
            <a:r>
              <a:rPr lang="en-US"/>
              <a:t>.</a:t>
            </a:r>
          </a:p>
        </p:txBody>
      </p:sp>
    </p:spTree>
    <p:extLst>
      <p:ext uri="{BB962C8B-B14F-4D97-AF65-F5344CB8AC3E}">
        <p14:creationId xmlns:p14="http://schemas.microsoft.com/office/powerpoint/2010/main" val="78005292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reaker (A)">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24" name="Title 1">
            <a:extLst>
              <a:ext uri="{FF2B5EF4-FFF2-40B4-BE49-F238E27FC236}">
                <a16:creationId xmlns:a16="http://schemas.microsoft.com/office/drawing/2014/main" id="{205C9348-6845-4A4F-958A-4A052BC8EDF6}"/>
              </a:ext>
            </a:extLst>
          </p:cNvPr>
          <p:cNvSpPr>
            <a:spLocks noGrp="1"/>
          </p:cNvSpPr>
          <p:nvPr>
            <p:ph type="title" hasCustomPrompt="1"/>
          </p:nvPr>
        </p:nvSpPr>
        <p:spPr>
          <a:xfrm>
            <a:off x="798618" y="452438"/>
            <a:ext cx="7330441" cy="5254627"/>
          </a:xfrm>
        </p:spPr>
        <p:txBody>
          <a:bodyPr/>
          <a:lstStyle>
            <a:lvl1pPr>
              <a:defRPr sz="1539">
                <a:solidFill>
                  <a:schemeClr val="bg1"/>
                </a:solidFill>
              </a:defRPr>
            </a:lvl1pPr>
          </a:lstStyle>
          <a:p>
            <a:r>
              <a:rPr lang="en-GB"/>
              <a:t>Breaker text</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1" name="Freeform 5">
            <a:extLst>
              <a:ext uri="{FF2B5EF4-FFF2-40B4-BE49-F238E27FC236}">
                <a16:creationId xmlns:a16="http://schemas.microsoft.com/office/drawing/2014/main" id="{19783461-93EA-4162-AC89-71558EC415F3}"/>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29326" tIns="14663" rIns="29326" bIns="14663" numCol="1" anchor="t" anchorCtr="0" compatLnSpc="1">
            <a:prstTxWarp prst="textNoShape">
              <a:avLst/>
            </a:prstTxWarp>
          </a:bodyPr>
          <a:lstStyle/>
          <a:p>
            <a:endParaRPr lang="en-GB" sz="577"/>
          </a:p>
        </p:txBody>
      </p:sp>
      <p:sp>
        <p:nvSpPr>
          <p:cNvPr id="10" name="Footer Placeholder 4">
            <a:extLst>
              <a:ext uri="{FF2B5EF4-FFF2-40B4-BE49-F238E27FC236}">
                <a16:creationId xmlns:a16="http://schemas.microsoft.com/office/drawing/2014/main" id="{8EE38BD6-B0DE-4974-8C0E-549D4DF8AD81}"/>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4F117C74-452F-4005-AE59-9EDC236F06C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39E358D6-2C07-4588-BB20-50FD0000CCEB}" type="datetime1">
              <a:rPr lang="en-GB" smtClean="0"/>
              <a:t>19/06/2024</a:t>
            </a:fld>
            <a:endParaRPr lang="en-GB"/>
          </a:p>
        </p:txBody>
      </p:sp>
    </p:spTree>
    <p:extLst>
      <p:ext uri="{BB962C8B-B14F-4D97-AF65-F5344CB8AC3E}">
        <p14:creationId xmlns:p14="http://schemas.microsoft.com/office/powerpoint/2010/main" val="12459305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reaker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C666208A-F4F9-4299-9F9F-6881C4C08564}"/>
              </a:ext>
            </a:extLst>
          </p:cNvPr>
          <p:cNvSpPr/>
          <p:nvPr userDrawn="1"/>
        </p:nvSpPr>
        <p:spPr>
          <a:xfrm>
            <a:off x="1"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619" y="452438"/>
            <a:ext cx="4886960" cy="5254627"/>
          </a:xfrm>
        </p:spPr>
        <p:txBody>
          <a:bodyPr/>
          <a:lstStyle>
            <a:lvl1pPr>
              <a:defRPr>
                <a:solidFill>
                  <a:schemeClr val="bg1"/>
                </a:solidFill>
              </a:defRPr>
            </a:lvl1pPr>
          </a:lstStyle>
          <a:p>
            <a:r>
              <a:rPr lang="en-GB"/>
              <a:t>Breaker text</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29326" tIns="14663" rIns="29326" bIns="14663" numCol="1" anchor="t" anchorCtr="0" compatLnSpc="1">
            <a:prstTxWarp prst="textNoShape">
              <a:avLst/>
            </a:prstTxWarp>
          </a:bodyPr>
          <a:lstStyle/>
          <a:p>
            <a:endParaRPr lang="en-GB" sz="577"/>
          </a:p>
        </p:txBody>
      </p:sp>
      <p:sp>
        <p:nvSpPr>
          <p:cNvPr id="11" name="Footer Placeholder 4">
            <a:extLst>
              <a:ext uri="{FF2B5EF4-FFF2-40B4-BE49-F238E27FC236}">
                <a16:creationId xmlns:a16="http://schemas.microsoft.com/office/drawing/2014/main" id="{7AE25691-DC33-4C04-AF2A-3DEFF887BB00}"/>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7" name="Date_DateCustomA">
            <a:extLst>
              <a:ext uri="{FF2B5EF4-FFF2-40B4-BE49-F238E27FC236}">
                <a16:creationId xmlns:a16="http://schemas.microsoft.com/office/drawing/2014/main" id="{F99201D3-72C4-4206-8970-FC1ACB025C0A}"/>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E6892AED-DD77-42C7-BB42-12F75B7E66E8}" type="datetime1">
              <a:rPr lang="en-GB" smtClean="0"/>
              <a:t>19/06/2024</a:t>
            </a:fld>
            <a:endParaRPr lang="en-GB"/>
          </a:p>
        </p:txBody>
      </p:sp>
    </p:spTree>
    <p:extLst>
      <p:ext uri="{BB962C8B-B14F-4D97-AF65-F5344CB8AC3E}">
        <p14:creationId xmlns:p14="http://schemas.microsoft.com/office/powerpoint/2010/main" val="140055642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1C52AC6E-7F31-46F0-897C-8CA895D525E5}"/>
              </a:ext>
            </a:extLst>
          </p:cNvPr>
          <p:cNvSpPr/>
          <p:nvPr userDrawn="1"/>
        </p:nvSpPr>
        <p:spPr>
          <a:xfrm>
            <a:off x="1"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10" name="Title 3">
            <a:extLst>
              <a:ext uri="{FF2B5EF4-FFF2-40B4-BE49-F238E27FC236}">
                <a16:creationId xmlns:a16="http://schemas.microsoft.com/office/drawing/2014/main" id="{12A0CAF9-565B-4643-8539-61D9B882A512}"/>
              </a:ext>
            </a:extLst>
          </p:cNvPr>
          <p:cNvSpPr>
            <a:spLocks noGrp="1"/>
          </p:cNvSpPr>
          <p:nvPr>
            <p:ph type="title"/>
          </p:nvPr>
        </p:nvSpPr>
        <p:spPr>
          <a:xfrm>
            <a:off x="798617" y="453496"/>
            <a:ext cx="10590003" cy="748626"/>
          </a:xfrm>
        </p:spPr>
        <p:txBody>
          <a:bodyPr/>
          <a:lstStyle>
            <a:lvl1pPr>
              <a:defRPr>
                <a:solidFill>
                  <a:schemeClr val="bg1"/>
                </a:solidFill>
              </a:defRPr>
            </a:lvl1pPr>
          </a:lstStyle>
          <a:p>
            <a:r>
              <a:rPr lang="en-US"/>
              <a:t>Click to edit Master title style</a:t>
            </a:r>
            <a:endParaRPr lang="en-GB"/>
          </a:p>
        </p:txBody>
      </p:sp>
      <p:sp>
        <p:nvSpPr>
          <p:cNvPr id="5" name="Text Placeholder 4">
            <a:extLst>
              <a:ext uri="{FF2B5EF4-FFF2-40B4-BE49-F238E27FC236}">
                <a16:creationId xmlns:a16="http://schemas.microsoft.com/office/drawing/2014/main" id="{86D6618B-DF84-4E96-B2FD-7B59D5717CEB}"/>
              </a:ext>
            </a:extLst>
          </p:cNvPr>
          <p:cNvSpPr>
            <a:spLocks noGrp="1"/>
          </p:cNvSpPr>
          <p:nvPr>
            <p:ph type="body" sz="quarter" idx="13" hasCustomPrompt="1"/>
          </p:nvPr>
        </p:nvSpPr>
        <p:spPr>
          <a:xfrm>
            <a:off x="798618" y="1633160"/>
            <a:ext cx="10590003" cy="4086866"/>
          </a:xfrm>
        </p:spPr>
        <p:txBody>
          <a:bodyPr/>
          <a:lstStyle>
            <a:lvl1pPr marL="116075" indent="-116075">
              <a:buFont typeface="+mj-lt"/>
              <a:buAutoNum type="arabicPeriod"/>
              <a:defRPr sz="449" b="1" cap="all" baseline="0">
                <a:solidFill>
                  <a:schemeClr val="bg1"/>
                </a:solidFill>
              </a:defRPr>
            </a:lvl1pPr>
            <a:lvl2pPr marL="201095" indent="-85020">
              <a:defRPr sz="449" b="1" cap="all" baseline="0">
                <a:solidFill>
                  <a:schemeClr val="bg1"/>
                </a:solidFill>
              </a:defRPr>
            </a:lvl2pPr>
            <a:lvl3pPr>
              <a:defRPr b="1" cap="all" baseline="0">
                <a:solidFill>
                  <a:schemeClr val="bg1"/>
                </a:solidFill>
              </a:defRPr>
            </a:lvl3pPr>
            <a:lvl4pPr>
              <a:defRPr b="1" cap="all" baseline="0">
                <a:solidFill>
                  <a:schemeClr val="bg1"/>
                </a:solidFill>
              </a:defRPr>
            </a:lvl4pPr>
            <a:lvl5pPr>
              <a:defRPr b="1" cap="all" baseline="0">
                <a:solidFill>
                  <a:schemeClr val="bg1"/>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29326" tIns="14663" rIns="29326" bIns="14663" numCol="1" anchor="t" anchorCtr="0" compatLnSpc="1">
            <a:prstTxWarp prst="textNoShape">
              <a:avLst/>
            </a:prstTxWarp>
          </a:bodyPr>
          <a:lstStyle/>
          <a:p>
            <a:endParaRPr lang="en-GB" sz="577"/>
          </a:p>
        </p:txBody>
      </p:sp>
      <p:sp>
        <p:nvSpPr>
          <p:cNvPr id="15" name="Footer Placeholder 4">
            <a:extLst>
              <a:ext uri="{FF2B5EF4-FFF2-40B4-BE49-F238E27FC236}">
                <a16:creationId xmlns:a16="http://schemas.microsoft.com/office/drawing/2014/main" id="{3023EA8A-7243-49C8-8C39-DC7F2EDABC60}"/>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7" name="Date_DateCustomA">
            <a:extLst>
              <a:ext uri="{FF2B5EF4-FFF2-40B4-BE49-F238E27FC236}">
                <a16:creationId xmlns:a16="http://schemas.microsoft.com/office/drawing/2014/main" id="{0BFC8F03-4431-41CF-AF1F-ECDA545293A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CD4A6F46-B6F7-4994-AAE4-379699F66888}" type="datetime1">
              <a:rPr lang="en-GB" smtClean="0"/>
              <a:t>19/06/2024</a:t>
            </a:fld>
            <a:endParaRPr lang="en-GB"/>
          </a:p>
        </p:txBody>
      </p:sp>
    </p:spTree>
    <p:extLst>
      <p:ext uri="{BB962C8B-B14F-4D97-AF65-F5344CB8AC3E}">
        <p14:creationId xmlns:p14="http://schemas.microsoft.com/office/powerpoint/2010/main" val="270774680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DBAD0C-7FB6-4652-87AA-A678753BF180}"/>
              </a:ext>
            </a:extLst>
          </p:cNvPr>
          <p:cNvSpPr>
            <a:spLocks noGrp="1"/>
          </p:cNvSpPr>
          <p:nvPr>
            <p:ph type="title"/>
          </p:nvPr>
        </p:nvSpPr>
        <p:spPr>
          <a:xfrm>
            <a:off x="798617" y="453496"/>
            <a:ext cx="10590003" cy="748626"/>
          </a:xfrm>
        </p:spPr>
        <p:txBody>
          <a:bodyPr/>
          <a:lstStyle/>
          <a:p>
            <a:r>
              <a:rPr lang="en-US"/>
              <a:t>Click to edit Master title style</a:t>
            </a:r>
            <a:endParaRPr lang="en-GB"/>
          </a:p>
        </p:txBody>
      </p:sp>
      <p:sp>
        <p:nvSpPr>
          <p:cNvPr id="3" name="Content Placeholder 2"/>
          <p:cNvSpPr>
            <a:spLocks noGrp="1"/>
          </p:cNvSpPr>
          <p:nvPr>
            <p:ph idx="1" hasCustomPrompt="1"/>
          </p:nvPr>
        </p:nvSpPr>
        <p:spPr>
          <a:xfrm>
            <a:off x="798617" y="1644652"/>
            <a:ext cx="10590003"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5" name="Footer Placeholder 4">
            <a:extLst>
              <a:ext uri="{FF2B5EF4-FFF2-40B4-BE49-F238E27FC236}">
                <a16:creationId xmlns:a16="http://schemas.microsoft.com/office/drawing/2014/main" id="{C5FF0F6B-AA6E-4B16-90F1-26987BBE96A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7" name="Date_DateCustomA">
            <a:extLst>
              <a:ext uri="{FF2B5EF4-FFF2-40B4-BE49-F238E27FC236}">
                <a16:creationId xmlns:a16="http://schemas.microsoft.com/office/drawing/2014/main" id="{FDCD1E09-F97D-49B0-8DE9-0E701EFB5FBE}"/>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3B98ADA4-E8FA-45D8-A667-5B7FA1A67187}" type="datetime1">
              <a:rPr lang="en-GB" smtClean="0"/>
              <a:t>19/06/2024</a:t>
            </a:fld>
            <a:endParaRPr lang="en-GB"/>
          </a:p>
        </p:txBody>
      </p:sp>
    </p:spTree>
    <p:extLst>
      <p:ext uri="{BB962C8B-B14F-4D97-AF65-F5344CB8AC3E}">
        <p14:creationId xmlns:p14="http://schemas.microsoft.com/office/powerpoint/2010/main" val="81755162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4886961"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49478155-5C9E-4D4A-AA75-125DF35A1CB8}"/>
              </a:ext>
            </a:extLst>
          </p:cNvPr>
          <p:cNvSpPr>
            <a:spLocks noGrp="1"/>
          </p:cNvSpPr>
          <p:nvPr>
            <p:ph sz="quarter" idx="16"/>
          </p:nvPr>
        </p:nvSpPr>
        <p:spPr>
          <a:xfrm>
            <a:off x="6500071" y="1644651"/>
            <a:ext cx="4888549" cy="40624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1B842E0E-6D91-4141-882C-6C91050C6F2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8" name="Date_DateCustomA">
            <a:extLst>
              <a:ext uri="{FF2B5EF4-FFF2-40B4-BE49-F238E27FC236}">
                <a16:creationId xmlns:a16="http://schemas.microsoft.com/office/drawing/2014/main" id="{C64885CE-5A72-464C-A675-4AEA666E3E68}"/>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51C8650-3279-4A76-90A4-98B51440301C}" type="datetime1">
              <a:rPr lang="en-GB" smtClean="0"/>
              <a:t>19/06/2024</a:t>
            </a:fld>
            <a:endParaRPr lang="en-GB"/>
          </a:p>
        </p:txBody>
      </p:sp>
    </p:spTree>
    <p:extLst>
      <p:ext uri="{BB962C8B-B14F-4D97-AF65-F5344CB8AC3E}">
        <p14:creationId xmlns:p14="http://schemas.microsoft.com/office/powerpoint/2010/main" val="49855478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4072467"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3" name="Content Placeholder 4">
            <a:extLst>
              <a:ext uri="{FF2B5EF4-FFF2-40B4-BE49-F238E27FC236}">
                <a16:creationId xmlns:a16="http://schemas.microsoft.com/office/drawing/2014/main" id="{535335C1-5736-449E-B5A3-80EF8EFB92D0}"/>
              </a:ext>
            </a:extLst>
          </p:cNvPr>
          <p:cNvSpPr>
            <a:spLocks noGrp="1"/>
          </p:cNvSpPr>
          <p:nvPr>
            <p:ph sz="quarter" idx="16"/>
          </p:nvPr>
        </p:nvSpPr>
        <p:spPr>
          <a:xfrm>
            <a:off x="5685579" y="1644651"/>
            <a:ext cx="5703042" cy="40624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4485281A-363B-4F1C-8128-EA4AF52562B6}"/>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8" name="Date_DateCustomA">
            <a:extLst>
              <a:ext uri="{FF2B5EF4-FFF2-40B4-BE49-F238E27FC236}">
                <a16:creationId xmlns:a16="http://schemas.microsoft.com/office/drawing/2014/main" id="{B0E6362C-AD60-4A3E-B1BD-8ACCD0B3D70E}"/>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B13202A9-DE11-408D-9B8A-7630BF567349}" type="datetime1">
              <a:rPr lang="en-GB" smtClean="0"/>
              <a:t>19/06/2024</a:t>
            </a:fld>
            <a:endParaRPr lang="en-GB"/>
          </a:p>
        </p:txBody>
      </p:sp>
    </p:spTree>
    <p:extLst>
      <p:ext uri="{BB962C8B-B14F-4D97-AF65-F5344CB8AC3E}">
        <p14:creationId xmlns:p14="http://schemas.microsoft.com/office/powerpoint/2010/main" val="20688969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F0DDBC-A080-42CE-8715-C06C1706FFC5}"/>
              </a:ext>
            </a:extLst>
          </p:cNvPr>
          <p:cNvGraphicFramePr>
            <a:graphicFrameLocks noChangeAspect="1"/>
          </p:cNvGraphicFramePr>
          <p:nvPr userDrawn="1">
            <p:custDataLst>
              <p:tags r:id="rId1"/>
            </p:custDataLst>
            <p:extLst>
              <p:ext uri="{D42A27DB-BD31-4B8C-83A1-F6EECF244321}">
                <p14:modId xmlns:p14="http://schemas.microsoft.com/office/powerpoint/2010/main" val="2586833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3F0DDBC-A080-42CE-8715-C06C1706FF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da-DK" smtClean="0"/>
              <a:pPr/>
              <a:t>19-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039157876"/>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5701454"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4">
            <a:extLst>
              <a:ext uri="{FF2B5EF4-FFF2-40B4-BE49-F238E27FC236}">
                <a16:creationId xmlns:a16="http://schemas.microsoft.com/office/drawing/2014/main" id="{414EC495-A6B9-4C60-A011-7047269C9CE9}"/>
              </a:ext>
            </a:extLst>
          </p:cNvPr>
          <p:cNvSpPr>
            <a:spLocks noGrp="1"/>
          </p:cNvSpPr>
          <p:nvPr>
            <p:ph sz="quarter" idx="16"/>
          </p:nvPr>
        </p:nvSpPr>
        <p:spPr>
          <a:xfrm>
            <a:off x="7314565" y="1644651"/>
            <a:ext cx="4074055" cy="40624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B60EC9E1-A6E7-4EDC-A604-820C98771D29}"/>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73643761-53E5-4729-8F9C-AC57323CEE05}"/>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620D795-7D6C-4DDD-9364-2C8C35AA87F6}" type="datetime1">
              <a:rPr lang="en-GB" smtClean="0"/>
              <a:t>19/06/2024</a:t>
            </a:fld>
            <a:endParaRPr lang="en-GB"/>
          </a:p>
        </p:txBody>
      </p:sp>
    </p:spTree>
    <p:extLst>
      <p:ext uri="{BB962C8B-B14F-4D97-AF65-F5344CB8AC3E}">
        <p14:creationId xmlns:p14="http://schemas.microsoft.com/office/powerpoint/2010/main" val="153649143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and icon (A)">
    <p:spTree>
      <p:nvGrpSpPr>
        <p:cNvPr id="1" name=""/>
        <p:cNvGrpSpPr/>
        <p:nvPr/>
      </p:nvGrpSpPr>
      <p:grpSpPr>
        <a:xfrm>
          <a:off x="0" y="0"/>
          <a:ext cx="0" cy="0"/>
          <a:chOff x="0" y="0"/>
          <a:chExt cx="0" cy="0"/>
        </a:xfrm>
      </p:grpSpPr>
      <p:sp>
        <p:nvSpPr>
          <p:cNvPr id="4" name="Title 1"/>
          <p:cNvSpPr>
            <a:spLocks noGrp="1"/>
          </p:cNvSpPr>
          <p:nvPr>
            <p:ph type="title"/>
          </p:nvPr>
        </p:nvSpPr>
        <p:spPr>
          <a:xfrm>
            <a:off x="798618" y="452439"/>
            <a:ext cx="8959428" cy="748626"/>
          </a:xfrm>
        </p:spPr>
        <p:txBody>
          <a:bodyPr/>
          <a:lstStyle/>
          <a:p>
            <a:r>
              <a:rPr lang="en-US"/>
              <a:t>Click to edit Master title style</a:t>
            </a:r>
            <a:endParaRPr lang="en-GB"/>
          </a:p>
        </p:txBody>
      </p:sp>
      <p:sp>
        <p:nvSpPr>
          <p:cNvPr id="3" name="Content Placeholder 2"/>
          <p:cNvSpPr>
            <a:spLocks noGrp="1"/>
          </p:cNvSpPr>
          <p:nvPr>
            <p:ph idx="1" hasCustomPrompt="1"/>
          </p:nvPr>
        </p:nvSpPr>
        <p:spPr>
          <a:xfrm>
            <a:off x="798617" y="1644652"/>
            <a:ext cx="10590003"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Picture Placeholder 3">
            <a:extLst>
              <a:ext uri="{FF2B5EF4-FFF2-40B4-BE49-F238E27FC236}">
                <a16:creationId xmlns:a16="http://schemas.microsoft.com/office/drawing/2014/main" id="{6FB39600-48A6-438C-ACEE-E7C3FBF9C3A2}"/>
              </a:ext>
            </a:extLst>
          </p:cNvPr>
          <p:cNvSpPr>
            <a:spLocks noGrp="1"/>
          </p:cNvSpPr>
          <p:nvPr>
            <p:ph type="pic" sz="quarter" idx="11" hasCustomPrompt="1"/>
          </p:nvPr>
        </p:nvSpPr>
        <p:spPr>
          <a:xfrm>
            <a:off x="10572540" y="452439"/>
            <a:ext cx="801068" cy="800779"/>
          </a:xfrm>
          <a:noFill/>
          <a:ln>
            <a:noFill/>
          </a:ln>
        </p:spPr>
        <p:txBody>
          <a:bodyPr lIns="38399" tIns="0" anchor="t" anchorCtr="0"/>
          <a:lstStyle>
            <a:lvl1pPr marL="0" indent="0">
              <a:buNone/>
              <a:defRPr sz="577">
                <a:solidFill>
                  <a:schemeClr val="tx1"/>
                </a:solidFill>
              </a:defRPr>
            </a:lvl1pPr>
          </a:lstStyle>
          <a:p>
            <a:r>
              <a:rPr lang="en-GB" noProof="0"/>
              <a:t>icon</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C4DE7E55-1B3D-4B43-B1B5-DE5E4FAB9891}"/>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8" name="Date_DateCustomA">
            <a:extLst>
              <a:ext uri="{FF2B5EF4-FFF2-40B4-BE49-F238E27FC236}">
                <a16:creationId xmlns:a16="http://schemas.microsoft.com/office/drawing/2014/main" id="{F5D459F2-4C14-4DC3-8A9D-B1E9DF21E4C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9B90C0BA-1BD5-469D-8018-C447C1EB2A93}" type="datetime1">
              <a:rPr lang="en-GB" smtClean="0"/>
              <a:t>19/06/2024</a:t>
            </a:fld>
            <a:endParaRPr lang="en-GB"/>
          </a:p>
        </p:txBody>
      </p:sp>
    </p:spTree>
    <p:extLst>
      <p:ext uri="{BB962C8B-B14F-4D97-AF65-F5344CB8AC3E}">
        <p14:creationId xmlns:p14="http://schemas.microsoft.com/office/powerpoint/2010/main" val="281045398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and icon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618" y="1644652"/>
            <a:ext cx="8959428"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10572539" y="1644654"/>
            <a:ext cx="818271" cy="817975"/>
          </a:xfrm>
          <a:noFill/>
          <a:ln>
            <a:noFill/>
          </a:ln>
        </p:spPr>
        <p:txBody>
          <a:bodyPr lIns="38399" tIns="0" anchor="t" anchorCtr="0"/>
          <a:lstStyle>
            <a:lvl1pPr marL="0" indent="0">
              <a:buNone/>
              <a:defRPr sz="577">
                <a:solidFill>
                  <a:schemeClr val="tx1"/>
                </a:solidFill>
              </a:defRPr>
            </a:lvl1pPr>
          </a:lstStyle>
          <a:p>
            <a:r>
              <a:rPr lang="en-GB" noProof="0"/>
              <a:t>icon</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E31502FD-B05E-464F-8932-42D027579D97}"/>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AA65EC4C-43E8-483C-B54B-30D5535BB4C8}"/>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02DADF78-B3EF-4042-B2F9-5AAFBCE5A22E}" type="datetime1">
              <a:rPr lang="en-GB" smtClean="0"/>
              <a:t>19/06/2024</a:t>
            </a:fld>
            <a:endParaRPr lang="en-GB"/>
          </a:p>
        </p:txBody>
      </p:sp>
    </p:spTree>
    <p:extLst>
      <p:ext uri="{BB962C8B-B14F-4D97-AF65-F5344CB8AC3E}">
        <p14:creationId xmlns:p14="http://schemas.microsoft.com/office/powerpoint/2010/main" val="40153172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and illustration (A)">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618" y="1644652"/>
            <a:ext cx="6515948"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8129058" y="1644653"/>
            <a:ext cx="3259562" cy="3239941"/>
          </a:xfrm>
          <a:noFill/>
          <a:ln>
            <a:noFill/>
          </a:ln>
        </p:spPr>
        <p:txBody>
          <a:bodyPr lIns="38399" tIns="0" anchor="t" anchorCtr="0"/>
          <a:lstStyle>
            <a:lvl1pPr marL="0" indent="0">
              <a:buNone/>
              <a:defRPr sz="577">
                <a:solidFill>
                  <a:schemeClr val="tx1"/>
                </a:solidFill>
              </a:defRPr>
            </a:lvl1pPr>
          </a:lstStyle>
          <a:p>
            <a:r>
              <a:rPr lang="en-GB">
                <a:effectLst/>
              </a:rPr>
              <a:t>illustration</a:t>
            </a:r>
            <a:endParaRPr lang="en-GB" noProof="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FB97A6BE-821A-4BF5-AFE7-9A048351C6D9}"/>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11815BEB-2C63-4CBF-9795-6F15022666B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BA51A42-5836-428D-B66B-B65A92E2CCAA}" type="datetime1">
              <a:rPr lang="en-GB" smtClean="0"/>
              <a:t>19/06/2024</a:t>
            </a:fld>
            <a:endParaRPr lang="en-GB"/>
          </a:p>
        </p:txBody>
      </p:sp>
    </p:spTree>
    <p:extLst>
      <p:ext uri="{BB962C8B-B14F-4D97-AF65-F5344CB8AC3E}">
        <p14:creationId xmlns:p14="http://schemas.microsoft.com/office/powerpoint/2010/main" val="268739970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and  illustration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5701454"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Picture Placeholder 4">
            <a:extLst>
              <a:ext uri="{FF2B5EF4-FFF2-40B4-BE49-F238E27FC236}">
                <a16:creationId xmlns:a16="http://schemas.microsoft.com/office/drawing/2014/main" id="{286587FC-F18B-4FBE-8CD2-663B9BA8C734}"/>
              </a:ext>
            </a:extLst>
          </p:cNvPr>
          <p:cNvSpPr>
            <a:spLocks noGrp="1"/>
          </p:cNvSpPr>
          <p:nvPr>
            <p:ph type="pic" sz="quarter" idx="14" hasCustomPrompt="1"/>
          </p:nvPr>
        </p:nvSpPr>
        <p:spPr>
          <a:xfrm>
            <a:off x="7314567" y="1644269"/>
            <a:ext cx="4074055" cy="4062797"/>
          </a:xfrm>
        </p:spPr>
        <p:txBody>
          <a:bodyPr/>
          <a:lstStyle>
            <a:lvl1pPr marL="0" indent="0">
              <a:buNone/>
              <a:defRPr/>
            </a:lvl1pPr>
          </a:lstStyle>
          <a:p>
            <a:r>
              <a:rPr lang="en-GB">
                <a:effectLst/>
              </a:rPr>
              <a:t>illustration</a:t>
            </a:r>
            <a:endParaRPr lang="en-GB" noProof="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6" name="Footer Placeholder 4">
            <a:extLst>
              <a:ext uri="{FF2B5EF4-FFF2-40B4-BE49-F238E27FC236}">
                <a16:creationId xmlns:a16="http://schemas.microsoft.com/office/drawing/2014/main" id="{9B89233D-8149-4491-95B2-DE11051C8619}"/>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8" name="Date_DateCustomA">
            <a:extLst>
              <a:ext uri="{FF2B5EF4-FFF2-40B4-BE49-F238E27FC236}">
                <a16:creationId xmlns:a16="http://schemas.microsoft.com/office/drawing/2014/main" id="{D2C9554E-F561-4DDA-B278-92702108D9B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136937CD-C8B6-42FA-9EC6-EF300AFFE646}" type="datetime1">
              <a:rPr lang="en-GB" smtClean="0"/>
              <a:t>19/06/2024</a:t>
            </a:fld>
            <a:endParaRPr lang="en-GB"/>
          </a:p>
        </p:txBody>
      </p:sp>
    </p:spTree>
    <p:extLst>
      <p:ext uri="{BB962C8B-B14F-4D97-AF65-F5344CB8AC3E}">
        <p14:creationId xmlns:p14="http://schemas.microsoft.com/office/powerpoint/2010/main" val="88727722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and fact text">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618" y="1644652"/>
            <a:ext cx="7330441"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Placeholder 6">
            <a:extLst>
              <a:ext uri="{FF2B5EF4-FFF2-40B4-BE49-F238E27FC236}">
                <a16:creationId xmlns:a16="http://schemas.microsoft.com/office/drawing/2014/main" id="{89007D2D-A158-459C-BE2E-0A1D348DA7C9}"/>
              </a:ext>
            </a:extLst>
          </p:cNvPr>
          <p:cNvSpPr>
            <a:spLocks noGrp="1"/>
          </p:cNvSpPr>
          <p:nvPr>
            <p:ph type="body" sz="quarter" idx="15" hasCustomPrompt="1"/>
          </p:nvPr>
        </p:nvSpPr>
        <p:spPr>
          <a:xfrm>
            <a:off x="8943552" y="1644391"/>
            <a:ext cx="2445069"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3</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3" name="Text Placeholder 6">
            <a:extLst>
              <a:ext uri="{FF2B5EF4-FFF2-40B4-BE49-F238E27FC236}">
                <a16:creationId xmlns:a16="http://schemas.microsoft.com/office/drawing/2014/main" id="{99C5C721-7970-4C21-B42B-33753616C1B3}"/>
              </a:ext>
            </a:extLst>
          </p:cNvPr>
          <p:cNvSpPr>
            <a:spLocks noGrp="1"/>
          </p:cNvSpPr>
          <p:nvPr>
            <p:ph type="body" sz="quarter" idx="14" hasCustomPrompt="1"/>
          </p:nvPr>
        </p:nvSpPr>
        <p:spPr>
          <a:xfrm>
            <a:off x="8943553" y="4991259"/>
            <a:ext cx="2445068" cy="715807"/>
          </a:xfrm>
        </p:spPr>
        <p:txBody>
          <a:bodyPr lIns="0" anchor="b" anchorCtr="0"/>
          <a:lstStyle>
            <a:lvl1pPr marL="73310" indent="-73310">
              <a:lnSpc>
                <a:spcPct val="80000"/>
              </a:lnSpc>
              <a:spcAft>
                <a:spcPts val="385"/>
              </a:spcAft>
              <a:buFont typeface="+mj-lt"/>
              <a:buAutoNum type="arabicParenR"/>
              <a:defRPr sz="321" b="0" i="1" cap="none" spc="0" baseline="0">
                <a:solidFill>
                  <a:schemeClr val="bg2"/>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Not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grpSp>
        <p:nvGrpSpPr>
          <p:cNvPr id="3" name="Group 2">
            <a:extLst>
              <a:ext uri="{FF2B5EF4-FFF2-40B4-BE49-F238E27FC236}">
                <a16:creationId xmlns:a16="http://schemas.microsoft.com/office/drawing/2014/main" id="{CBDD567F-EFA3-4304-9F2D-5128B34EFFF1}"/>
              </a:ext>
            </a:extLst>
          </p:cNvPr>
          <p:cNvGrpSpPr/>
          <p:nvPr userDrawn="1"/>
        </p:nvGrpSpPr>
        <p:grpSpPr>
          <a:xfrm>
            <a:off x="12341465" y="1633992"/>
            <a:ext cx="1797025" cy="2906915"/>
            <a:chOff x="12403271" y="-1"/>
            <a:chExt cx="1796791" cy="2907588"/>
          </a:xfrm>
        </p:grpSpPr>
        <p:pic>
          <p:nvPicPr>
            <p:cNvPr id="9" name="Picture 8">
              <a:extLst>
                <a:ext uri="{FF2B5EF4-FFF2-40B4-BE49-F238E27FC236}">
                  <a16:creationId xmlns:a16="http://schemas.microsoft.com/office/drawing/2014/main" id="{760E582F-46F7-4DF2-ABCB-E07E85419FF4}"/>
                </a:ext>
              </a:extLst>
            </p:cNvPr>
            <p:cNvPicPr>
              <a:picLocks noChangeAspect="1"/>
            </p:cNvPicPr>
            <p:nvPr userDrawn="1"/>
          </p:nvPicPr>
          <p:blipFill>
            <a:blip r:embed="rId2"/>
            <a:stretch>
              <a:fillRect/>
            </a:stretch>
          </p:blipFill>
          <p:spPr>
            <a:xfrm>
              <a:off x="12414617" y="1122667"/>
              <a:ext cx="1261627" cy="1565633"/>
            </a:xfrm>
            <a:prstGeom prst="rect">
              <a:avLst/>
            </a:prstGeom>
          </p:spPr>
        </p:pic>
        <p:grpSp>
          <p:nvGrpSpPr>
            <p:cNvPr id="12" name="Group 11">
              <a:extLst>
                <a:ext uri="{FF2B5EF4-FFF2-40B4-BE49-F238E27FC236}">
                  <a16:creationId xmlns:a16="http://schemas.microsoft.com/office/drawing/2014/main" id="{FA367DCD-123C-45F4-87EB-1586FA603E3A}"/>
                </a:ext>
              </a:extLst>
            </p:cNvPr>
            <p:cNvGrpSpPr/>
            <p:nvPr userDrawn="1"/>
          </p:nvGrpSpPr>
          <p:grpSpPr>
            <a:xfrm>
              <a:off x="12403271" y="-1"/>
              <a:ext cx="1796791" cy="2907588"/>
              <a:chOff x="9009867" y="1645032"/>
              <a:chExt cx="2365739" cy="3828268"/>
            </a:xfrm>
          </p:grpSpPr>
          <p:pic>
            <p:nvPicPr>
              <p:cNvPr id="15" name="Picture 14">
                <a:extLst>
                  <a:ext uri="{FF2B5EF4-FFF2-40B4-BE49-F238E27FC236}">
                    <a16:creationId xmlns:a16="http://schemas.microsoft.com/office/drawing/2014/main" id="{132FA97E-008F-4B07-B688-A7B22404D82A}"/>
                  </a:ext>
                </a:extLst>
              </p:cNvPr>
              <p:cNvPicPr>
                <a:picLocks noChangeAspect="1"/>
              </p:cNvPicPr>
              <p:nvPr/>
            </p:nvPicPr>
            <p:blipFill>
              <a:blip r:embed="rId3"/>
              <a:stretch>
                <a:fillRect/>
              </a:stretch>
            </p:blipFill>
            <p:spPr>
              <a:xfrm>
                <a:off x="9182748" y="1852126"/>
                <a:ext cx="599367" cy="280555"/>
              </a:xfrm>
              <a:prstGeom prst="rect">
                <a:avLst/>
              </a:prstGeom>
            </p:spPr>
          </p:pic>
          <p:sp>
            <p:nvSpPr>
              <p:cNvPr id="16" name="TextBox 15">
                <a:extLst>
                  <a:ext uri="{FF2B5EF4-FFF2-40B4-BE49-F238E27FC236}">
                    <a16:creationId xmlns:a16="http://schemas.microsoft.com/office/drawing/2014/main" id="{8F49FA4C-A0C7-484D-9CD0-A2B1528B3A2E}"/>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17" name="Rectangle: Rounded Corners 16">
                <a:extLst>
                  <a:ext uri="{FF2B5EF4-FFF2-40B4-BE49-F238E27FC236}">
                    <a16:creationId xmlns:a16="http://schemas.microsoft.com/office/drawing/2014/main" id="{93B8FE7B-9EF6-429C-AC7B-79E85DFB481D}"/>
                  </a:ext>
                </a:extLst>
              </p:cNvPr>
              <p:cNvSpPr/>
              <p:nvPr/>
            </p:nvSpPr>
            <p:spPr>
              <a:xfrm>
                <a:off x="9009867" y="1645032"/>
                <a:ext cx="2365739" cy="3828268"/>
              </a:xfrm>
              <a:prstGeom prst="roundRect">
                <a:avLst>
                  <a:gd name="adj" fmla="val 2970"/>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grpSp>
      <p:sp>
        <p:nvSpPr>
          <p:cNvPr id="14" name="Footer Placeholder 4">
            <a:extLst>
              <a:ext uri="{FF2B5EF4-FFF2-40B4-BE49-F238E27FC236}">
                <a16:creationId xmlns:a16="http://schemas.microsoft.com/office/drawing/2014/main" id="{67D61A51-31AF-4082-AFF9-2D4AE9DB7C87}"/>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9" name="Date_DateCustomA">
            <a:extLst>
              <a:ext uri="{FF2B5EF4-FFF2-40B4-BE49-F238E27FC236}">
                <a16:creationId xmlns:a16="http://schemas.microsoft.com/office/drawing/2014/main" id="{8BB7FA2D-0C66-4D42-8CC8-567BD958137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6E10093C-62DA-496A-9DBF-6F8D26F3BF2E}" type="datetime1">
              <a:rPr lang="en-GB" smtClean="0"/>
              <a:t>19/06/2024</a:t>
            </a:fld>
            <a:endParaRPr lang="en-GB"/>
          </a:p>
        </p:txBody>
      </p:sp>
    </p:spTree>
    <p:extLst>
      <p:ext uri="{BB962C8B-B14F-4D97-AF65-F5344CB8AC3E}">
        <p14:creationId xmlns:p14="http://schemas.microsoft.com/office/powerpoint/2010/main" val="8482924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and two fact texts">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618" y="1644652"/>
            <a:ext cx="4072466"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Placeholder 6">
            <a:extLst>
              <a:ext uri="{FF2B5EF4-FFF2-40B4-BE49-F238E27FC236}">
                <a16:creationId xmlns:a16="http://schemas.microsoft.com/office/drawing/2014/main" id="{559CAE46-C6D8-48BD-A372-1CDE93E9CCA9}"/>
              </a:ext>
            </a:extLst>
          </p:cNvPr>
          <p:cNvSpPr>
            <a:spLocks noGrp="1"/>
          </p:cNvSpPr>
          <p:nvPr>
            <p:ph type="body" sz="quarter" idx="13" hasCustomPrompt="1"/>
          </p:nvPr>
        </p:nvSpPr>
        <p:spPr>
          <a:xfrm>
            <a:off x="5685579" y="1644391"/>
            <a:ext cx="2443479"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8" name="Text Placeholder 6">
            <a:extLst>
              <a:ext uri="{FF2B5EF4-FFF2-40B4-BE49-F238E27FC236}">
                <a16:creationId xmlns:a16="http://schemas.microsoft.com/office/drawing/2014/main" id="{67908BB7-3AA9-46B8-9F51-F98F86B5DB18}"/>
              </a:ext>
            </a:extLst>
          </p:cNvPr>
          <p:cNvSpPr>
            <a:spLocks noGrp="1"/>
          </p:cNvSpPr>
          <p:nvPr>
            <p:ph type="body" sz="quarter" idx="14" hasCustomPrompt="1"/>
          </p:nvPr>
        </p:nvSpPr>
        <p:spPr>
          <a:xfrm>
            <a:off x="8943553" y="1644391"/>
            <a:ext cx="2445068"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grpSp>
        <p:nvGrpSpPr>
          <p:cNvPr id="16" name="Group 15">
            <a:extLst>
              <a:ext uri="{FF2B5EF4-FFF2-40B4-BE49-F238E27FC236}">
                <a16:creationId xmlns:a16="http://schemas.microsoft.com/office/drawing/2014/main" id="{F92F4B53-30AD-4697-89D7-9D962CE965E5}"/>
              </a:ext>
            </a:extLst>
          </p:cNvPr>
          <p:cNvGrpSpPr/>
          <p:nvPr userDrawn="1"/>
        </p:nvGrpSpPr>
        <p:grpSpPr>
          <a:xfrm>
            <a:off x="12341465" y="1633992"/>
            <a:ext cx="1797025" cy="2906915"/>
            <a:chOff x="12403271" y="-1"/>
            <a:chExt cx="1796791" cy="2907588"/>
          </a:xfrm>
        </p:grpSpPr>
        <p:pic>
          <p:nvPicPr>
            <p:cNvPr id="17" name="Picture 16">
              <a:extLst>
                <a:ext uri="{FF2B5EF4-FFF2-40B4-BE49-F238E27FC236}">
                  <a16:creationId xmlns:a16="http://schemas.microsoft.com/office/drawing/2014/main" id="{AF0FEF35-0958-440B-A77A-2699A83990A6}"/>
                </a:ext>
              </a:extLst>
            </p:cNvPr>
            <p:cNvPicPr>
              <a:picLocks noChangeAspect="1"/>
            </p:cNvPicPr>
            <p:nvPr userDrawn="1"/>
          </p:nvPicPr>
          <p:blipFill>
            <a:blip r:embed="rId2"/>
            <a:stretch>
              <a:fillRect/>
            </a:stretch>
          </p:blipFill>
          <p:spPr>
            <a:xfrm>
              <a:off x="12414617" y="1122667"/>
              <a:ext cx="1261627" cy="1565633"/>
            </a:xfrm>
            <a:prstGeom prst="rect">
              <a:avLst/>
            </a:prstGeom>
          </p:spPr>
        </p:pic>
        <p:grpSp>
          <p:nvGrpSpPr>
            <p:cNvPr id="18" name="Group 17">
              <a:extLst>
                <a:ext uri="{FF2B5EF4-FFF2-40B4-BE49-F238E27FC236}">
                  <a16:creationId xmlns:a16="http://schemas.microsoft.com/office/drawing/2014/main" id="{24203BB4-30A9-4057-A809-926EDEDB9F4F}"/>
                </a:ext>
              </a:extLst>
            </p:cNvPr>
            <p:cNvGrpSpPr/>
            <p:nvPr userDrawn="1"/>
          </p:nvGrpSpPr>
          <p:grpSpPr>
            <a:xfrm>
              <a:off x="12403271" y="-1"/>
              <a:ext cx="1796791" cy="2907588"/>
              <a:chOff x="9009867" y="1645032"/>
              <a:chExt cx="2365739" cy="3828268"/>
            </a:xfrm>
          </p:grpSpPr>
          <p:pic>
            <p:nvPicPr>
              <p:cNvPr id="19" name="Picture 18">
                <a:extLst>
                  <a:ext uri="{FF2B5EF4-FFF2-40B4-BE49-F238E27FC236}">
                    <a16:creationId xmlns:a16="http://schemas.microsoft.com/office/drawing/2014/main" id="{7139BD4A-714C-44AF-902B-B7BB51BF1ECF}"/>
                  </a:ext>
                </a:extLst>
              </p:cNvPr>
              <p:cNvPicPr>
                <a:picLocks noChangeAspect="1"/>
              </p:cNvPicPr>
              <p:nvPr/>
            </p:nvPicPr>
            <p:blipFill>
              <a:blip r:embed="rId3"/>
              <a:stretch>
                <a:fillRect/>
              </a:stretch>
            </p:blipFill>
            <p:spPr>
              <a:xfrm>
                <a:off x="9182748" y="1852126"/>
                <a:ext cx="599367" cy="280555"/>
              </a:xfrm>
              <a:prstGeom prst="rect">
                <a:avLst/>
              </a:prstGeom>
            </p:spPr>
          </p:pic>
          <p:sp>
            <p:nvSpPr>
              <p:cNvPr id="20" name="TextBox 19">
                <a:extLst>
                  <a:ext uri="{FF2B5EF4-FFF2-40B4-BE49-F238E27FC236}">
                    <a16:creationId xmlns:a16="http://schemas.microsoft.com/office/drawing/2014/main" id="{FBB5C133-0407-4A77-B2F7-7E365D047DE4}"/>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1" name="Rectangle: Rounded Corners 20">
                <a:extLst>
                  <a:ext uri="{FF2B5EF4-FFF2-40B4-BE49-F238E27FC236}">
                    <a16:creationId xmlns:a16="http://schemas.microsoft.com/office/drawing/2014/main" id="{1BBC228B-197B-44A3-99D0-D56237507B14}"/>
                  </a:ext>
                </a:extLst>
              </p:cNvPr>
              <p:cNvSpPr/>
              <p:nvPr/>
            </p:nvSpPr>
            <p:spPr>
              <a:xfrm>
                <a:off x="9009867" y="1645032"/>
                <a:ext cx="2365739" cy="3828268"/>
              </a:xfrm>
              <a:prstGeom prst="roundRect">
                <a:avLst>
                  <a:gd name="adj" fmla="val 2970"/>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grpSp>
      <p:sp>
        <p:nvSpPr>
          <p:cNvPr id="13" name="Footer Placeholder 4">
            <a:extLst>
              <a:ext uri="{FF2B5EF4-FFF2-40B4-BE49-F238E27FC236}">
                <a16:creationId xmlns:a16="http://schemas.microsoft.com/office/drawing/2014/main" id="{CE9B38D5-AD3D-4AE8-88F2-0F9D25BB30CD}"/>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5" name="Date_DateCustomA">
            <a:extLst>
              <a:ext uri="{FF2B5EF4-FFF2-40B4-BE49-F238E27FC236}">
                <a16:creationId xmlns:a16="http://schemas.microsoft.com/office/drawing/2014/main" id="{1AC23FC6-140A-4E04-B1F9-995F52FC873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A79F0066-3164-42E7-92E6-6ECB81B57310}" type="datetime1">
              <a:rPr lang="en-GB" smtClean="0"/>
              <a:t>19/06/2024</a:t>
            </a:fld>
            <a:endParaRPr lang="en-GB"/>
          </a:p>
        </p:txBody>
      </p:sp>
    </p:spTree>
    <p:extLst>
      <p:ext uri="{BB962C8B-B14F-4D97-AF65-F5344CB8AC3E}">
        <p14:creationId xmlns:p14="http://schemas.microsoft.com/office/powerpoint/2010/main" val="16955098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act text and content">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868B673-9D9F-4BF4-8D81-D1B3477E6F0F}"/>
              </a:ext>
            </a:extLst>
          </p:cNvPr>
          <p:cNvGrpSpPr/>
          <p:nvPr userDrawn="1"/>
        </p:nvGrpSpPr>
        <p:grpSpPr>
          <a:xfrm>
            <a:off x="-1972350" y="1633992"/>
            <a:ext cx="1797025" cy="2906915"/>
            <a:chOff x="12339857" y="1634370"/>
            <a:chExt cx="1796791" cy="2907588"/>
          </a:xfrm>
        </p:grpSpPr>
        <p:sp>
          <p:nvSpPr>
            <p:cNvPr id="19" name="Rectangle: Rounded Corners 18">
              <a:extLst>
                <a:ext uri="{FF2B5EF4-FFF2-40B4-BE49-F238E27FC236}">
                  <a16:creationId xmlns:a16="http://schemas.microsoft.com/office/drawing/2014/main" id="{9F61C6D9-96E6-46EB-8545-E257C98220F8}"/>
                </a:ext>
              </a:extLst>
            </p:cNvPr>
            <p:cNvSpPr/>
            <p:nvPr/>
          </p:nvSpPr>
          <p:spPr>
            <a:xfrm>
              <a:off x="12339857" y="1634370"/>
              <a:ext cx="1796791" cy="2907588"/>
            </a:xfrm>
            <a:prstGeom prst="roundRect">
              <a:avLst>
                <a:gd name="adj" fmla="val 297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pic>
          <p:nvPicPr>
            <p:cNvPr id="17" name="Picture 16">
              <a:extLst>
                <a:ext uri="{FF2B5EF4-FFF2-40B4-BE49-F238E27FC236}">
                  <a16:creationId xmlns:a16="http://schemas.microsoft.com/office/drawing/2014/main" id="{23EC8C10-6A9E-4C2B-B6BA-69C39462851D}"/>
                </a:ext>
              </a:extLst>
            </p:cNvPr>
            <p:cNvPicPr>
              <a:picLocks noChangeAspect="1"/>
            </p:cNvPicPr>
            <p:nvPr/>
          </p:nvPicPr>
          <p:blipFill>
            <a:blip r:embed="rId2"/>
            <a:stretch>
              <a:fillRect/>
            </a:stretch>
          </p:blipFill>
          <p:spPr>
            <a:xfrm>
              <a:off x="12471161" y="1791659"/>
              <a:ext cx="455222" cy="213083"/>
            </a:xfrm>
            <a:prstGeom prst="rect">
              <a:avLst/>
            </a:prstGeom>
          </p:spPr>
        </p:pic>
        <p:sp>
          <p:nvSpPr>
            <p:cNvPr id="18" name="TextBox 17">
              <a:extLst>
                <a:ext uri="{FF2B5EF4-FFF2-40B4-BE49-F238E27FC236}">
                  <a16:creationId xmlns:a16="http://schemas.microsoft.com/office/drawing/2014/main" id="{BF580C90-4416-41DC-ADAC-F1014BB16E65}"/>
                </a:ext>
              </a:extLst>
            </p:cNvPr>
            <p:cNvSpPr txBox="1"/>
            <p:nvPr/>
          </p:nvSpPr>
          <p:spPr bwMode="auto">
            <a:xfrm>
              <a:off x="12483714" y="2086228"/>
              <a:ext cx="1433633" cy="10351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pic>
          <p:nvPicPr>
            <p:cNvPr id="15" name="Picture 14">
              <a:extLst>
                <a:ext uri="{FF2B5EF4-FFF2-40B4-BE49-F238E27FC236}">
                  <a16:creationId xmlns:a16="http://schemas.microsoft.com/office/drawing/2014/main" id="{22C7FA45-BEB8-4FA0-89DA-4AF47CEA9ACF}"/>
                </a:ext>
              </a:extLst>
            </p:cNvPr>
            <p:cNvPicPr>
              <a:picLocks noChangeAspect="1"/>
            </p:cNvPicPr>
            <p:nvPr userDrawn="1"/>
          </p:nvPicPr>
          <p:blipFill>
            <a:blip r:embed="rId3"/>
            <a:stretch>
              <a:fillRect/>
            </a:stretch>
          </p:blipFill>
          <p:spPr>
            <a:xfrm>
              <a:off x="12351204" y="2757038"/>
              <a:ext cx="1261627" cy="1565633"/>
            </a:xfrm>
            <a:prstGeom prst="rect">
              <a:avLst/>
            </a:prstGeom>
          </p:spPr>
        </p:pic>
      </p:grpSp>
      <p:grpSp>
        <p:nvGrpSpPr>
          <p:cNvPr id="21" name="Group 20">
            <a:extLst>
              <a:ext uri="{FF2B5EF4-FFF2-40B4-BE49-F238E27FC236}">
                <a16:creationId xmlns:a16="http://schemas.microsoft.com/office/drawing/2014/main" id="{21327CDE-D280-433E-A1DD-9B88BC9A9D74}"/>
              </a:ext>
            </a:extLst>
          </p:cNvPr>
          <p:cNvGrpSpPr/>
          <p:nvPr userDrawn="1"/>
        </p:nvGrpSpPr>
        <p:grpSpPr>
          <a:xfrm>
            <a:off x="12341465" y="1633992"/>
            <a:ext cx="1797025" cy="2906915"/>
            <a:chOff x="-1899137" y="-1"/>
            <a:chExt cx="1796791" cy="2907588"/>
          </a:xfrm>
        </p:grpSpPr>
        <p:grpSp>
          <p:nvGrpSpPr>
            <p:cNvPr id="22" name="Group 21">
              <a:extLst>
                <a:ext uri="{FF2B5EF4-FFF2-40B4-BE49-F238E27FC236}">
                  <a16:creationId xmlns:a16="http://schemas.microsoft.com/office/drawing/2014/main" id="{4AE14B58-12EA-4B20-8931-337F0DC7BE74}"/>
                </a:ext>
              </a:extLst>
            </p:cNvPr>
            <p:cNvGrpSpPr/>
            <p:nvPr userDrawn="1"/>
          </p:nvGrpSpPr>
          <p:grpSpPr>
            <a:xfrm>
              <a:off x="-1899137" y="-1"/>
              <a:ext cx="1796791" cy="2907588"/>
              <a:chOff x="9009867" y="1645032"/>
              <a:chExt cx="2365739" cy="3828268"/>
            </a:xfrm>
          </p:grpSpPr>
          <p:pic>
            <p:nvPicPr>
              <p:cNvPr id="24" name="Picture 23">
                <a:extLst>
                  <a:ext uri="{FF2B5EF4-FFF2-40B4-BE49-F238E27FC236}">
                    <a16:creationId xmlns:a16="http://schemas.microsoft.com/office/drawing/2014/main" id="{E1E15413-4664-4681-9444-310804612302}"/>
                  </a:ext>
                </a:extLst>
              </p:cNvPr>
              <p:cNvPicPr>
                <a:picLocks noChangeAspect="1"/>
              </p:cNvPicPr>
              <p:nvPr/>
            </p:nvPicPr>
            <p:blipFill>
              <a:blip r:embed="rId2"/>
              <a:stretch>
                <a:fillRect/>
              </a:stretch>
            </p:blipFill>
            <p:spPr>
              <a:xfrm>
                <a:off x="9182748" y="1852126"/>
                <a:ext cx="599367" cy="280555"/>
              </a:xfrm>
              <a:prstGeom prst="rect">
                <a:avLst/>
              </a:prstGeom>
            </p:spPr>
          </p:pic>
          <p:sp>
            <p:nvSpPr>
              <p:cNvPr id="25" name="TextBox 24">
                <a:extLst>
                  <a:ext uri="{FF2B5EF4-FFF2-40B4-BE49-F238E27FC236}">
                    <a16:creationId xmlns:a16="http://schemas.microsoft.com/office/drawing/2014/main" id="{D2D38E9D-D309-4835-BB4A-24E940357F1D}"/>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6" name="Rectangle: Rounded Corners 25">
                <a:extLst>
                  <a:ext uri="{FF2B5EF4-FFF2-40B4-BE49-F238E27FC236}">
                    <a16:creationId xmlns:a16="http://schemas.microsoft.com/office/drawing/2014/main" id="{3408A5E0-BE3B-4CF6-B031-C7BDEAE8EF42}"/>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pic>
          <p:nvPicPr>
            <p:cNvPr id="23" name="Picture 22">
              <a:extLst>
                <a:ext uri="{FF2B5EF4-FFF2-40B4-BE49-F238E27FC236}">
                  <a16:creationId xmlns:a16="http://schemas.microsoft.com/office/drawing/2014/main" id="{74467B95-2571-401A-B1E8-0E4825008764}"/>
                </a:ext>
              </a:extLst>
            </p:cNvPr>
            <p:cNvPicPr>
              <a:picLocks noChangeAspect="1"/>
            </p:cNvPicPr>
            <p:nvPr userDrawn="1"/>
          </p:nvPicPr>
          <p:blipFill>
            <a:blip r:embed="rId4"/>
            <a:stretch>
              <a:fillRect/>
            </a:stretch>
          </p:blipFill>
          <p:spPr>
            <a:xfrm>
              <a:off x="-1884053" y="1200637"/>
              <a:ext cx="1418614" cy="1444137"/>
            </a:xfrm>
            <a:prstGeom prst="rect">
              <a:avLst/>
            </a:prstGeom>
          </p:spPr>
        </p:pic>
      </p:grpSp>
      <p:sp>
        <p:nvSpPr>
          <p:cNvPr id="4" name="Title 1"/>
          <p:cNvSpPr>
            <a:spLocks noGrp="1"/>
          </p:cNvSpPr>
          <p:nvPr>
            <p:ph type="title"/>
          </p:nvPr>
        </p:nvSpPr>
        <p:spPr>
          <a:xfrm>
            <a:off x="798617" y="453496"/>
            <a:ext cx="10590003" cy="748626"/>
          </a:xfrm>
        </p:spPr>
        <p:txBody>
          <a:bodyPr/>
          <a:lstStyle/>
          <a:p>
            <a:r>
              <a:rPr lang="en-US"/>
              <a:t>Click to edit Master title style</a:t>
            </a:r>
            <a:endParaRPr lang="en-GB"/>
          </a:p>
        </p:txBody>
      </p:sp>
      <p:sp>
        <p:nvSpPr>
          <p:cNvPr id="3" name="Content Placeholder 2"/>
          <p:cNvSpPr>
            <a:spLocks noGrp="1"/>
          </p:cNvSpPr>
          <p:nvPr>
            <p:ph idx="1" hasCustomPrompt="1"/>
          </p:nvPr>
        </p:nvSpPr>
        <p:spPr>
          <a:xfrm>
            <a:off x="4056592" y="1644652"/>
            <a:ext cx="7332028"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Placeholder 6">
            <a:extLst>
              <a:ext uri="{FF2B5EF4-FFF2-40B4-BE49-F238E27FC236}">
                <a16:creationId xmlns:a16="http://schemas.microsoft.com/office/drawing/2014/main" id="{344D76E6-1904-4038-80C4-8BC46CEBB703}"/>
              </a:ext>
            </a:extLst>
          </p:cNvPr>
          <p:cNvSpPr>
            <a:spLocks noGrp="1"/>
          </p:cNvSpPr>
          <p:nvPr>
            <p:ph type="body" sz="quarter" idx="15" hasCustomPrompt="1"/>
          </p:nvPr>
        </p:nvSpPr>
        <p:spPr>
          <a:xfrm>
            <a:off x="798619" y="1644391"/>
            <a:ext cx="2443480"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0" name="Text Placeholder 6">
            <a:extLst>
              <a:ext uri="{FF2B5EF4-FFF2-40B4-BE49-F238E27FC236}">
                <a16:creationId xmlns:a16="http://schemas.microsoft.com/office/drawing/2014/main" id="{6CAB1BFF-44E8-48FF-AF80-4144B6650AAE}"/>
              </a:ext>
            </a:extLst>
          </p:cNvPr>
          <p:cNvSpPr>
            <a:spLocks noGrp="1"/>
          </p:cNvSpPr>
          <p:nvPr>
            <p:ph type="body" sz="quarter" idx="14" hasCustomPrompt="1"/>
          </p:nvPr>
        </p:nvSpPr>
        <p:spPr>
          <a:xfrm>
            <a:off x="798619" y="4991259"/>
            <a:ext cx="2443479" cy="715807"/>
          </a:xfrm>
        </p:spPr>
        <p:txBody>
          <a:bodyPr lIns="0" anchor="b" anchorCtr="0"/>
          <a:lstStyle>
            <a:lvl1pPr marL="73310" indent="-73310">
              <a:lnSpc>
                <a:spcPct val="80000"/>
              </a:lnSpc>
              <a:spcAft>
                <a:spcPts val="385"/>
              </a:spcAft>
              <a:buFont typeface="+mj-lt"/>
              <a:buAutoNum type="arabicParenR"/>
              <a:defRPr sz="321" b="0" i="1" cap="none" spc="0" baseline="0">
                <a:solidFill>
                  <a:schemeClr val="bg2"/>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Not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27" name="Footer Placeholder 4">
            <a:extLst>
              <a:ext uri="{FF2B5EF4-FFF2-40B4-BE49-F238E27FC236}">
                <a16:creationId xmlns:a16="http://schemas.microsoft.com/office/drawing/2014/main" id="{BB98BEF1-8B24-44DD-B00E-B069E4D5CA5D}"/>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29" name="Date_DateCustomA">
            <a:extLst>
              <a:ext uri="{FF2B5EF4-FFF2-40B4-BE49-F238E27FC236}">
                <a16:creationId xmlns:a16="http://schemas.microsoft.com/office/drawing/2014/main" id="{5AF2CA37-37E6-4F35-A8D3-13E15E8256C8}"/>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E8FCDCF-FAAC-48D8-97CE-71AEDA9EFE29}" type="datetime1">
              <a:rPr lang="en-GB" smtClean="0"/>
              <a:t>19/06/2024</a:t>
            </a:fld>
            <a:endParaRPr lang="en-GB"/>
          </a:p>
        </p:txBody>
      </p:sp>
    </p:spTree>
    <p:extLst>
      <p:ext uri="{BB962C8B-B14F-4D97-AF65-F5344CB8AC3E}">
        <p14:creationId xmlns:p14="http://schemas.microsoft.com/office/powerpoint/2010/main" val="144707282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and image (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6556C8-A731-4240-9800-194A4F70A1D8}"/>
              </a:ext>
            </a:extLst>
          </p:cNvPr>
          <p:cNvSpPr>
            <a:spLocks noGrp="1"/>
          </p:cNvSpPr>
          <p:nvPr>
            <p:ph type="title"/>
          </p:nvPr>
        </p:nvSpPr>
        <p:spPr>
          <a:xfrm>
            <a:off x="798618" y="452439"/>
            <a:ext cx="4072466" cy="748626"/>
          </a:xfrm>
        </p:spPr>
        <p:txBody>
          <a:bodyPr/>
          <a:lstStyle/>
          <a:p>
            <a:r>
              <a:rPr lang="en-US"/>
              <a:t>Click to edit Master title style</a:t>
            </a:r>
            <a:endParaRPr lang="en-GB"/>
          </a:p>
        </p:txBody>
      </p:sp>
      <p:sp>
        <p:nvSpPr>
          <p:cNvPr id="7" name="Content Placeholder 2">
            <a:extLst>
              <a:ext uri="{FF2B5EF4-FFF2-40B4-BE49-F238E27FC236}">
                <a16:creationId xmlns:a16="http://schemas.microsoft.com/office/drawing/2014/main" id="{F530FD33-AB9C-4A88-9BBB-1E385B91358C}"/>
              </a:ext>
            </a:extLst>
          </p:cNvPr>
          <p:cNvSpPr>
            <a:spLocks noGrp="1"/>
          </p:cNvSpPr>
          <p:nvPr>
            <p:ph idx="17" hasCustomPrompt="1"/>
          </p:nvPr>
        </p:nvSpPr>
        <p:spPr>
          <a:xfrm>
            <a:off x="798618" y="1644652"/>
            <a:ext cx="4072467"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Text Placeholder 6">
            <a:extLst>
              <a:ext uri="{FF2B5EF4-FFF2-40B4-BE49-F238E27FC236}">
                <a16:creationId xmlns:a16="http://schemas.microsoft.com/office/drawing/2014/main" id="{9C52035C-C8B1-4C44-976C-626BFFA7790E}"/>
              </a:ext>
            </a:extLst>
          </p:cNvPr>
          <p:cNvSpPr>
            <a:spLocks noGrp="1"/>
          </p:cNvSpPr>
          <p:nvPr>
            <p:ph type="body" sz="quarter" idx="14" hasCustomPrompt="1"/>
          </p:nvPr>
        </p:nvSpPr>
        <p:spPr>
          <a:xfrm>
            <a:off x="5685579" y="5388899"/>
            <a:ext cx="570304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5579" y="536905"/>
            <a:ext cx="5703042" cy="4851994"/>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8" name="Footer Placeholder 4">
            <a:extLst>
              <a:ext uri="{FF2B5EF4-FFF2-40B4-BE49-F238E27FC236}">
                <a16:creationId xmlns:a16="http://schemas.microsoft.com/office/drawing/2014/main" id="{49DC368E-8BDB-41BB-B406-A3B0A25665D3}"/>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1" name="Date_DateCustomA">
            <a:extLst>
              <a:ext uri="{FF2B5EF4-FFF2-40B4-BE49-F238E27FC236}">
                <a16:creationId xmlns:a16="http://schemas.microsoft.com/office/drawing/2014/main" id="{6531AD21-BE76-4592-909B-A3B963868059}"/>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7E088B74-D5F8-4D6D-B466-6D0723103653}" type="datetime1">
              <a:rPr lang="en-GB" smtClean="0"/>
              <a:t>19/06/2024</a:t>
            </a:fld>
            <a:endParaRPr lang="en-GB"/>
          </a:p>
        </p:txBody>
      </p:sp>
    </p:spTree>
    <p:extLst>
      <p:ext uri="{BB962C8B-B14F-4D97-AF65-F5344CB8AC3E}">
        <p14:creationId xmlns:p14="http://schemas.microsoft.com/office/powerpoint/2010/main" val="404079408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and image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CDE71F-8FC2-4DE4-9423-EE57143478CB}"/>
              </a:ext>
            </a:extLst>
          </p:cNvPr>
          <p:cNvSpPr>
            <a:spLocks noGrp="1"/>
          </p:cNvSpPr>
          <p:nvPr>
            <p:ph type="title"/>
          </p:nvPr>
        </p:nvSpPr>
        <p:spPr>
          <a:xfrm>
            <a:off x="798617" y="452439"/>
            <a:ext cx="2443480" cy="748626"/>
          </a:xfrm>
        </p:spPr>
        <p:txBody>
          <a:bodyPr/>
          <a:lstStyle/>
          <a:p>
            <a:r>
              <a:rPr lang="en-US"/>
              <a:t>Click to edit Master title style</a:t>
            </a:r>
            <a:endParaRPr lang="en-GB"/>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619" y="1644653"/>
            <a:ext cx="2443480" cy="4061090"/>
          </a:xfrm>
        </p:spPr>
        <p:txBody>
          <a:bodyPr/>
          <a:lstStyle>
            <a:lvl4pPr>
              <a:defRPr sz="449"/>
            </a:lvl4pPr>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4056592" y="5388899"/>
            <a:ext cx="7332029"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4056592" y="536905"/>
            <a:ext cx="7332029" cy="4851994"/>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7" name="Footer Placeholder 4">
            <a:extLst>
              <a:ext uri="{FF2B5EF4-FFF2-40B4-BE49-F238E27FC236}">
                <a16:creationId xmlns:a16="http://schemas.microsoft.com/office/drawing/2014/main" id="{E7D9B79D-FD5C-45BD-97EA-6B24E7C00453}"/>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11E666E0-9E5A-4A77-8B2D-91C35C22746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2EEB1991-01A7-4A1C-9C66-872C05E5583D}" type="datetime1">
              <a:rPr lang="en-GB" smtClean="0"/>
              <a:t>19/06/2024</a:t>
            </a:fld>
            <a:endParaRPr lang="en-GB"/>
          </a:p>
        </p:txBody>
      </p:sp>
    </p:spTree>
    <p:extLst>
      <p:ext uri="{BB962C8B-B14F-4D97-AF65-F5344CB8AC3E}">
        <p14:creationId xmlns:p14="http://schemas.microsoft.com/office/powerpoint/2010/main" val="1730012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411269-BEE2-492E-A6F4-24EC4E0745B3}"/>
              </a:ext>
            </a:extLst>
          </p:cNvPr>
          <p:cNvGraphicFramePr>
            <a:graphicFrameLocks noChangeAspect="1"/>
          </p:cNvGraphicFramePr>
          <p:nvPr userDrawn="1">
            <p:custDataLst>
              <p:tags r:id="rId1"/>
            </p:custDataLst>
            <p:extLst>
              <p:ext uri="{D42A27DB-BD31-4B8C-83A1-F6EECF244321}">
                <p14:modId xmlns:p14="http://schemas.microsoft.com/office/powerpoint/2010/main" val="4142377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F411269-BEE2-492E-A6F4-24EC4E074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da-DK" smtClean="0"/>
              <a:pPr/>
              <a:t>19-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234044073"/>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and image (C)">
    <p:spTree>
      <p:nvGrpSpPr>
        <p:cNvPr id="1" name=""/>
        <p:cNvGrpSpPr/>
        <p:nvPr/>
      </p:nvGrpSpPr>
      <p:grpSpPr>
        <a:xfrm>
          <a:off x="0" y="0"/>
          <a:ext cx="0" cy="0"/>
          <a:chOff x="0" y="0"/>
          <a:chExt cx="0" cy="0"/>
        </a:xfrm>
      </p:grpSpPr>
      <p:sp>
        <p:nvSpPr>
          <p:cNvPr id="4" name="Title 1"/>
          <p:cNvSpPr>
            <a:spLocks noGrp="1"/>
          </p:cNvSpPr>
          <p:nvPr>
            <p:ph type="title"/>
          </p:nvPr>
        </p:nvSpPr>
        <p:spPr>
          <a:xfrm>
            <a:off x="798618" y="452439"/>
            <a:ext cx="10590003" cy="748626"/>
          </a:xfrm>
        </p:spPr>
        <p:txBody>
          <a:bodyPr/>
          <a:lstStyle/>
          <a:p>
            <a:r>
              <a:rPr lang="en-US"/>
              <a:t>Click to edit Master title style</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5579" y="1644652"/>
            <a:ext cx="5703042" cy="3744247"/>
          </a:xfrm>
          <a:solidFill>
            <a:srgbClr val="F6F6F4"/>
          </a:solidFill>
        </p:spPr>
        <p:txBody>
          <a:bodyPr tIns="0" anchor="t" anchorCtr="0"/>
          <a:lstStyle>
            <a:lvl1pPr>
              <a:buNone/>
              <a:defRPr/>
            </a:lvl1pPr>
          </a:lstStyle>
          <a:p>
            <a:r>
              <a:rPr lang="en-GB" noProof="0"/>
              <a:t>Mark placeholder to insert image</a:t>
            </a:r>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618" y="1644652"/>
            <a:ext cx="4072467" cy="4062413"/>
          </a:xfrm>
        </p:spPr>
        <p:txBody>
          <a:bodyPr/>
          <a:lstStyle>
            <a:lvl4pPr>
              <a:defRPr sz="449"/>
            </a:lvl4pPr>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6">
            <a:extLst>
              <a:ext uri="{FF2B5EF4-FFF2-40B4-BE49-F238E27FC236}">
                <a16:creationId xmlns:a16="http://schemas.microsoft.com/office/drawing/2014/main" id="{385A6CB6-503A-43E4-95E9-49CCA6BE0AA8}"/>
              </a:ext>
            </a:extLst>
          </p:cNvPr>
          <p:cNvSpPr>
            <a:spLocks noGrp="1"/>
          </p:cNvSpPr>
          <p:nvPr>
            <p:ph type="body" sz="quarter" idx="14" hasCustomPrompt="1"/>
          </p:nvPr>
        </p:nvSpPr>
        <p:spPr>
          <a:xfrm>
            <a:off x="5685579" y="5388899"/>
            <a:ext cx="570304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7" name="Footer Placeholder 4">
            <a:extLst>
              <a:ext uri="{FF2B5EF4-FFF2-40B4-BE49-F238E27FC236}">
                <a16:creationId xmlns:a16="http://schemas.microsoft.com/office/drawing/2014/main" id="{5BE177DB-3D97-4178-B41E-C5E88E6EF6FE}"/>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1" name="Date_DateCustomA">
            <a:extLst>
              <a:ext uri="{FF2B5EF4-FFF2-40B4-BE49-F238E27FC236}">
                <a16:creationId xmlns:a16="http://schemas.microsoft.com/office/drawing/2014/main" id="{A29EE775-E260-4614-9C8B-28623B33C6B7}"/>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310C8F63-746D-49AA-89DD-F720C3C3E8E3}" type="datetime1">
              <a:rPr lang="en-GB" smtClean="0"/>
              <a:t>19/06/2024</a:t>
            </a:fld>
            <a:endParaRPr lang="en-GB"/>
          </a:p>
        </p:txBody>
      </p:sp>
    </p:spTree>
    <p:extLst>
      <p:ext uri="{BB962C8B-B14F-4D97-AF65-F5344CB8AC3E}">
        <p14:creationId xmlns:p14="http://schemas.microsoft.com/office/powerpoint/2010/main" val="273904435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9" y="1644652"/>
            <a:ext cx="2443480" cy="3744247"/>
          </a:xfrm>
          <a:solidFill>
            <a:srgbClr val="F6F6F4"/>
          </a:solidFill>
        </p:spPr>
        <p:txBody>
          <a:bodyPr tIns="0" anchor="t" anchorCtr="0"/>
          <a:lstStyle>
            <a:lvl1pPr marL="0" indent="0">
              <a:buNone/>
              <a:defRPr/>
            </a:lvl1pPr>
          </a:lstStyle>
          <a:p>
            <a:r>
              <a:rPr lang="en-GB" noProof="0"/>
              <a:t>Mark placeholder to insert image</a:t>
            </a:r>
          </a:p>
        </p:txBody>
      </p:sp>
      <p:sp>
        <p:nvSpPr>
          <p:cNvPr id="3" name="Title 2">
            <a:extLst>
              <a:ext uri="{FF2B5EF4-FFF2-40B4-BE49-F238E27FC236}">
                <a16:creationId xmlns:a16="http://schemas.microsoft.com/office/drawing/2014/main" id="{D10A7420-B42B-4A1E-801C-58F73E98E720}"/>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6" name="Content Placeholder 2">
            <a:extLst>
              <a:ext uri="{FF2B5EF4-FFF2-40B4-BE49-F238E27FC236}">
                <a16:creationId xmlns:a16="http://schemas.microsoft.com/office/drawing/2014/main" id="{EE94D7C6-6298-49CF-9E54-6442A65BE7EB}"/>
              </a:ext>
            </a:extLst>
          </p:cNvPr>
          <p:cNvSpPr>
            <a:spLocks noGrp="1"/>
          </p:cNvSpPr>
          <p:nvPr>
            <p:ph idx="1" hasCustomPrompt="1"/>
          </p:nvPr>
        </p:nvSpPr>
        <p:spPr>
          <a:xfrm>
            <a:off x="4056592" y="1644652"/>
            <a:ext cx="7332029"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6">
            <a:extLst>
              <a:ext uri="{FF2B5EF4-FFF2-40B4-BE49-F238E27FC236}">
                <a16:creationId xmlns:a16="http://schemas.microsoft.com/office/drawing/2014/main" id="{36C9629C-CF41-41C8-B234-06D2B62B588B}"/>
              </a:ext>
            </a:extLst>
          </p:cNvPr>
          <p:cNvSpPr>
            <a:spLocks noGrp="1"/>
          </p:cNvSpPr>
          <p:nvPr>
            <p:ph type="body" sz="quarter" idx="14" hasCustomPrompt="1"/>
          </p:nvPr>
        </p:nvSpPr>
        <p:spPr>
          <a:xfrm>
            <a:off x="797029" y="5388899"/>
            <a:ext cx="2445068"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7" name="Footer Placeholder 4">
            <a:extLst>
              <a:ext uri="{FF2B5EF4-FFF2-40B4-BE49-F238E27FC236}">
                <a16:creationId xmlns:a16="http://schemas.microsoft.com/office/drawing/2014/main" id="{F72ED723-2034-4873-8F5F-84CD3DF067D2}"/>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1" name="Date_DateCustomA">
            <a:extLst>
              <a:ext uri="{FF2B5EF4-FFF2-40B4-BE49-F238E27FC236}">
                <a16:creationId xmlns:a16="http://schemas.microsoft.com/office/drawing/2014/main" id="{70AABF26-1E97-4163-9AEB-8A08056A2CF2}"/>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07D9B8B2-2B26-4659-AFD3-8F852FE9A4D5}" type="datetime1">
              <a:rPr lang="en-GB" smtClean="0"/>
              <a:t>19/06/2024</a:t>
            </a:fld>
            <a:endParaRPr lang="en-GB"/>
          </a:p>
        </p:txBody>
      </p:sp>
    </p:spTree>
    <p:extLst>
      <p:ext uri="{BB962C8B-B14F-4D97-AF65-F5344CB8AC3E}">
        <p14:creationId xmlns:p14="http://schemas.microsoft.com/office/powerpoint/2010/main" val="231841478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One imag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7" y="536906"/>
            <a:ext cx="10590003" cy="4851993"/>
          </a:xfrm>
          <a:solidFill>
            <a:srgbClr val="F6F6F4"/>
          </a:solidFill>
        </p:spPr>
        <p:txBody>
          <a:bodyPr tIns="0" anchor="t" anchorCtr="0"/>
          <a:lstStyle>
            <a:lvl1pPr>
              <a:buNone/>
              <a:defRPr/>
            </a:lvl1pPr>
          </a:lstStyle>
          <a:p>
            <a:r>
              <a:rPr lang="en-GB" noProof="0"/>
              <a:t>Mark placeholder to insert image</a:t>
            </a:r>
          </a:p>
        </p:txBody>
      </p:sp>
      <p:sp>
        <p:nvSpPr>
          <p:cNvPr id="4" name="Title 1"/>
          <p:cNvSpPr>
            <a:spLocks noGrp="1"/>
          </p:cNvSpPr>
          <p:nvPr>
            <p:ph type="title"/>
          </p:nvPr>
        </p:nvSpPr>
        <p:spPr>
          <a:xfrm>
            <a:off x="1613111" y="906489"/>
            <a:ext cx="3257974" cy="2157549"/>
          </a:xfrm>
        </p:spPr>
        <p:txBody>
          <a:bodyPr/>
          <a:lstStyle/>
          <a:p>
            <a:r>
              <a:rPr lang="en-US"/>
              <a:t>Click to edit Master title style</a:t>
            </a:r>
            <a:endParaRPr lang="en-GB"/>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797030" y="5388899"/>
            <a:ext cx="1059159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7" name="Footer Placeholder 4">
            <a:extLst>
              <a:ext uri="{FF2B5EF4-FFF2-40B4-BE49-F238E27FC236}">
                <a16:creationId xmlns:a16="http://schemas.microsoft.com/office/drawing/2014/main" id="{040854D9-4A7F-43DD-ADEE-729ECE38A71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13B009AD-71AF-4311-AB8D-836DCA3740C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A2D02C2F-C8D1-4CA6-BC85-74B401D907FB}" type="datetime1">
              <a:rPr lang="en-GB" smtClean="0"/>
              <a:t>19/06/2024</a:t>
            </a:fld>
            <a:endParaRPr lang="en-GB"/>
          </a:p>
        </p:txBody>
      </p:sp>
    </p:spTree>
    <p:extLst>
      <p:ext uri="{BB962C8B-B14F-4D97-AF65-F5344CB8AC3E}">
        <p14:creationId xmlns:p14="http://schemas.microsoft.com/office/powerpoint/2010/main" val="26258483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A48E567-47F5-4B08-99D6-069385ECECE3}"/>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1" name="Text Placeholder 3">
            <a:extLst>
              <a:ext uri="{FF2B5EF4-FFF2-40B4-BE49-F238E27FC236}">
                <a16:creationId xmlns:a16="http://schemas.microsoft.com/office/drawing/2014/main" id="{E3950CBF-72E1-4385-99DA-211C9A719C86}"/>
              </a:ext>
            </a:extLst>
          </p:cNvPr>
          <p:cNvSpPr>
            <a:spLocks noGrp="1"/>
          </p:cNvSpPr>
          <p:nvPr>
            <p:ph type="body" sz="quarter" idx="18" hasCustomPrompt="1"/>
          </p:nvPr>
        </p:nvSpPr>
        <p:spPr>
          <a:xfrm>
            <a:off x="797030" y="5387834"/>
            <a:ext cx="4074055"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5" name="Text Placeholder 4">
            <a:extLst>
              <a:ext uri="{FF2B5EF4-FFF2-40B4-BE49-F238E27FC236}">
                <a16:creationId xmlns:a16="http://schemas.microsoft.com/office/drawing/2014/main" id="{45D561B5-A7F3-463C-BD8C-C2813F3D379D}"/>
              </a:ext>
            </a:extLst>
          </p:cNvPr>
          <p:cNvSpPr>
            <a:spLocks noGrp="1"/>
          </p:cNvSpPr>
          <p:nvPr>
            <p:ph type="body" sz="quarter" idx="19" hasCustomPrompt="1"/>
          </p:nvPr>
        </p:nvSpPr>
        <p:spPr>
          <a:xfrm>
            <a:off x="5685579" y="5387836"/>
            <a:ext cx="5703042" cy="317907"/>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798618" y="1644653"/>
            <a:ext cx="4072467" cy="3743181"/>
          </a:xfrm>
          <a:solidFill>
            <a:srgbClr val="F6F6F4"/>
          </a:solidFill>
        </p:spPr>
        <p:txBody>
          <a:bodyPr tIns="0" anchor="t" anchorCtr="0"/>
          <a:lstStyle>
            <a:lvl1pPr>
              <a:buNone/>
              <a:defRPr/>
            </a:lvl1pPr>
          </a:lstStyle>
          <a:p>
            <a:r>
              <a:rPr lang="en-GB" noProof="0"/>
              <a:t>Mark placeholder to insert image</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5579" y="1644652"/>
            <a:ext cx="5703042" cy="3744247"/>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8" name="Footer Placeholder 4">
            <a:extLst>
              <a:ext uri="{FF2B5EF4-FFF2-40B4-BE49-F238E27FC236}">
                <a16:creationId xmlns:a16="http://schemas.microsoft.com/office/drawing/2014/main" id="{C5F701B6-51A4-429E-BAE7-303D346C10A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2" name="Date_DateCustomA">
            <a:extLst>
              <a:ext uri="{FF2B5EF4-FFF2-40B4-BE49-F238E27FC236}">
                <a16:creationId xmlns:a16="http://schemas.microsoft.com/office/drawing/2014/main" id="{AF6FCEB8-934A-4A77-A838-C33FC03CC5FA}"/>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9317641B-8A6E-4000-8D18-8C26E74C5E0D}" type="datetime1">
              <a:rPr lang="en-GB" smtClean="0"/>
              <a:t>19/06/2024</a:t>
            </a:fld>
            <a:endParaRPr lang="en-GB"/>
          </a:p>
        </p:txBody>
      </p:sp>
    </p:spTree>
    <p:extLst>
      <p:ext uri="{BB962C8B-B14F-4D97-AF65-F5344CB8AC3E}">
        <p14:creationId xmlns:p14="http://schemas.microsoft.com/office/powerpoint/2010/main" val="240273826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images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8144935" cy="3744247"/>
          </a:xfrm>
          <a:solidFill>
            <a:srgbClr val="F6F6F4"/>
          </a:solidFill>
        </p:spPr>
        <p:txBody>
          <a:bodyPr tIns="0" anchor="t" anchorCtr="0"/>
          <a:lstStyle>
            <a:lvl1pPr>
              <a:buNone/>
              <a:defRPr/>
            </a:lvl1pPr>
          </a:lstStyle>
          <a:p>
            <a:r>
              <a:rPr lang="en-GB" noProof="0"/>
              <a:t>Mark placeholder to insert image</a:t>
            </a:r>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8" y="5387836"/>
            <a:ext cx="8144935"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2" name="Picture Placeholder 3">
            <a:extLst>
              <a:ext uri="{FF2B5EF4-FFF2-40B4-BE49-F238E27FC236}">
                <a16:creationId xmlns:a16="http://schemas.microsoft.com/office/drawing/2014/main" id="{89424118-58CD-42CA-86D2-8D172442E460}"/>
              </a:ext>
            </a:extLst>
          </p:cNvPr>
          <p:cNvSpPr>
            <a:spLocks noGrp="1"/>
          </p:cNvSpPr>
          <p:nvPr>
            <p:ph type="pic" sz="quarter" idx="17" hasCustomPrompt="1"/>
          </p:nvPr>
        </p:nvSpPr>
        <p:spPr>
          <a:xfrm>
            <a:off x="9758046" y="1644652"/>
            <a:ext cx="1630575" cy="3744248"/>
          </a:xfrm>
          <a:solidFill>
            <a:srgbClr val="F6F6F4"/>
          </a:solidFill>
        </p:spPr>
        <p:txBody>
          <a:bodyPr tIns="0" anchor="t" anchorCtr="0"/>
          <a:lstStyle>
            <a:lvl1pPr marL="0" indent="0">
              <a:buNone/>
              <a:defRPr/>
            </a:lvl1pPr>
          </a:lstStyle>
          <a:p>
            <a:r>
              <a:rPr lang="en-GB" noProof="0"/>
              <a:t>Mark placeholder to insert image</a:t>
            </a:r>
          </a:p>
        </p:txBody>
      </p:sp>
      <p:sp>
        <p:nvSpPr>
          <p:cNvPr id="8" name="Text Placeholder 4">
            <a:extLst>
              <a:ext uri="{FF2B5EF4-FFF2-40B4-BE49-F238E27FC236}">
                <a16:creationId xmlns:a16="http://schemas.microsoft.com/office/drawing/2014/main" id="{45AEC6E4-C3EF-4192-856D-9039F171C484}"/>
              </a:ext>
            </a:extLst>
          </p:cNvPr>
          <p:cNvSpPr>
            <a:spLocks noGrp="1"/>
          </p:cNvSpPr>
          <p:nvPr>
            <p:ph type="body" sz="quarter" idx="19" hasCustomPrompt="1"/>
          </p:nvPr>
        </p:nvSpPr>
        <p:spPr>
          <a:xfrm>
            <a:off x="9758046" y="5387836"/>
            <a:ext cx="1630575" cy="317907"/>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1" name="Footer Placeholder 4">
            <a:extLst>
              <a:ext uri="{FF2B5EF4-FFF2-40B4-BE49-F238E27FC236}">
                <a16:creationId xmlns:a16="http://schemas.microsoft.com/office/drawing/2014/main" id="{C5D31929-EC68-4BA9-818F-D9E7F43918E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4" name="Date_DateCustomA">
            <a:extLst>
              <a:ext uri="{FF2B5EF4-FFF2-40B4-BE49-F238E27FC236}">
                <a16:creationId xmlns:a16="http://schemas.microsoft.com/office/drawing/2014/main" id="{F7836BF7-FD55-405A-874B-61C805C2E3C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49976E51-1FC3-4474-950D-AA48067650FE}" type="datetime1">
              <a:rPr lang="en-GB" smtClean="0"/>
              <a:t>19/06/2024</a:t>
            </a:fld>
            <a:endParaRPr lang="en-GB"/>
          </a:p>
        </p:txBody>
      </p:sp>
    </p:spTree>
    <p:extLst>
      <p:ext uri="{BB962C8B-B14F-4D97-AF65-F5344CB8AC3E}">
        <p14:creationId xmlns:p14="http://schemas.microsoft.com/office/powerpoint/2010/main" val="216596092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images and fact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AD88E7-3B12-4449-81F1-3C8219EE77CB}"/>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9" y="5387836"/>
            <a:ext cx="3257974"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F7D20742-1518-4D1C-84E0-A50DB3F71AB2}"/>
              </a:ext>
            </a:extLst>
          </p:cNvPr>
          <p:cNvSpPr>
            <a:spLocks noGrp="1"/>
          </p:cNvSpPr>
          <p:nvPr>
            <p:ph type="body" sz="quarter" idx="25" hasCustomPrompt="1"/>
          </p:nvPr>
        </p:nvSpPr>
        <p:spPr>
          <a:xfrm>
            <a:off x="4871085" y="5387836"/>
            <a:ext cx="3257974" cy="317907"/>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9" y="1644652"/>
            <a:ext cx="3257974" cy="3744247"/>
          </a:xfrm>
          <a:solidFill>
            <a:srgbClr val="F6F6F4"/>
          </a:solidFill>
        </p:spPr>
        <p:txBody>
          <a:bodyPr tIns="0" anchor="t" anchorCtr="0"/>
          <a:lstStyle>
            <a:lvl1pPr marL="0" indent="0">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1085" y="1644650"/>
            <a:ext cx="3257973" cy="3744249"/>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2" name="Text Placeholder 6">
            <a:extLst>
              <a:ext uri="{FF2B5EF4-FFF2-40B4-BE49-F238E27FC236}">
                <a16:creationId xmlns:a16="http://schemas.microsoft.com/office/drawing/2014/main" id="{2AD0405A-0FD7-4F0F-AF7F-B2047DF5CF9E}"/>
              </a:ext>
            </a:extLst>
          </p:cNvPr>
          <p:cNvSpPr>
            <a:spLocks noGrp="1"/>
          </p:cNvSpPr>
          <p:nvPr>
            <p:ph type="body" sz="quarter" idx="15" hasCustomPrompt="1"/>
          </p:nvPr>
        </p:nvSpPr>
        <p:spPr>
          <a:xfrm>
            <a:off x="8943552" y="1644391"/>
            <a:ext cx="2445069"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3" name="Footer Placeholder 4">
            <a:extLst>
              <a:ext uri="{FF2B5EF4-FFF2-40B4-BE49-F238E27FC236}">
                <a16:creationId xmlns:a16="http://schemas.microsoft.com/office/drawing/2014/main" id="{918E1753-D849-4306-90F0-AE9E3B1E439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6" name="Date_DateCustomA">
            <a:extLst>
              <a:ext uri="{FF2B5EF4-FFF2-40B4-BE49-F238E27FC236}">
                <a16:creationId xmlns:a16="http://schemas.microsoft.com/office/drawing/2014/main" id="{4824DA6C-1660-454E-AE9F-DA89A04C5D00}"/>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19B1F6A8-6B7A-461C-8C18-9117AB04685F}" type="datetime1">
              <a:rPr lang="en-GB" smtClean="0"/>
              <a:t>19/06/2024</a:t>
            </a:fld>
            <a:endParaRPr lang="en-GB"/>
          </a:p>
        </p:txBody>
      </p:sp>
    </p:spTree>
    <p:extLst>
      <p:ext uri="{BB962C8B-B14F-4D97-AF65-F5344CB8AC3E}">
        <p14:creationId xmlns:p14="http://schemas.microsoft.com/office/powerpoint/2010/main" val="182373749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ree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A0290B9-8984-4B63-9584-E3AE12BC8408}"/>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8" y="5387836"/>
            <a:ext cx="4886961"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A7ABCE10-41F5-4BFF-B780-36E38A40F95C}"/>
              </a:ext>
            </a:extLst>
          </p:cNvPr>
          <p:cNvSpPr>
            <a:spLocks noGrp="1"/>
          </p:cNvSpPr>
          <p:nvPr>
            <p:ph type="body" sz="quarter" idx="25" hasCustomPrompt="1"/>
          </p:nvPr>
        </p:nvSpPr>
        <p:spPr>
          <a:xfrm>
            <a:off x="6500070" y="5387835"/>
            <a:ext cx="2443482" cy="317908"/>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5" name="Text Placeholder 5">
            <a:extLst>
              <a:ext uri="{FF2B5EF4-FFF2-40B4-BE49-F238E27FC236}">
                <a16:creationId xmlns:a16="http://schemas.microsoft.com/office/drawing/2014/main" id="{6B139212-6CFC-41D2-8FC4-04AFFFB5F675}"/>
              </a:ext>
            </a:extLst>
          </p:cNvPr>
          <p:cNvSpPr>
            <a:spLocks noGrp="1"/>
          </p:cNvSpPr>
          <p:nvPr>
            <p:ph type="body" sz="quarter" idx="26" hasCustomPrompt="1"/>
          </p:nvPr>
        </p:nvSpPr>
        <p:spPr>
          <a:xfrm>
            <a:off x="9758046" y="5387836"/>
            <a:ext cx="1630575" cy="317907"/>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4886961" cy="3744247"/>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6500072" y="1644650"/>
            <a:ext cx="2443480" cy="3744249"/>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6" y="1644652"/>
            <a:ext cx="1630575" cy="3744248"/>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2" name="Footer Placeholder 4">
            <a:extLst>
              <a:ext uri="{FF2B5EF4-FFF2-40B4-BE49-F238E27FC236}">
                <a16:creationId xmlns:a16="http://schemas.microsoft.com/office/drawing/2014/main" id="{5874BC50-6BE9-4C0E-B354-8E1950E1DEC6}"/>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5" name="Date_DateCustomA">
            <a:extLst>
              <a:ext uri="{FF2B5EF4-FFF2-40B4-BE49-F238E27FC236}">
                <a16:creationId xmlns:a16="http://schemas.microsoft.com/office/drawing/2014/main" id="{A27BE1DC-8318-4E12-A678-697DBD2158D0}"/>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670B47BD-1B93-49E8-8F1A-50F28146FAEE}" type="datetime1">
              <a:rPr lang="en-GB" smtClean="0"/>
              <a:t>19/06/2024</a:t>
            </a:fld>
            <a:endParaRPr lang="en-GB"/>
          </a:p>
        </p:txBody>
      </p:sp>
    </p:spTree>
    <p:extLst>
      <p:ext uri="{BB962C8B-B14F-4D97-AF65-F5344CB8AC3E}">
        <p14:creationId xmlns:p14="http://schemas.microsoft.com/office/powerpoint/2010/main" val="47863326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images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9AAF93-6D36-4195-82B9-DF0720EC521B}"/>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8" y="5387835"/>
            <a:ext cx="5701454"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3E2CB951-B63B-4713-9C55-151E8F70764A}"/>
              </a:ext>
            </a:extLst>
          </p:cNvPr>
          <p:cNvSpPr>
            <a:spLocks noGrp="1"/>
          </p:cNvSpPr>
          <p:nvPr>
            <p:ph type="body" sz="quarter" idx="25" hasCustomPrompt="1"/>
          </p:nvPr>
        </p:nvSpPr>
        <p:spPr>
          <a:xfrm>
            <a:off x="7314564" y="5387835"/>
            <a:ext cx="1628988"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12" name="Text Placeholder 5">
            <a:extLst>
              <a:ext uri="{FF2B5EF4-FFF2-40B4-BE49-F238E27FC236}">
                <a16:creationId xmlns:a16="http://schemas.microsoft.com/office/drawing/2014/main" id="{4ABF96D0-72C6-404F-8711-EC888AA24B29}"/>
              </a:ext>
            </a:extLst>
          </p:cNvPr>
          <p:cNvSpPr>
            <a:spLocks noGrp="1"/>
          </p:cNvSpPr>
          <p:nvPr>
            <p:ph type="body" sz="quarter" idx="26" hasCustomPrompt="1"/>
          </p:nvPr>
        </p:nvSpPr>
        <p:spPr>
          <a:xfrm>
            <a:off x="9758046" y="5387835"/>
            <a:ext cx="1630575"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7029" y="1644652"/>
            <a:ext cx="5703042" cy="3744247"/>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4" y="1644650"/>
            <a:ext cx="1628988" cy="3744249"/>
          </a:xfrm>
          <a:solidFill>
            <a:srgbClr val="F6F6F4"/>
          </a:solidFill>
        </p:spPr>
        <p:txBody>
          <a:bodyPr tIns="0" anchor="t" anchorCtr="0"/>
          <a:lstStyle>
            <a:lvl1pPr marL="0" indent="0">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6" y="1644652"/>
            <a:ext cx="1630575" cy="3744248"/>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3" name="Footer Placeholder 4">
            <a:extLst>
              <a:ext uri="{FF2B5EF4-FFF2-40B4-BE49-F238E27FC236}">
                <a16:creationId xmlns:a16="http://schemas.microsoft.com/office/drawing/2014/main" id="{B6ABE9CB-A3E8-48D2-82D8-BB162FBC2ACE}"/>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6" name="Date_DateCustomA">
            <a:extLst>
              <a:ext uri="{FF2B5EF4-FFF2-40B4-BE49-F238E27FC236}">
                <a16:creationId xmlns:a16="http://schemas.microsoft.com/office/drawing/2014/main" id="{F8AC17EF-756D-46C0-9E6D-5F5BC146218E}"/>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98217C0B-9033-4A97-8B9B-43B4113B467B}" type="datetime1">
              <a:rPr lang="en-GB" smtClean="0"/>
              <a:t>19/06/2024</a:t>
            </a:fld>
            <a:endParaRPr lang="en-GB"/>
          </a:p>
        </p:txBody>
      </p:sp>
    </p:spTree>
    <p:extLst>
      <p:ext uri="{BB962C8B-B14F-4D97-AF65-F5344CB8AC3E}">
        <p14:creationId xmlns:p14="http://schemas.microsoft.com/office/powerpoint/2010/main" val="57953887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images (A)">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23A1CA0-6B95-4682-8F2B-A2CB29E9A06F}"/>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29" y="5387835"/>
            <a:ext cx="570304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2" name="Text Placeholder 4">
            <a:extLst>
              <a:ext uri="{FF2B5EF4-FFF2-40B4-BE49-F238E27FC236}">
                <a16:creationId xmlns:a16="http://schemas.microsoft.com/office/drawing/2014/main" id="{7F8FEFC5-5B98-4110-A017-739F63CE87B2}"/>
              </a:ext>
            </a:extLst>
          </p:cNvPr>
          <p:cNvSpPr>
            <a:spLocks noGrp="1"/>
          </p:cNvSpPr>
          <p:nvPr>
            <p:ph type="body" sz="quarter" idx="25" hasCustomPrompt="1"/>
          </p:nvPr>
        </p:nvSpPr>
        <p:spPr>
          <a:xfrm>
            <a:off x="7314565" y="5387835"/>
            <a:ext cx="162898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13" name="Text Placeholder 5">
            <a:extLst>
              <a:ext uri="{FF2B5EF4-FFF2-40B4-BE49-F238E27FC236}">
                <a16:creationId xmlns:a16="http://schemas.microsoft.com/office/drawing/2014/main" id="{EED6E484-ADE4-491D-A306-116A904F4278}"/>
              </a:ext>
            </a:extLst>
          </p:cNvPr>
          <p:cNvSpPr>
            <a:spLocks noGrp="1"/>
          </p:cNvSpPr>
          <p:nvPr>
            <p:ph type="body" sz="quarter" idx="26" hasCustomPrompt="1"/>
          </p:nvPr>
        </p:nvSpPr>
        <p:spPr>
          <a:xfrm>
            <a:off x="9758046" y="3144372"/>
            <a:ext cx="1630575"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5" name="Text Placeholder 6">
            <a:extLst>
              <a:ext uri="{FF2B5EF4-FFF2-40B4-BE49-F238E27FC236}">
                <a16:creationId xmlns:a16="http://schemas.microsoft.com/office/drawing/2014/main" id="{1D494126-0696-4DB9-B563-2B5C9722422F}"/>
              </a:ext>
            </a:extLst>
          </p:cNvPr>
          <p:cNvSpPr>
            <a:spLocks noGrp="1"/>
          </p:cNvSpPr>
          <p:nvPr>
            <p:ph type="body" sz="quarter" idx="27" hasCustomPrompt="1"/>
          </p:nvPr>
        </p:nvSpPr>
        <p:spPr>
          <a:xfrm>
            <a:off x="9758046" y="5387835"/>
            <a:ext cx="1630575"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5701453" cy="3744247"/>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6" y="1644650"/>
            <a:ext cx="1628987" cy="3744249"/>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6" y="1644652"/>
            <a:ext cx="1630575" cy="1483526"/>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6" y="3905375"/>
            <a:ext cx="1630575" cy="1483526"/>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5" name="Footer Placeholder 4">
            <a:extLst>
              <a:ext uri="{FF2B5EF4-FFF2-40B4-BE49-F238E27FC236}">
                <a16:creationId xmlns:a16="http://schemas.microsoft.com/office/drawing/2014/main" id="{4567020D-E32F-49AD-ADAE-9E64ADBB8FDF}"/>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8" name="Date_DateCustomA">
            <a:extLst>
              <a:ext uri="{FF2B5EF4-FFF2-40B4-BE49-F238E27FC236}">
                <a16:creationId xmlns:a16="http://schemas.microsoft.com/office/drawing/2014/main" id="{32279A45-1217-4472-8344-3C0A19130A7A}"/>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93200B9-2419-488B-B3B4-69557D1FB50C}" type="datetime1">
              <a:rPr lang="en-GB" smtClean="0"/>
              <a:t>19/06/2024</a:t>
            </a:fld>
            <a:endParaRPr lang="en-GB"/>
          </a:p>
        </p:txBody>
      </p:sp>
    </p:spTree>
    <p:extLst>
      <p:ext uri="{BB962C8B-B14F-4D97-AF65-F5344CB8AC3E}">
        <p14:creationId xmlns:p14="http://schemas.microsoft.com/office/powerpoint/2010/main" val="8196401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ur images (B)">
    <p:spTree>
      <p:nvGrpSpPr>
        <p:cNvPr id="1" name=""/>
        <p:cNvGrpSpPr/>
        <p:nvPr/>
      </p:nvGrpSpPr>
      <p:grpSpPr>
        <a:xfrm>
          <a:off x="0" y="0"/>
          <a:ext cx="0" cy="0"/>
          <a:chOff x="0" y="0"/>
          <a:chExt cx="0" cy="0"/>
        </a:xfrm>
      </p:grpSpPr>
      <p:sp>
        <p:nvSpPr>
          <p:cNvPr id="17" name="Title 7">
            <a:extLst>
              <a:ext uri="{FF2B5EF4-FFF2-40B4-BE49-F238E27FC236}">
                <a16:creationId xmlns:a16="http://schemas.microsoft.com/office/drawing/2014/main" id="{6DA88F43-D409-4504-A063-DA4B451A4720}"/>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5701453" cy="3744247"/>
          </a:xfrm>
          <a:solidFill>
            <a:srgbClr val="F6F6F4"/>
          </a:solidFill>
        </p:spPr>
        <p:txBody>
          <a:bodyPr tIns="0" anchor="t" anchorCtr="0"/>
          <a:lstStyle>
            <a:lvl1pPr>
              <a:buNone/>
              <a:defRPr/>
            </a:lvl1pPr>
          </a:lstStyle>
          <a:p>
            <a:r>
              <a:rPr lang="en-GB" noProof="0"/>
              <a:t>Mark placeholder to insert image</a:t>
            </a:r>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31" y="5387836"/>
            <a:ext cx="5703042"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2" name="Text Placeholder 4">
            <a:extLst>
              <a:ext uri="{FF2B5EF4-FFF2-40B4-BE49-F238E27FC236}">
                <a16:creationId xmlns:a16="http://schemas.microsoft.com/office/drawing/2014/main" id="{A1F7B2BE-FFF8-4897-A35A-DDFEEB4911B6}"/>
              </a:ext>
            </a:extLst>
          </p:cNvPr>
          <p:cNvSpPr>
            <a:spLocks noGrp="1"/>
          </p:cNvSpPr>
          <p:nvPr>
            <p:ph type="body" sz="quarter" idx="25" hasCustomPrompt="1"/>
          </p:nvPr>
        </p:nvSpPr>
        <p:spPr>
          <a:xfrm>
            <a:off x="7314564" y="3145672"/>
            <a:ext cx="407405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4" y="1644651"/>
            <a:ext cx="4074057" cy="1483526"/>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3" name="Text Placeholder 5">
            <a:extLst>
              <a:ext uri="{FF2B5EF4-FFF2-40B4-BE49-F238E27FC236}">
                <a16:creationId xmlns:a16="http://schemas.microsoft.com/office/drawing/2014/main" id="{735B3C8D-4ACE-428F-8AD3-7A13F1213FD2}"/>
              </a:ext>
            </a:extLst>
          </p:cNvPr>
          <p:cNvSpPr>
            <a:spLocks noGrp="1"/>
          </p:cNvSpPr>
          <p:nvPr>
            <p:ph type="body" sz="quarter" idx="26" hasCustomPrompt="1"/>
          </p:nvPr>
        </p:nvSpPr>
        <p:spPr>
          <a:xfrm>
            <a:off x="7314566" y="5387835"/>
            <a:ext cx="1628987"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5" name="Text Placeholder 6">
            <a:extLst>
              <a:ext uri="{FF2B5EF4-FFF2-40B4-BE49-F238E27FC236}">
                <a16:creationId xmlns:a16="http://schemas.microsoft.com/office/drawing/2014/main" id="{C7A95160-7865-47B1-BBD0-32DA9C96FEC4}"/>
              </a:ext>
            </a:extLst>
          </p:cNvPr>
          <p:cNvSpPr>
            <a:spLocks noGrp="1"/>
          </p:cNvSpPr>
          <p:nvPr>
            <p:ph type="body" sz="quarter" idx="27" hasCustomPrompt="1"/>
          </p:nvPr>
        </p:nvSpPr>
        <p:spPr>
          <a:xfrm>
            <a:off x="9758044" y="5387835"/>
            <a:ext cx="1630576"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4566" y="3905375"/>
            <a:ext cx="1628987" cy="1483526"/>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4" y="3905375"/>
            <a:ext cx="1630576" cy="1483526"/>
          </a:xfrm>
          <a:solidFill>
            <a:srgbClr val="F6F6F4"/>
          </a:solidFill>
        </p:spPr>
        <p:txBody>
          <a:bodyPr tIns="0" anchor="t" anchorCtr="0"/>
          <a:lstStyle>
            <a:lvl1pPr marL="0" indent="0">
              <a:buNone/>
              <a:defRPr/>
            </a:lvl1pPr>
          </a:lstStyle>
          <a:p>
            <a:r>
              <a:rPr lang="en-GB" noProof="0"/>
              <a:t>Mark placeholder to insert image</a:t>
            </a:r>
          </a:p>
        </p:txBody>
      </p:sp>
      <p:sp>
        <p:nvSpPr>
          <p:cNvPr id="19" name="Footer Placeholder 4">
            <a:extLst>
              <a:ext uri="{FF2B5EF4-FFF2-40B4-BE49-F238E27FC236}">
                <a16:creationId xmlns:a16="http://schemas.microsoft.com/office/drawing/2014/main" id="{651A90D8-504E-4DC5-901B-5180BA0DE16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21" name="Date_DateCustomA">
            <a:extLst>
              <a:ext uri="{FF2B5EF4-FFF2-40B4-BE49-F238E27FC236}">
                <a16:creationId xmlns:a16="http://schemas.microsoft.com/office/drawing/2014/main" id="{C64ACC7F-7EC9-4D88-B2D9-4BD783C75A0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36191CC-81E4-40E2-A3EA-FD9630412644}" type="datetime1">
              <a:rPr lang="en-GB" smtClean="0"/>
              <a:t>19/06/2024</a:t>
            </a:fld>
            <a:endParaRPr lang="en-GB"/>
          </a:p>
        </p:txBody>
      </p:sp>
    </p:spTree>
    <p:extLst>
      <p:ext uri="{BB962C8B-B14F-4D97-AF65-F5344CB8AC3E}">
        <p14:creationId xmlns:p14="http://schemas.microsoft.com/office/powerpoint/2010/main" val="38905907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92B2C7-5E53-4EA1-BAD0-D814DF20E580}"/>
              </a:ext>
            </a:extLst>
          </p:cNvPr>
          <p:cNvGraphicFramePr>
            <a:graphicFrameLocks noChangeAspect="1"/>
          </p:cNvGraphicFramePr>
          <p:nvPr userDrawn="1">
            <p:custDataLst>
              <p:tags r:id="rId1"/>
            </p:custDataLst>
            <p:extLst>
              <p:ext uri="{D42A27DB-BD31-4B8C-83A1-F6EECF244321}">
                <p14:modId xmlns:p14="http://schemas.microsoft.com/office/powerpoint/2010/main" val="132964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DA92B2C7-5E53-4EA1-BAD0-D814DF20E5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da-DK" smtClean="0"/>
              <a:pPr/>
              <a:t>19-06-2024</a:t>
            </a:fld>
            <a:endParaRPr lang="da-DK"/>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726481537"/>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ive images (A)">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31" y="5388899"/>
            <a:ext cx="5703042" cy="316843"/>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20" name="Text Placeholder 4">
            <a:extLst>
              <a:ext uri="{FF2B5EF4-FFF2-40B4-BE49-F238E27FC236}">
                <a16:creationId xmlns:a16="http://schemas.microsoft.com/office/drawing/2014/main" id="{42DF0A72-5AF0-4ACE-B2DB-4155F465E0B5}"/>
              </a:ext>
            </a:extLst>
          </p:cNvPr>
          <p:cNvSpPr>
            <a:spLocks noGrp="1"/>
          </p:cNvSpPr>
          <p:nvPr>
            <p:ph type="body" sz="quarter" idx="25" hasCustomPrompt="1"/>
          </p:nvPr>
        </p:nvSpPr>
        <p:spPr>
          <a:xfrm>
            <a:off x="7314564" y="3144193"/>
            <a:ext cx="1628988"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21" name="Text Placeholder 5">
            <a:extLst>
              <a:ext uri="{FF2B5EF4-FFF2-40B4-BE49-F238E27FC236}">
                <a16:creationId xmlns:a16="http://schemas.microsoft.com/office/drawing/2014/main" id="{0F958486-0A01-4664-898B-849018028B9C}"/>
              </a:ext>
            </a:extLst>
          </p:cNvPr>
          <p:cNvSpPr>
            <a:spLocks noGrp="1"/>
          </p:cNvSpPr>
          <p:nvPr>
            <p:ph type="body" sz="quarter" idx="26" hasCustomPrompt="1"/>
          </p:nvPr>
        </p:nvSpPr>
        <p:spPr>
          <a:xfrm>
            <a:off x="7314564" y="5387953"/>
            <a:ext cx="1628988"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22" name="Text Placeholder 6">
            <a:extLst>
              <a:ext uri="{FF2B5EF4-FFF2-40B4-BE49-F238E27FC236}">
                <a16:creationId xmlns:a16="http://schemas.microsoft.com/office/drawing/2014/main" id="{72AE0D8A-202F-43F6-AB72-839F68F575A8}"/>
              </a:ext>
            </a:extLst>
          </p:cNvPr>
          <p:cNvSpPr>
            <a:spLocks noGrp="1"/>
          </p:cNvSpPr>
          <p:nvPr>
            <p:ph type="body" sz="quarter" idx="27" hasCustomPrompt="1"/>
          </p:nvPr>
        </p:nvSpPr>
        <p:spPr>
          <a:xfrm>
            <a:off x="9758044" y="3144193"/>
            <a:ext cx="1630576"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p>
        </p:txBody>
      </p:sp>
      <p:sp>
        <p:nvSpPr>
          <p:cNvPr id="5" name="Text Placeholder 7">
            <a:extLst>
              <a:ext uri="{FF2B5EF4-FFF2-40B4-BE49-F238E27FC236}">
                <a16:creationId xmlns:a16="http://schemas.microsoft.com/office/drawing/2014/main" id="{553D49DA-A17B-44D7-8EBB-64C685A23079}"/>
              </a:ext>
            </a:extLst>
          </p:cNvPr>
          <p:cNvSpPr>
            <a:spLocks noGrp="1"/>
          </p:cNvSpPr>
          <p:nvPr>
            <p:ph type="body" sz="quarter" idx="28" hasCustomPrompt="1"/>
          </p:nvPr>
        </p:nvSpPr>
        <p:spPr>
          <a:xfrm>
            <a:off x="9758044" y="5387953"/>
            <a:ext cx="1630576"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5701453" cy="3744247"/>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4" y="1644651"/>
            <a:ext cx="1628988" cy="1483526"/>
          </a:xfrm>
          <a:solidFill>
            <a:srgbClr val="F6F6F4"/>
          </a:solidFill>
        </p:spPr>
        <p:txBody>
          <a:bodyPr tIns="0" anchor="t" anchorCtr="0"/>
          <a:lstStyle>
            <a:lvl1pPr marL="0" indent="0">
              <a:buNone/>
              <a:defRPr/>
            </a:lvl1pPr>
          </a:lstStyle>
          <a:p>
            <a:r>
              <a:rPr lang="en-GB" noProof="0"/>
              <a:t>Mark placeholder to insert image</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4564" y="3905375"/>
            <a:ext cx="1628988" cy="1483526"/>
          </a:xfrm>
          <a:solidFill>
            <a:srgbClr val="F6F6F4"/>
          </a:solidFill>
        </p:spPr>
        <p:txBody>
          <a:bodyPr tIns="0" anchor="t" anchorCtr="0"/>
          <a:lstStyle>
            <a:lvl1pPr marL="0" indent="0">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4" y="1644652"/>
            <a:ext cx="1630576" cy="1483526"/>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5" y="3905375"/>
            <a:ext cx="1630575" cy="1483526"/>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5" name="Title 7">
            <a:extLst>
              <a:ext uri="{FF2B5EF4-FFF2-40B4-BE49-F238E27FC236}">
                <a16:creationId xmlns:a16="http://schemas.microsoft.com/office/drawing/2014/main" id="{109E8909-9BF2-426F-A556-859081C99CFB}"/>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7" name="Footer Placeholder 4">
            <a:extLst>
              <a:ext uri="{FF2B5EF4-FFF2-40B4-BE49-F238E27FC236}">
                <a16:creationId xmlns:a16="http://schemas.microsoft.com/office/drawing/2014/main" id="{89EC51AE-5F71-4517-A9E0-7E30DE0DEAED}"/>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23" name="Date_DateCustomA">
            <a:extLst>
              <a:ext uri="{FF2B5EF4-FFF2-40B4-BE49-F238E27FC236}">
                <a16:creationId xmlns:a16="http://schemas.microsoft.com/office/drawing/2014/main" id="{9986C71A-FB30-4BC3-80B0-20BC5417034B}"/>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178DCDE-D1A1-4EB4-8F09-37541DFBB130}" type="datetime1">
              <a:rPr lang="en-GB" smtClean="0"/>
              <a:t>19/06/2024</a:t>
            </a:fld>
            <a:endParaRPr lang="en-GB"/>
          </a:p>
        </p:txBody>
      </p:sp>
    </p:spTree>
    <p:extLst>
      <p:ext uri="{BB962C8B-B14F-4D97-AF65-F5344CB8AC3E}">
        <p14:creationId xmlns:p14="http://schemas.microsoft.com/office/powerpoint/2010/main" val="97436111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Five images (B)">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29" y="5387953"/>
            <a:ext cx="325956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5" name="Text Placeholder 4">
            <a:extLst>
              <a:ext uri="{FF2B5EF4-FFF2-40B4-BE49-F238E27FC236}">
                <a16:creationId xmlns:a16="http://schemas.microsoft.com/office/drawing/2014/main" id="{F02B0B2F-7F53-4AFC-9446-DB6C5777E698}"/>
              </a:ext>
            </a:extLst>
          </p:cNvPr>
          <p:cNvSpPr>
            <a:spLocks noGrp="1"/>
          </p:cNvSpPr>
          <p:nvPr>
            <p:ph type="body" sz="quarter" idx="27" hasCustomPrompt="1"/>
          </p:nvPr>
        </p:nvSpPr>
        <p:spPr>
          <a:xfrm>
            <a:off x="4875849" y="3145672"/>
            <a:ext cx="648677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20" name="Text Placeholder 5">
            <a:extLst>
              <a:ext uri="{FF2B5EF4-FFF2-40B4-BE49-F238E27FC236}">
                <a16:creationId xmlns:a16="http://schemas.microsoft.com/office/drawing/2014/main" id="{0662756F-E3F0-402D-9E22-0BE6B392C8C9}"/>
              </a:ext>
            </a:extLst>
          </p:cNvPr>
          <p:cNvSpPr>
            <a:spLocks noGrp="1"/>
          </p:cNvSpPr>
          <p:nvPr>
            <p:ph type="body" sz="quarter" idx="28" hasCustomPrompt="1"/>
          </p:nvPr>
        </p:nvSpPr>
        <p:spPr>
          <a:xfrm>
            <a:off x="4871086" y="5387953"/>
            <a:ext cx="1625811"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21" name="Text Placeholder 6">
            <a:extLst>
              <a:ext uri="{FF2B5EF4-FFF2-40B4-BE49-F238E27FC236}">
                <a16:creationId xmlns:a16="http://schemas.microsoft.com/office/drawing/2014/main" id="{BE7208CB-CE86-4F3D-B12C-D8268891AA47}"/>
              </a:ext>
            </a:extLst>
          </p:cNvPr>
          <p:cNvSpPr>
            <a:spLocks noGrp="1"/>
          </p:cNvSpPr>
          <p:nvPr>
            <p:ph type="body" sz="quarter" idx="29" hasCustomPrompt="1"/>
          </p:nvPr>
        </p:nvSpPr>
        <p:spPr>
          <a:xfrm>
            <a:off x="7314566" y="5387953"/>
            <a:ext cx="162898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p>
        </p:txBody>
      </p:sp>
      <p:sp>
        <p:nvSpPr>
          <p:cNvPr id="22" name="Text Placeholder 7">
            <a:extLst>
              <a:ext uri="{FF2B5EF4-FFF2-40B4-BE49-F238E27FC236}">
                <a16:creationId xmlns:a16="http://schemas.microsoft.com/office/drawing/2014/main" id="{06E02B92-F862-4F76-B8DC-8C3D1FC7F977}"/>
              </a:ext>
            </a:extLst>
          </p:cNvPr>
          <p:cNvSpPr>
            <a:spLocks noGrp="1"/>
          </p:cNvSpPr>
          <p:nvPr>
            <p:ph type="body" sz="quarter" idx="30" hasCustomPrompt="1"/>
          </p:nvPr>
        </p:nvSpPr>
        <p:spPr>
          <a:xfrm>
            <a:off x="9758046" y="5387953"/>
            <a:ext cx="1630575"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9" y="1644652"/>
            <a:ext cx="3257974" cy="3744247"/>
          </a:xfrm>
          <a:solidFill>
            <a:srgbClr val="F6F6F4"/>
          </a:solidFill>
        </p:spPr>
        <p:txBody>
          <a:bodyPr tIns="0" anchor="t" anchorCtr="0"/>
          <a:lstStyle>
            <a:lvl1pPr marL="0" indent="0">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1085" y="1644651"/>
            <a:ext cx="6517536" cy="1483526"/>
          </a:xfrm>
          <a:solidFill>
            <a:srgbClr val="F6F6F4"/>
          </a:solidFill>
        </p:spPr>
        <p:txBody>
          <a:bodyPr tIns="0" anchor="t" anchorCtr="0"/>
          <a:lstStyle>
            <a:lvl1pPr marL="0" indent="0">
              <a:buNone/>
              <a:defRPr/>
            </a:lvl1pPr>
          </a:lstStyle>
          <a:p>
            <a:r>
              <a:rPr lang="en-GB" noProof="0"/>
              <a:t>Mark placeholder to insert image</a:t>
            </a:r>
          </a:p>
        </p:txBody>
      </p:sp>
      <p:sp>
        <p:nvSpPr>
          <p:cNvPr id="32" name="Picture Placeholder 3">
            <a:extLst>
              <a:ext uri="{FF2B5EF4-FFF2-40B4-BE49-F238E27FC236}">
                <a16:creationId xmlns:a16="http://schemas.microsoft.com/office/drawing/2014/main" id="{BD840AF9-BBF8-4202-BC96-375E5BEB71AA}"/>
              </a:ext>
            </a:extLst>
          </p:cNvPr>
          <p:cNvSpPr>
            <a:spLocks noGrp="1"/>
          </p:cNvSpPr>
          <p:nvPr>
            <p:ph type="pic" sz="quarter" idx="26" hasCustomPrompt="1"/>
          </p:nvPr>
        </p:nvSpPr>
        <p:spPr>
          <a:xfrm>
            <a:off x="4871085" y="3905096"/>
            <a:ext cx="1628987" cy="1483526"/>
          </a:xfrm>
          <a:solidFill>
            <a:srgbClr val="F6F6F4"/>
          </a:solidFill>
        </p:spPr>
        <p:txBody>
          <a:bodyPr tIns="0" anchor="t" anchorCtr="0"/>
          <a:lstStyle>
            <a:lvl1pPr marL="0" indent="0">
              <a:buNone/>
              <a:defRPr/>
            </a:lvl1pPr>
          </a:lstStyle>
          <a:p>
            <a:r>
              <a:rPr lang="en-GB" noProof="0"/>
              <a:t>Mark placeholder to insert image</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4566" y="3905375"/>
            <a:ext cx="1628987" cy="1483526"/>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5" y="3905375"/>
            <a:ext cx="1630575" cy="1483526"/>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17" name="Title 7">
            <a:extLst>
              <a:ext uri="{FF2B5EF4-FFF2-40B4-BE49-F238E27FC236}">
                <a16:creationId xmlns:a16="http://schemas.microsoft.com/office/drawing/2014/main" id="{299AE5C6-8512-40FE-B386-E39B5659754F}"/>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9" name="Footer Placeholder 4">
            <a:extLst>
              <a:ext uri="{FF2B5EF4-FFF2-40B4-BE49-F238E27FC236}">
                <a16:creationId xmlns:a16="http://schemas.microsoft.com/office/drawing/2014/main" id="{DB9DA6D0-8869-4337-BEAF-0ADAFE06FB4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24" name="Date_DateCustomA">
            <a:extLst>
              <a:ext uri="{FF2B5EF4-FFF2-40B4-BE49-F238E27FC236}">
                <a16:creationId xmlns:a16="http://schemas.microsoft.com/office/drawing/2014/main" id="{A387D7D7-69FC-41FF-BDFD-687A499B6122}"/>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5944EB0A-8F31-4F12-A58B-82FA23A642B9}" type="datetime1">
              <a:rPr lang="en-GB" smtClean="0"/>
              <a:t>19/06/2024</a:t>
            </a:fld>
            <a:endParaRPr lang="en-GB"/>
          </a:p>
        </p:txBody>
      </p:sp>
    </p:spTree>
    <p:extLst>
      <p:ext uri="{BB962C8B-B14F-4D97-AF65-F5344CB8AC3E}">
        <p14:creationId xmlns:p14="http://schemas.microsoft.com/office/powerpoint/2010/main" val="31925310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full slide image">
    <p:spTree>
      <p:nvGrpSpPr>
        <p:cNvPr id="1" name=""/>
        <p:cNvGrpSpPr/>
        <p:nvPr/>
      </p:nvGrpSpPr>
      <p:grpSpPr>
        <a:xfrm>
          <a:off x="0" y="0"/>
          <a:ext cx="0" cy="0"/>
          <a:chOff x="0" y="0"/>
          <a:chExt cx="0" cy="0"/>
        </a:xfrm>
      </p:grpSpPr>
      <p:sp>
        <p:nvSpPr>
          <p:cNvPr id="4" name="Background"/>
          <p:cNvSpPr/>
          <p:nvPr userDrawn="1"/>
        </p:nvSpPr>
        <p:spPr>
          <a:xfrm>
            <a:off x="0" y="1"/>
            <a:ext cx="12191187" cy="685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577"/>
          </a:p>
        </p:txBody>
      </p:sp>
      <p:sp>
        <p:nvSpPr>
          <p:cNvPr id="7" name="Picture Placeholder 5"/>
          <p:cNvSpPr>
            <a:spLocks noGrp="1"/>
          </p:cNvSpPr>
          <p:nvPr>
            <p:ph type="pic" sz="quarter" idx="10" hasCustomPrompt="1"/>
          </p:nvPr>
        </p:nvSpPr>
        <p:spPr>
          <a:xfrm>
            <a:off x="-1" y="0"/>
            <a:ext cx="12194788" cy="6860012"/>
          </a:xfrm>
          <a:solidFill>
            <a:srgbClr val="F6F6F4"/>
          </a:solidFill>
        </p:spPr>
        <p:txBody>
          <a:bodyPr tIns="0" anchor="t" anchorCtr="0"/>
          <a:lstStyle>
            <a:lvl1pPr algn="ctr">
              <a:buNone/>
              <a:defRPr>
                <a:solidFill>
                  <a:schemeClr val="tx1"/>
                </a:solidFill>
              </a:defRPr>
            </a:lvl1pPr>
          </a:lstStyle>
          <a:p>
            <a:r>
              <a:rPr lang="en-GB" noProof="0"/>
              <a:t>Mark placeholder to insert image</a:t>
            </a:r>
          </a:p>
        </p:txBody>
      </p:sp>
      <p:sp>
        <p:nvSpPr>
          <p:cNvPr id="2" name="Title 1"/>
          <p:cNvSpPr>
            <a:spLocks noGrp="1"/>
          </p:cNvSpPr>
          <p:nvPr>
            <p:ph type="title"/>
          </p:nvPr>
        </p:nvSpPr>
        <p:spPr>
          <a:xfrm>
            <a:off x="817035" y="452439"/>
            <a:ext cx="10556574" cy="1056000"/>
          </a:xfrm>
        </p:spPr>
        <p:txBody>
          <a:bodyPr/>
          <a:lstStyle>
            <a:lvl1pPr>
              <a:defRPr>
                <a:solidFill>
                  <a:schemeClr val="tx2"/>
                </a:solidFill>
              </a:defRPr>
            </a:lvl1pPr>
          </a:lstStyle>
          <a:p>
            <a:r>
              <a:rPr lang="en-US" noProof="0"/>
              <a:t>Click to edit Master title style</a:t>
            </a:r>
            <a:endParaRPr lang="en-GB" noProof="0"/>
          </a:p>
        </p:txBody>
      </p:sp>
      <p:sp>
        <p:nvSpPr>
          <p:cNvPr id="9" name="Text Placeholder 15">
            <a:extLst>
              <a:ext uri="{FF2B5EF4-FFF2-40B4-BE49-F238E27FC236}">
                <a16:creationId xmlns:a16="http://schemas.microsoft.com/office/drawing/2014/main" id="{1C804A56-02C2-4000-8DE1-4C682601C756}"/>
              </a:ext>
            </a:extLst>
          </p:cNvPr>
          <p:cNvSpPr>
            <a:spLocks noGrp="1"/>
          </p:cNvSpPr>
          <p:nvPr>
            <p:ph type="body" sz="quarter" idx="12" hasCustomPrompt="1"/>
          </p:nvPr>
        </p:nvSpPr>
        <p:spPr bwMode="auto">
          <a:xfrm>
            <a:off x="798617" y="6158174"/>
            <a:ext cx="1220559" cy="255541"/>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p>
        </p:txBody>
      </p:sp>
      <p:sp>
        <p:nvSpPr>
          <p:cNvPr id="11" name="Slide Number Placeholder 5" hidden="1">
            <a:extLst>
              <a:ext uri="{FF2B5EF4-FFF2-40B4-BE49-F238E27FC236}">
                <a16:creationId xmlns:a16="http://schemas.microsoft.com/office/drawing/2014/main" id="{F8065A6C-B087-4C37-B9BF-238078D124A4}"/>
              </a:ext>
            </a:extLst>
          </p:cNvPr>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2" name="Footer Placeholder 4" hidden="1">
            <a:extLst>
              <a:ext uri="{FF2B5EF4-FFF2-40B4-BE49-F238E27FC236}">
                <a16:creationId xmlns:a16="http://schemas.microsoft.com/office/drawing/2014/main" id="{E644527C-AD14-4EB9-ADCA-31C61EBA6546}"/>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3" name="Date_DateCustomA" hidden="1">
            <a:extLst>
              <a:ext uri="{FF2B5EF4-FFF2-40B4-BE49-F238E27FC236}">
                <a16:creationId xmlns:a16="http://schemas.microsoft.com/office/drawing/2014/main" id="{264006B7-F2E6-4F4A-8D05-3F44F8F318B8}"/>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Tree>
    <p:extLst>
      <p:ext uri="{BB962C8B-B14F-4D97-AF65-F5344CB8AC3E}">
        <p14:creationId xmlns:p14="http://schemas.microsoft.com/office/powerpoint/2010/main" val="34765572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ull slide image">
    <p:spTree>
      <p:nvGrpSpPr>
        <p:cNvPr id="1" name=""/>
        <p:cNvGrpSpPr/>
        <p:nvPr/>
      </p:nvGrpSpPr>
      <p:grpSpPr>
        <a:xfrm>
          <a:off x="0" y="0"/>
          <a:ext cx="0" cy="0"/>
          <a:chOff x="0" y="0"/>
          <a:chExt cx="0" cy="0"/>
        </a:xfrm>
      </p:grpSpPr>
      <p:sp>
        <p:nvSpPr>
          <p:cNvPr id="3" name="Background"/>
          <p:cNvSpPr/>
          <p:nvPr userDrawn="1"/>
        </p:nvSpPr>
        <p:spPr>
          <a:xfrm>
            <a:off x="0" y="1"/>
            <a:ext cx="12191187" cy="685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577"/>
          </a:p>
        </p:txBody>
      </p:sp>
      <p:sp>
        <p:nvSpPr>
          <p:cNvPr id="6" name="Picture Placeholder 5"/>
          <p:cNvSpPr>
            <a:spLocks noGrp="1"/>
          </p:cNvSpPr>
          <p:nvPr>
            <p:ph type="pic" sz="quarter" idx="10" hasCustomPrompt="1"/>
          </p:nvPr>
        </p:nvSpPr>
        <p:spPr>
          <a:xfrm>
            <a:off x="-1" y="0"/>
            <a:ext cx="12194788" cy="6860012"/>
          </a:xfrm>
          <a:solidFill>
            <a:srgbClr val="F6F6F4"/>
          </a:solidFill>
        </p:spPr>
        <p:txBody>
          <a:bodyPr tIns="0" anchor="t" anchorCtr="0"/>
          <a:lstStyle>
            <a:lvl1pPr marL="0" indent="0" algn="ctr">
              <a:buNone/>
              <a:defRPr baseline="0">
                <a:solidFill>
                  <a:schemeClr val="tx1"/>
                </a:solidFill>
              </a:defRPr>
            </a:lvl1pPr>
          </a:lstStyle>
          <a:p>
            <a:r>
              <a:rPr lang="en-GB" noProof="0"/>
              <a:t>Mark placeholder to insert image</a:t>
            </a:r>
          </a:p>
        </p:txBody>
      </p:sp>
      <p:sp>
        <p:nvSpPr>
          <p:cNvPr id="7" name="Text Placeholder 15">
            <a:extLst>
              <a:ext uri="{FF2B5EF4-FFF2-40B4-BE49-F238E27FC236}">
                <a16:creationId xmlns:a16="http://schemas.microsoft.com/office/drawing/2014/main" id="{D502E4A2-448F-4BE7-8814-15A06BDE1CF9}"/>
              </a:ext>
            </a:extLst>
          </p:cNvPr>
          <p:cNvSpPr>
            <a:spLocks noGrp="1"/>
          </p:cNvSpPr>
          <p:nvPr>
            <p:ph type="body" sz="quarter" idx="12" hasCustomPrompt="1"/>
          </p:nvPr>
        </p:nvSpPr>
        <p:spPr bwMode="auto">
          <a:xfrm>
            <a:off x="798617" y="6158174"/>
            <a:ext cx="1220559" cy="255541"/>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p>
        </p:txBody>
      </p:sp>
      <p:sp>
        <p:nvSpPr>
          <p:cNvPr id="10" name="Slide Number Placeholder 5" hidden="1">
            <a:extLst>
              <a:ext uri="{FF2B5EF4-FFF2-40B4-BE49-F238E27FC236}">
                <a16:creationId xmlns:a16="http://schemas.microsoft.com/office/drawing/2014/main" id="{DB3E8C21-56F3-43EB-BF88-4EEB72C3F75D}"/>
              </a:ext>
            </a:extLst>
          </p:cNvPr>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1" name="Footer Placeholder 4" hidden="1">
            <a:extLst>
              <a:ext uri="{FF2B5EF4-FFF2-40B4-BE49-F238E27FC236}">
                <a16:creationId xmlns:a16="http://schemas.microsoft.com/office/drawing/2014/main" id="{35D10A95-9140-4D91-8BAE-655D1782D7D6}"/>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2" name="Date_DateCustomA" hidden="1">
            <a:extLst>
              <a:ext uri="{FF2B5EF4-FFF2-40B4-BE49-F238E27FC236}">
                <a16:creationId xmlns:a16="http://schemas.microsoft.com/office/drawing/2014/main" id="{3FA8083C-E59E-4629-A5C9-D403872552DF}"/>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Tree>
    <p:extLst>
      <p:ext uri="{BB962C8B-B14F-4D97-AF65-F5344CB8AC3E}">
        <p14:creationId xmlns:p14="http://schemas.microsoft.com/office/powerpoint/2010/main" val="373864703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Quot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10" name="Title 1">
            <a:extLst>
              <a:ext uri="{FF2B5EF4-FFF2-40B4-BE49-F238E27FC236}">
                <a16:creationId xmlns:a16="http://schemas.microsoft.com/office/drawing/2014/main" id="{6C267E1F-9146-4D51-A3EA-9E268FC35F7A}"/>
              </a:ext>
            </a:extLst>
          </p:cNvPr>
          <p:cNvSpPr>
            <a:spLocks noGrp="1"/>
          </p:cNvSpPr>
          <p:nvPr>
            <p:ph type="title" hasCustomPrompt="1"/>
          </p:nvPr>
        </p:nvSpPr>
        <p:spPr>
          <a:xfrm>
            <a:off x="798618" y="1945915"/>
            <a:ext cx="7330441" cy="2768684"/>
          </a:xfrm>
        </p:spPr>
        <p:txBody>
          <a:bodyPr/>
          <a:lstStyle>
            <a:lvl1pPr>
              <a:defRPr sz="1026" b="0" cap="none">
                <a:solidFill>
                  <a:schemeClr val="tx1"/>
                </a:solidFill>
              </a:defRPr>
            </a:lvl1pPr>
          </a:lstStyle>
          <a:p>
            <a:r>
              <a:rPr lang="en-GB"/>
              <a:t>Quotation</a:t>
            </a:r>
          </a:p>
        </p:txBody>
      </p:sp>
      <p:sp>
        <p:nvSpPr>
          <p:cNvPr id="26" name="Text Placeholder 5">
            <a:extLst>
              <a:ext uri="{FF2B5EF4-FFF2-40B4-BE49-F238E27FC236}">
                <a16:creationId xmlns:a16="http://schemas.microsoft.com/office/drawing/2014/main" id="{1E1ADCAE-53E0-4B32-A2CA-095078D0C634}"/>
              </a:ext>
            </a:extLst>
          </p:cNvPr>
          <p:cNvSpPr>
            <a:spLocks noGrp="1"/>
          </p:cNvSpPr>
          <p:nvPr>
            <p:ph type="body" sz="quarter" idx="11" hasCustomPrompt="1"/>
          </p:nvPr>
        </p:nvSpPr>
        <p:spPr>
          <a:xfrm>
            <a:off x="796073" y="5018936"/>
            <a:ext cx="7332990" cy="1084011"/>
          </a:xfrm>
        </p:spPr>
        <p:txBody>
          <a:bodyPr lIns="0"/>
          <a:lstStyle>
            <a:lvl1pPr marL="0" indent="0">
              <a:buFont typeface="Arial" panose="020B0604020202020204" pitchFamily="34" charset="0"/>
              <a:buChar char="​"/>
              <a:defRPr sz="513" baseline="0">
                <a:solidFill>
                  <a:schemeClr val="tx1"/>
                </a:solidFill>
              </a:defRPr>
            </a:lvl1pPr>
          </a:lstStyle>
          <a:p>
            <a:pPr lvl="0"/>
            <a:r>
              <a:rPr lang="en-GB"/>
              <a:t>Name, Title</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31421AFA-3AE7-4CEA-BC9B-447859BED57B}" type="slidenum">
              <a:rPr lang="en-GB" smtClean="0"/>
              <a:pPr/>
              <a:t>‹#›</a:t>
            </a:fld>
            <a:endParaRPr lang="en-GB"/>
          </a:p>
        </p:txBody>
      </p:sp>
      <p:sp>
        <p:nvSpPr>
          <p:cNvPr id="6" name="TextBox 5">
            <a:extLst>
              <a:ext uri="{FF2B5EF4-FFF2-40B4-BE49-F238E27FC236}">
                <a16:creationId xmlns:a16="http://schemas.microsoft.com/office/drawing/2014/main" id="{CEE8FF56-E9E6-4CE1-A183-9B907183A27A}"/>
              </a:ext>
            </a:extLst>
          </p:cNvPr>
          <p:cNvSpPr txBox="1"/>
          <p:nvPr userDrawn="1"/>
        </p:nvSpPr>
        <p:spPr bwMode="auto">
          <a:xfrm>
            <a:off x="805542" y="2249831"/>
            <a:ext cx="1671854" cy="2829504"/>
          </a:xfrm>
          <a:prstGeom prst="rect">
            <a:avLst/>
          </a:prstGeom>
          <a:noFill/>
          <a:ln w="9525">
            <a:noFill/>
            <a:miter lim="800000"/>
            <a:headEnd/>
            <a:tailEnd/>
          </a:ln>
          <a:effectLst/>
        </p:spPr>
        <p:txBody>
          <a:bodyPr vert="horz" wrap="square" lIns="11546" tIns="0" rIns="0" bIns="0" numCol="1" rtlCol="0" anchor="t" anchorCtr="0" compatLnSpc="1">
            <a:prstTxWarp prst="textNoShape">
              <a:avLst/>
            </a:prstTxWarp>
            <a:noAutofit/>
          </a:bodyPr>
          <a:lstStyle/>
          <a:p>
            <a:pPr marL="4073" marR="0" indent="-8145" algn="l" defTabSz="146621" rtl="0" eaLnBrk="0" fontAlgn="base" latinLnBrk="0" hangingPunct="0">
              <a:lnSpc>
                <a:spcPts val="694"/>
              </a:lnSpc>
              <a:spcBef>
                <a:spcPct val="0"/>
              </a:spcBef>
              <a:spcAft>
                <a:spcPts val="481"/>
              </a:spcAft>
              <a:buClrTx/>
              <a:buSzTx/>
              <a:tabLst/>
            </a:pPr>
            <a:r>
              <a:rPr kumimoji="0" lang="en-GB" sz="6382"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a:t>
            </a:r>
          </a:p>
        </p:txBody>
      </p:sp>
      <p:sp>
        <p:nvSpPr>
          <p:cNvPr id="14" name="Freeform 5">
            <a:extLst>
              <a:ext uri="{FF2B5EF4-FFF2-40B4-BE49-F238E27FC236}">
                <a16:creationId xmlns:a16="http://schemas.microsoft.com/office/drawing/2014/main" id="{A9AB153B-AFF1-4043-8D3F-263FEAF2377E}"/>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tx1"/>
          </a:solidFill>
          <a:ln>
            <a:noFill/>
          </a:ln>
        </p:spPr>
        <p:txBody>
          <a:bodyPr vert="horz" wrap="square" lIns="29326" tIns="14663" rIns="29326" bIns="14663" numCol="1" anchor="t" anchorCtr="0" compatLnSpc="1">
            <a:prstTxWarp prst="textNoShape">
              <a:avLst/>
            </a:prstTxWarp>
          </a:bodyPr>
          <a:lstStyle/>
          <a:p>
            <a:endParaRPr lang="en-GB" sz="577"/>
          </a:p>
        </p:txBody>
      </p:sp>
      <p:sp>
        <p:nvSpPr>
          <p:cNvPr id="15" name="Footer Placeholder 4">
            <a:extLst>
              <a:ext uri="{FF2B5EF4-FFF2-40B4-BE49-F238E27FC236}">
                <a16:creationId xmlns:a16="http://schemas.microsoft.com/office/drawing/2014/main" id="{55D8EFE0-F00D-46BC-9E29-8C829868EFF4}"/>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tx1"/>
                </a:solidFill>
              </a:defRPr>
            </a:lvl1pPr>
          </a:lstStyle>
          <a:p>
            <a:pPr algn="r"/>
            <a:endParaRPr lang="en-GB"/>
          </a:p>
        </p:txBody>
      </p:sp>
      <p:sp>
        <p:nvSpPr>
          <p:cNvPr id="17" name="Date_DateCustomA">
            <a:extLst>
              <a:ext uri="{FF2B5EF4-FFF2-40B4-BE49-F238E27FC236}">
                <a16:creationId xmlns:a16="http://schemas.microsoft.com/office/drawing/2014/main" id="{BA90A93D-37F9-4C65-91AC-8C8D05B4C5B1}"/>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A8D4E2C-4AD4-4902-9AA6-258C412AEED1}" type="datetime1">
              <a:rPr lang="en-GB" smtClean="0"/>
              <a:t>19/06/2024</a:t>
            </a:fld>
            <a:endParaRPr lang="en-GB"/>
          </a:p>
        </p:txBody>
      </p:sp>
    </p:spTree>
    <p:extLst>
      <p:ext uri="{BB962C8B-B14F-4D97-AF65-F5344CB8AC3E}">
        <p14:creationId xmlns:p14="http://schemas.microsoft.com/office/powerpoint/2010/main" val="3416332022"/>
      </p:ext>
    </p:extLst>
  </p:cSld>
  <p:clrMapOvr>
    <a:overrideClrMapping bg1="dk1" tx1="lt1" bg2="dk2" tx2="lt2" accent1="accent1" accent2="accent2" accent3="accent3" accent4="accent4" accent5="accent5" accent6="accent6" hlink="hlink" folHlink="folHlink"/>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4" name="Title 7">
            <a:extLst>
              <a:ext uri="{FF2B5EF4-FFF2-40B4-BE49-F238E27FC236}">
                <a16:creationId xmlns:a16="http://schemas.microsoft.com/office/drawing/2014/main" id="{65C857B0-BA7F-4231-B59A-526700FAC84B}"/>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702E9997-006D-492C-9877-F7617EDD299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7" name="Date_DateCustomA">
            <a:extLst>
              <a:ext uri="{FF2B5EF4-FFF2-40B4-BE49-F238E27FC236}">
                <a16:creationId xmlns:a16="http://schemas.microsoft.com/office/drawing/2014/main" id="{5FC6988B-A4CB-4E12-A565-68D705C3ABC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2E10D1A-D613-41CE-B02A-846290684BA0}" type="datetime1">
              <a:rPr lang="en-GB" smtClean="0"/>
              <a:t>19/06/2024</a:t>
            </a:fld>
            <a:endParaRPr lang="en-GB"/>
          </a:p>
        </p:txBody>
      </p:sp>
    </p:spTree>
    <p:extLst>
      <p:ext uri="{BB962C8B-B14F-4D97-AF65-F5344CB8AC3E}">
        <p14:creationId xmlns:p14="http://schemas.microsoft.com/office/powerpoint/2010/main" val="122514384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a:p>
        </p:txBody>
      </p:sp>
      <p:sp>
        <p:nvSpPr>
          <p:cNvPr id="3" name="Footer Placeholder 4">
            <a:extLst>
              <a:ext uri="{FF2B5EF4-FFF2-40B4-BE49-F238E27FC236}">
                <a16:creationId xmlns:a16="http://schemas.microsoft.com/office/drawing/2014/main" id="{3ED85EA1-D7DA-4042-AE58-E34BD5AC52E3}"/>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5" name="Date_DateCustomA">
            <a:extLst>
              <a:ext uri="{FF2B5EF4-FFF2-40B4-BE49-F238E27FC236}">
                <a16:creationId xmlns:a16="http://schemas.microsoft.com/office/drawing/2014/main" id="{235F65ED-2265-47AB-ACC6-E4B66C390755}"/>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47FB7D42-25F0-4925-AB91-37097B4A81F1}" type="datetime1">
              <a:rPr lang="en-GB" smtClean="0"/>
              <a:t>19/06/2024</a:t>
            </a:fld>
            <a:endParaRPr lang="en-GB"/>
          </a:p>
        </p:txBody>
      </p:sp>
    </p:spTree>
    <p:extLst>
      <p:ext uri="{BB962C8B-B14F-4D97-AF65-F5344CB8AC3E}">
        <p14:creationId xmlns:p14="http://schemas.microsoft.com/office/powerpoint/2010/main" val="116382812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End slide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2" name="Title Placeholder 1"/>
          <p:cNvSpPr>
            <a:spLocks noGrp="1"/>
          </p:cNvSpPr>
          <p:nvPr>
            <p:ph type="ctrTitle"/>
          </p:nvPr>
        </p:nvSpPr>
        <p:spPr>
          <a:xfrm>
            <a:off x="798617" y="452440"/>
            <a:ext cx="10590003" cy="1196444"/>
          </a:xfrm>
        </p:spPr>
        <p:txBody>
          <a:bodyPr tIns="0"/>
          <a:lstStyle>
            <a:lvl1pPr>
              <a:defRPr sz="1026" cap="all" baseline="0" smtClean="0">
                <a:solidFill>
                  <a:schemeClr val="bg1"/>
                </a:solidFill>
                <a:latin typeface="Verdana" pitchFamily="34" charset="0"/>
              </a:defRPr>
            </a:lvl1pPr>
          </a:lstStyle>
          <a:p>
            <a:r>
              <a:rPr lang="en-US" noProof="0"/>
              <a:t>Click to edit Master title style</a:t>
            </a:r>
            <a:endParaRPr lang="en-GB" noProof="0"/>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9270F80D-0DED-41DC-8003-ACA44099192B}" type="datetime1">
              <a:rPr lang="en-GB" smtClean="0"/>
              <a:t>19/06/2024</a:t>
            </a:fld>
            <a:endParaRPr lang="en-GB"/>
          </a:p>
        </p:txBody>
      </p:sp>
      <p:sp>
        <p:nvSpPr>
          <p:cNvPr id="11" name="Text Placeholder 2">
            <a:extLst>
              <a:ext uri="{FF2B5EF4-FFF2-40B4-BE49-F238E27FC236}">
                <a16:creationId xmlns:a16="http://schemas.microsoft.com/office/drawing/2014/main" id="{FCCD3D23-05BF-4B57-8284-15FF6D12171B}"/>
              </a:ext>
            </a:extLst>
          </p:cNvPr>
          <p:cNvSpPr>
            <a:spLocks noGrp="1"/>
          </p:cNvSpPr>
          <p:nvPr>
            <p:ph type="body" sz="quarter" idx="12" hasCustomPrompt="1"/>
          </p:nvPr>
        </p:nvSpPr>
        <p:spPr>
          <a:xfrm>
            <a:off x="798617" y="6158174"/>
            <a:ext cx="2826368" cy="255541"/>
          </a:xfrm>
          <a:blipFill>
            <a:blip r:embed="rId2"/>
            <a:stretch>
              <a:fillRect/>
            </a:stretch>
          </a:blipFill>
        </p:spPr>
        <p:txBody>
          <a:bodyPr/>
          <a:lstStyle>
            <a:lvl1pPr marL="0" indent="0">
              <a:buNone/>
              <a:defRPr sz="100">
                <a:noFill/>
              </a:defRPr>
            </a:lvl1pPr>
          </a:lstStyle>
          <a:p>
            <a:pPr lvl="0"/>
            <a:r>
              <a:rPr lang="en-US"/>
              <a:t>.</a:t>
            </a:r>
          </a:p>
        </p:txBody>
      </p:sp>
    </p:spTree>
    <p:extLst>
      <p:ext uri="{BB962C8B-B14F-4D97-AF65-F5344CB8AC3E}">
        <p14:creationId xmlns:p14="http://schemas.microsoft.com/office/powerpoint/2010/main" val="3827054176"/>
      </p:ext>
    </p:extLst>
  </p:cSld>
  <p:clrMapOvr>
    <a:overrideClrMapping bg1="lt1" tx1="dk1" bg2="lt2" tx2="dk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End slide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619" y="452439"/>
            <a:ext cx="4886960" cy="4431940"/>
          </a:xfrm>
        </p:spPr>
        <p:txBody>
          <a:bodyPr/>
          <a:lstStyle>
            <a:lvl1pPr>
              <a:defRPr>
                <a:solidFill>
                  <a:schemeClr val="bg1"/>
                </a:solidFill>
              </a:defRPr>
            </a:lvl1pPr>
          </a:lstStyle>
          <a:p>
            <a:r>
              <a:rPr lang="en-GB"/>
              <a:t>Thank you</a:t>
            </a:r>
          </a:p>
        </p:txBody>
      </p:sp>
      <p:sp>
        <p:nvSpPr>
          <p:cNvPr id="10" name="Text Placeholder 5">
            <a:extLst>
              <a:ext uri="{FF2B5EF4-FFF2-40B4-BE49-F238E27FC236}">
                <a16:creationId xmlns:a16="http://schemas.microsoft.com/office/drawing/2014/main" id="{7AAE5DB4-A422-4286-935C-1ABCA4CCEFA2}"/>
              </a:ext>
            </a:extLst>
          </p:cNvPr>
          <p:cNvSpPr>
            <a:spLocks noGrp="1"/>
          </p:cNvSpPr>
          <p:nvPr>
            <p:ph type="body" sz="quarter" idx="11" hasCustomPrompt="1"/>
          </p:nvPr>
        </p:nvSpPr>
        <p:spPr>
          <a:xfrm>
            <a:off x="798619" y="4970200"/>
            <a:ext cx="4886960" cy="365370"/>
          </a:xfrm>
        </p:spPr>
        <p:txBody>
          <a:bodyPr lIns="0" anchor="b" anchorCtr="0"/>
          <a:lstStyle>
            <a:lvl1pPr marL="0" indent="0">
              <a:buFont typeface="Arial" panose="020B0604020202020204" pitchFamily="34" charset="0"/>
              <a:buChar char="​"/>
              <a:defRPr sz="513">
                <a:solidFill>
                  <a:schemeClr val="bg1"/>
                </a:solidFill>
              </a:defRPr>
            </a:lvl1pPr>
          </a:lstStyle>
          <a:p>
            <a:pPr lvl="0"/>
            <a:r>
              <a:rPr lang="en-GB"/>
              <a:t>Name, Department </a:t>
            </a:r>
          </a:p>
        </p:txBody>
      </p:sp>
      <p:sp>
        <p:nvSpPr>
          <p:cNvPr id="6" name="Text Placeholder 5">
            <a:extLst>
              <a:ext uri="{FF2B5EF4-FFF2-40B4-BE49-F238E27FC236}">
                <a16:creationId xmlns:a16="http://schemas.microsoft.com/office/drawing/2014/main" id="{9B862EE0-F879-436B-A5EA-70A7F83ABF80}"/>
              </a:ext>
            </a:extLst>
          </p:cNvPr>
          <p:cNvSpPr>
            <a:spLocks noGrp="1"/>
          </p:cNvSpPr>
          <p:nvPr>
            <p:ph type="body" sz="quarter" idx="12" hasCustomPrompt="1"/>
          </p:nvPr>
        </p:nvSpPr>
        <p:spPr>
          <a:xfrm>
            <a:off x="798619" y="5332765"/>
            <a:ext cx="4886960" cy="424314"/>
          </a:xfrm>
        </p:spPr>
        <p:txBody>
          <a:bodyPr/>
          <a:lstStyle>
            <a:lvl1pPr marL="0" indent="0">
              <a:spcAft>
                <a:spcPts val="0"/>
              </a:spcAft>
              <a:buFontTx/>
              <a:buNone/>
              <a:defRPr sz="513">
                <a:solidFill>
                  <a:schemeClr val="bg1"/>
                </a:solidFill>
              </a:defRPr>
            </a:lvl1pPr>
            <a:lvl2pPr marL="126995" indent="0">
              <a:buFontTx/>
              <a:buNone/>
              <a:defRPr sz="513">
                <a:solidFill>
                  <a:schemeClr val="bg1"/>
                </a:solidFill>
              </a:defRPr>
            </a:lvl2pPr>
            <a:lvl3pPr marL="233208" indent="0">
              <a:buFontTx/>
              <a:buNone/>
              <a:defRPr sz="513">
                <a:solidFill>
                  <a:schemeClr val="bg1"/>
                </a:solidFill>
              </a:defRPr>
            </a:lvl3pPr>
            <a:lvl4pPr>
              <a:buFontTx/>
              <a:buNone/>
              <a:defRPr sz="513">
                <a:solidFill>
                  <a:schemeClr val="bg1"/>
                </a:solidFill>
              </a:defRPr>
            </a:lvl4pPr>
            <a:lvl5pPr>
              <a:buFontTx/>
              <a:buNone/>
              <a:defRPr sz="513">
                <a:solidFill>
                  <a:schemeClr val="bg1"/>
                </a:solidFill>
              </a:defRPr>
            </a:lvl5pPr>
          </a:lstStyle>
          <a:p>
            <a:pPr lvl="0"/>
            <a:r>
              <a:rPr lang="en-GB"/>
              <a:t>xxx@ramboll.com</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4" name="Footer Placeholder 4">
            <a:extLst>
              <a:ext uri="{FF2B5EF4-FFF2-40B4-BE49-F238E27FC236}">
                <a16:creationId xmlns:a16="http://schemas.microsoft.com/office/drawing/2014/main" id="{09855619-46E8-4B12-8D5A-DE355202193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8" name="Date_DateCustomA">
            <a:extLst>
              <a:ext uri="{FF2B5EF4-FFF2-40B4-BE49-F238E27FC236}">
                <a16:creationId xmlns:a16="http://schemas.microsoft.com/office/drawing/2014/main" id="{9CA6E42C-D397-4857-89FC-8B948A957D40}"/>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5E849237-3873-4459-A547-67B1C8011873}" type="datetime1">
              <a:rPr lang="en-GB" smtClean="0"/>
              <a:t>19/06/2024</a:t>
            </a:fld>
            <a:endParaRPr lang="en-GB"/>
          </a:p>
        </p:txBody>
      </p:sp>
      <p:pic>
        <p:nvPicPr>
          <p:cNvPr id="17" name="Picture 16">
            <a:extLst>
              <a:ext uri="{FF2B5EF4-FFF2-40B4-BE49-F238E27FC236}">
                <a16:creationId xmlns:a16="http://schemas.microsoft.com/office/drawing/2014/main" id="{649BD8C4-6612-438B-81F5-53DD9DF90E70}"/>
              </a:ext>
            </a:extLst>
          </p:cNvPr>
          <p:cNvPicPr>
            <a:picLocks noChangeAspect="1"/>
          </p:cNvPicPr>
          <p:nvPr userDrawn="1"/>
        </p:nvPicPr>
        <p:blipFill>
          <a:blip r:embed="rId2"/>
          <a:stretch>
            <a:fillRect/>
          </a:stretch>
        </p:blipFill>
        <p:spPr>
          <a:xfrm>
            <a:off x="798618" y="6158174"/>
            <a:ext cx="2826825" cy="255541"/>
          </a:xfrm>
          <a:prstGeom prst="rect">
            <a:avLst/>
          </a:prstGeom>
        </p:spPr>
      </p:pic>
    </p:spTree>
    <p:extLst>
      <p:ext uri="{BB962C8B-B14F-4D97-AF65-F5344CB8AC3E}">
        <p14:creationId xmlns:p14="http://schemas.microsoft.com/office/powerpoint/2010/main" val="3351188267"/>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End slide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pic>
        <p:nvPicPr>
          <p:cNvPr id="5" name="Picture 4">
            <a:extLst>
              <a:ext uri="{FF2B5EF4-FFF2-40B4-BE49-F238E27FC236}">
                <a16:creationId xmlns:a16="http://schemas.microsoft.com/office/drawing/2014/main" id="{550DA34D-CD01-4059-B449-4DCD238F6AE1}"/>
              </a:ext>
            </a:extLst>
          </p:cNvPr>
          <p:cNvPicPr>
            <a:picLocks noChangeAspect="1"/>
          </p:cNvPicPr>
          <p:nvPr userDrawn="1"/>
        </p:nvPicPr>
        <p:blipFill>
          <a:blip r:embed="rId2"/>
          <a:stretch>
            <a:fillRect/>
          </a:stretch>
        </p:blipFill>
        <p:spPr>
          <a:xfrm>
            <a:off x="1" y="1240"/>
            <a:ext cx="12192000" cy="6855521"/>
          </a:xfrm>
          <a:prstGeom prst="rect">
            <a:avLst/>
          </a:prstGeom>
        </p:spPr>
      </p:pic>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9270F80D-0DED-41DC-8003-ACA44099192B}" type="datetime1">
              <a:rPr lang="en-GB" smtClean="0"/>
              <a:t>19/06/2024</a:t>
            </a:fld>
            <a:endParaRPr lang="en-GB"/>
          </a:p>
        </p:txBody>
      </p:sp>
    </p:spTree>
    <p:extLst>
      <p:ext uri="{BB962C8B-B14F-4D97-AF65-F5344CB8AC3E}">
        <p14:creationId xmlns:p14="http://schemas.microsoft.com/office/powerpoint/2010/main" val="1343796918"/>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7F82B57-A829-4941-8BAC-1FE0A02EC16E}"/>
              </a:ext>
            </a:extLst>
          </p:cNvPr>
          <p:cNvGraphicFramePr>
            <a:graphicFrameLocks noChangeAspect="1"/>
          </p:cNvGraphicFramePr>
          <p:nvPr userDrawn="1">
            <p:custDataLst>
              <p:tags r:id="rId1"/>
            </p:custDataLst>
            <p:extLst>
              <p:ext uri="{D42A27DB-BD31-4B8C-83A1-F6EECF244321}">
                <p14:modId xmlns:p14="http://schemas.microsoft.com/office/powerpoint/2010/main" val="1708148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F7F82B57-A829-4941-8BAC-1FE0A02EC1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da-DK" smtClean="0"/>
              <a:pPr/>
              <a:t>19-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8247501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D3BE60-37F6-4FB6-8D33-8CFF25DED6D0}"/>
              </a:ext>
            </a:extLst>
          </p:cNvPr>
          <p:cNvGraphicFramePr>
            <a:graphicFrameLocks noChangeAspect="1"/>
          </p:cNvGraphicFramePr>
          <p:nvPr userDrawn="1">
            <p:custDataLst>
              <p:tags r:id="rId1"/>
            </p:custDataLst>
            <p:extLst>
              <p:ext uri="{D42A27DB-BD31-4B8C-83A1-F6EECF244321}">
                <p14:modId xmlns:p14="http://schemas.microsoft.com/office/powerpoint/2010/main" val="259510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54D3BE60-37F6-4FB6-8D33-8CFF25DED6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da-DK" smtClean="0"/>
              <a:pPr/>
              <a:t>19-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26103065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4BA132-22C9-4678-8278-1658D4954BF9}"/>
              </a:ext>
            </a:extLst>
          </p:cNvPr>
          <p:cNvGraphicFramePr>
            <a:graphicFrameLocks noChangeAspect="1"/>
          </p:cNvGraphicFramePr>
          <p:nvPr userDrawn="1">
            <p:custDataLst>
              <p:tags r:id="rId1"/>
            </p:custDataLst>
            <p:extLst>
              <p:ext uri="{D42A27DB-BD31-4B8C-83A1-F6EECF244321}">
                <p14:modId xmlns:p14="http://schemas.microsoft.com/office/powerpoint/2010/main" val="3953220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BE4BA132-22C9-4678-8278-1658D4954B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da-DK" smtClean="0"/>
              <a:pPr/>
              <a:t>19-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36716850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08A3D5-478B-48A8-8581-C5B287E7C208}"/>
              </a:ext>
            </a:extLst>
          </p:cNvPr>
          <p:cNvGraphicFramePr>
            <a:graphicFrameLocks noChangeAspect="1"/>
          </p:cNvGraphicFramePr>
          <p:nvPr userDrawn="1">
            <p:custDataLst>
              <p:tags r:id="rId1"/>
            </p:custDataLst>
            <p:extLst>
              <p:ext uri="{D42A27DB-BD31-4B8C-83A1-F6EECF244321}">
                <p14:modId xmlns:p14="http://schemas.microsoft.com/office/powerpoint/2010/main" val="3206911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808A3D5-478B-48A8-8581-C5B287E7C2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da-DK" smtClean="0"/>
              <a:pPr/>
              <a:t>19-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70262089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76188E-E253-4A4B-BD8D-1783856CAA04}"/>
              </a:ext>
            </a:extLst>
          </p:cNvPr>
          <p:cNvGraphicFramePr>
            <a:graphicFrameLocks noChangeAspect="1"/>
          </p:cNvGraphicFramePr>
          <p:nvPr userDrawn="1">
            <p:custDataLst>
              <p:tags r:id="rId1"/>
            </p:custDataLst>
            <p:extLst>
              <p:ext uri="{D42A27DB-BD31-4B8C-83A1-F6EECF244321}">
                <p14:modId xmlns:p14="http://schemas.microsoft.com/office/powerpoint/2010/main" val="4136364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E076188E-E253-4A4B-BD8D-1783856CAA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da-DK" smtClean="0"/>
              <a:pPr/>
              <a:t>19-06-2024</a:t>
            </a:fld>
            <a:endParaRPr lang="da-DK"/>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9969635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B46BAA-A2E8-457D-94AC-1857CC2E6494}"/>
              </a:ext>
            </a:extLst>
          </p:cNvPr>
          <p:cNvGraphicFramePr>
            <a:graphicFrameLocks noChangeAspect="1"/>
          </p:cNvGraphicFramePr>
          <p:nvPr userDrawn="1">
            <p:custDataLst>
              <p:tags r:id="rId1"/>
            </p:custDataLst>
            <p:extLst>
              <p:ext uri="{D42A27DB-BD31-4B8C-83A1-F6EECF244321}">
                <p14:modId xmlns:p14="http://schemas.microsoft.com/office/powerpoint/2010/main" val="155986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01B46BAA-A2E8-457D-94AC-1857CC2E64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1B42BF88-9EAB-4FF1-8C7D-3D1A57D94546}" type="datetime1">
              <a:rPr lang="da-DK" smtClean="0"/>
              <a:pPr/>
              <a:t>19-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35628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9C1A5A-EB28-4216-AC93-A944D445B0E8}"/>
              </a:ext>
            </a:extLst>
          </p:cNvPr>
          <p:cNvGraphicFramePr>
            <a:graphicFrameLocks noChangeAspect="1"/>
          </p:cNvGraphicFramePr>
          <p:nvPr userDrawn="1">
            <p:custDataLst>
              <p:tags r:id="rId1"/>
            </p:custDataLst>
            <p:extLst>
              <p:ext uri="{D42A27DB-BD31-4B8C-83A1-F6EECF244321}">
                <p14:modId xmlns:p14="http://schemas.microsoft.com/office/powerpoint/2010/main" val="47672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E9C1A5A-EB28-4216-AC93-A944D445B0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19-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5741627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60DACD-5627-4F02-A9F8-42F94F50466D}"/>
              </a:ext>
            </a:extLst>
          </p:cNvPr>
          <p:cNvGraphicFramePr>
            <a:graphicFrameLocks noChangeAspect="1"/>
          </p:cNvGraphicFramePr>
          <p:nvPr userDrawn="1">
            <p:custDataLst>
              <p:tags r:id="rId1"/>
            </p:custDataLst>
            <p:extLst>
              <p:ext uri="{D42A27DB-BD31-4B8C-83A1-F6EECF244321}">
                <p14:modId xmlns:p14="http://schemas.microsoft.com/office/powerpoint/2010/main" val="3428621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6B60DACD-5627-4F02-A9F8-42F94F5046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302000"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da-DK" smtClean="0"/>
              <a:pPr/>
              <a:t>19-06-2024</a:t>
            </a:fld>
            <a:endParaRPr lang="da-DK"/>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lvl1pPr rtl="0">
              <a:defRPr/>
            </a:lvl1pPr>
          </a:lstStyle>
          <a:p>
            <a:endParaRPr lang="da-DK"/>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55366551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D67D169-DC2C-4C1E-847B-EE1C8436024E}"/>
              </a:ext>
            </a:extLst>
          </p:cNvPr>
          <p:cNvGraphicFramePr>
            <a:graphicFrameLocks noChangeAspect="1"/>
          </p:cNvGraphicFramePr>
          <p:nvPr userDrawn="1">
            <p:custDataLst>
              <p:tags r:id="rId1"/>
            </p:custDataLst>
            <p:extLst>
              <p:ext uri="{D42A27DB-BD31-4B8C-83A1-F6EECF244321}">
                <p14:modId xmlns:p14="http://schemas.microsoft.com/office/powerpoint/2010/main" val="29901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7D67D169-DC2C-4C1E-847B-EE1C843602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da-DK" smtClean="0"/>
              <a:pPr/>
              <a:t>19-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50232252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DE568B4-F905-46CA-9BB1-DEA2C5A448B9}"/>
              </a:ext>
            </a:extLst>
          </p:cNvPr>
          <p:cNvGraphicFramePr>
            <a:graphicFrameLocks noChangeAspect="1"/>
          </p:cNvGraphicFramePr>
          <p:nvPr userDrawn="1">
            <p:custDataLst>
              <p:tags r:id="rId1"/>
            </p:custDataLst>
            <p:extLst>
              <p:ext uri="{D42A27DB-BD31-4B8C-83A1-F6EECF244321}">
                <p14:modId xmlns:p14="http://schemas.microsoft.com/office/powerpoint/2010/main" val="13645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EDE568B4-F905-46CA-9BB1-DEA2C5A448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da-DK" smtClean="0"/>
              <a:pPr/>
              <a:t>19-06-2024</a:t>
            </a:fld>
            <a:endParaRPr lang="da-DK"/>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279330793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740CFA-D8D0-47FA-977A-041A1AEF5272}"/>
              </a:ext>
            </a:extLst>
          </p:cNvPr>
          <p:cNvGraphicFramePr>
            <a:graphicFrameLocks noChangeAspect="1"/>
          </p:cNvGraphicFramePr>
          <p:nvPr userDrawn="1">
            <p:custDataLst>
              <p:tags r:id="rId1"/>
            </p:custDataLst>
            <p:extLst>
              <p:ext uri="{D42A27DB-BD31-4B8C-83A1-F6EECF244321}">
                <p14:modId xmlns:p14="http://schemas.microsoft.com/office/powerpoint/2010/main" val="77703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3740CFA-D8D0-47FA-977A-041A1AEF52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da-DK" smtClean="0"/>
              <a:pPr/>
              <a:t>19-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66005419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BDDF649-3F2F-4F6B-B786-8C0CF77586C4}"/>
              </a:ext>
            </a:extLst>
          </p:cNvPr>
          <p:cNvGraphicFramePr>
            <a:graphicFrameLocks noChangeAspect="1"/>
          </p:cNvGraphicFramePr>
          <p:nvPr userDrawn="1">
            <p:custDataLst>
              <p:tags r:id="rId1"/>
            </p:custDataLst>
            <p:extLst>
              <p:ext uri="{D42A27DB-BD31-4B8C-83A1-F6EECF244321}">
                <p14:modId xmlns:p14="http://schemas.microsoft.com/office/powerpoint/2010/main" val="778587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FBDDF649-3F2F-4F6B-B786-8C0CF77586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da-DK" smtClean="0"/>
              <a:pPr/>
              <a:t>19-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86216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F20F4B-6951-4CEB-845B-4EE79F2B6881}"/>
              </a:ext>
            </a:extLst>
          </p:cNvPr>
          <p:cNvGraphicFramePr>
            <a:graphicFrameLocks noChangeAspect="1"/>
          </p:cNvGraphicFramePr>
          <p:nvPr userDrawn="1">
            <p:custDataLst>
              <p:tags r:id="rId1"/>
            </p:custDataLst>
            <p:extLst>
              <p:ext uri="{D42A27DB-BD31-4B8C-83A1-F6EECF244321}">
                <p14:modId xmlns:p14="http://schemas.microsoft.com/office/powerpoint/2010/main" val="119825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EF20F4B-6951-4CEB-845B-4EE79F2B68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da-DK" smtClean="0"/>
              <a:pPr/>
              <a:t>19-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247462000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7C75E44-E8D7-4390-A552-8BCF697EBDF3}"/>
              </a:ext>
            </a:extLst>
          </p:cNvPr>
          <p:cNvGraphicFramePr>
            <a:graphicFrameLocks noChangeAspect="1"/>
          </p:cNvGraphicFramePr>
          <p:nvPr userDrawn="1">
            <p:custDataLst>
              <p:tags r:id="rId1"/>
            </p:custDataLst>
            <p:extLst>
              <p:ext uri="{D42A27DB-BD31-4B8C-83A1-F6EECF244321}">
                <p14:modId xmlns:p14="http://schemas.microsoft.com/office/powerpoint/2010/main" val="182054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17C75E44-E8D7-4390-A552-8BCF697EB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da-DK" smtClean="0"/>
              <a:pPr/>
              <a:t>19-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83064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00FB85-A754-4E47-8C8C-87941D6B2819}"/>
              </a:ext>
            </a:extLst>
          </p:cNvPr>
          <p:cNvGraphicFramePr>
            <a:graphicFrameLocks noChangeAspect="1"/>
          </p:cNvGraphicFramePr>
          <p:nvPr userDrawn="1">
            <p:custDataLst>
              <p:tags r:id="rId1"/>
            </p:custDataLst>
            <p:extLst>
              <p:ext uri="{D42A27DB-BD31-4B8C-83A1-F6EECF244321}">
                <p14:modId xmlns:p14="http://schemas.microsoft.com/office/powerpoint/2010/main" val="390953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C500FB85-A754-4E47-8C8C-87941D6B2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rtl="0">
              <a:defRPr sz="100">
                <a:noFill/>
              </a:defRPr>
            </a:lvl1pPr>
          </a:lstStyle>
          <a:p>
            <a:fld id="{C4B04AE4-03BB-4174-AD21-7567A4C959F4}" type="datetime1">
              <a:rPr lang="da-DK" smtClean="0"/>
              <a:pPr/>
              <a:t>19-06-2024</a:t>
            </a:fld>
            <a:endParaRPr lang="da-DK"/>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lvl1pPr rtl="0">
              <a:defRPr/>
            </a:lvl1pPr>
          </a:lstStyle>
          <a:p>
            <a:endParaRPr lang="da-DK"/>
          </a:p>
        </p:txBody>
      </p:sp>
    </p:spTree>
    <p:extLst>
      <p:ext uri="{BB962C8B-B14F-4D97-AF65-F5344CB8AC3E}">
        <p14:creationId xmlns:p14="http://schemas.microsoft.com/office/powerpoint/2010/main" val="184592025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A2EA8C-0D85-4C0B-ACDB-A259F1408229}"/>
              </a:ext>
            </a:extLst>
          </p:cNvPr>
          <p:cNvGraphicFramePr>
            <a:graphicFrameLocks noChangeAspect="1"/>
          </p:cNvGraphicFramePr>
          <p:nvPr userDrawn="1">
            <p:custDataLst>
              <p:tags r:id="rId1"/>
            </p:custDataLst>
            <p:extLst>
              <p:ext uri="{D42A27DB-BD31-4B8C-83A1-F6EECF244321}">
                <p14:modId xmlns:p14="http://schemas.microsoft.com/office/powerpoint/2010/main" val="3745654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C1A2EA8C-0D85-4C0B-ACDB-A259F14082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da-DK" smtClean="0"/>
              <a:pPr/>
              <a:t>19-06-2024</a:t>
            </a:fld>
            <a:endParaRPr lang="da-DK"/>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590505054"/>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1DCF9-DF37-48BB-9DF8-64E9ADDE1E7E}"/>
              </a:ext>
            </a:extLst>
          </p:cNvPr>
          <p:cNvGraphicFramePr>
            <a:graphicFrameLocks noChangeAspect="1"/>
          </p:cNvGraphicFramePr>
          <p:nvPr userDrawn="1">
            <p:custDataLst>
              <p:tags r:id="rId1"/>
            </p:custDataLst>
            <p:extLst>
              <p:ext uri="{D42A27DB-BD31-4B8C-83A1-F6EECF244321}">
                <p14:modId xmlns:p14="http://schemas.microsoft.com/office/powerpoint/2010/main" val="1787301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1B1DCF9-DF37-48BB-9DF8-64E9ADDE1E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ED06D66A-00D9-479B-9856-27577BF36107}" type="datetime1">
              <a:rPr lang="da-DK" smtClean="0"/>
              <a:pPr/>
              <a:t>19-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vert="horz" anchor="t" anchorCtr="0"/>
          <a:lstStyle>
            <a:lvl1pPr algn="l" rtl="0">
              <a:lnSpc>
                <a:spcPct val="91000"/>
              </a:lnSpc>
              <a:defRPr sz="4100">
                <a:solidFill>
                  <a:schemeClr val="bg1"/>
                </a:solidFill>
              </a:defRPr>
            </a:lvl1pPr>
          </a:lstStyle>
          <a:p>
            <a:r>
              <a:rPr lang="da-DK"/>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76671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02D016-0FC6-4114-A928-57BCB225D30C}"/>
              </a:ext>
            </a:extLst>
          </p:cNvPr>
          <p:cNvGraphicFramePr>
            <a:graphicFrameLocks noChangeAspect="1"/>
          </p:cNvGraphicFramePr>
          <p:nvPr userDrawn="1">
            <p:custDataLst>
              <p:tags r:id="rId1"/>
            </p:custDataLst>
            <p:extLst>
              <p:ext uri="{D42A27DB-BD31-4B8C-83A1-F6EECF244321}">
                <p14:modId xmlns:p14="http://schemas.microsoft.com/office/powerpoint/2010/main" val="957947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A02D016-0FC6-4114-A928-57BCB225D3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rtl="0">
              <a:defRPr sz="100">
                <a:noFill/>
              </a:defRPr>
            </a:lvl1pPr>
          </a:lstStyle>
          <a:p>
            <a:fld id="{F6C1ADEE-7B52-423A-9878-0398FEFAF71F}" type="datetime1">
              <a:rPr lang="da-DK" smtClean="0"/>
              <a:pPr/>
              <a:t>19-06-2024</a:t>
            </a:fld>
            <a:endParaRPr lang="da-DK"/>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lvl1pPr rtl="0">
              <a:defRPr/>
            </a:lvl1pPr>
          </a:lstStyle>
          <a:p>
            <a:endParaRPr lang="da-DK"/>
          </a:p>
        </p:txBody>
      </p:sp>
    </p:spTree>
    <p:extLst>
      <p:ext uri="{BB962C8B-B14F-4D97-AF65-F5344CB8AC3E}">
        <p14:creationId xmlns:p14="http://schemas.microsoft.com/office/powerpoint/2010/main" val="247556337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6E0B296-B989-41FA-8D8F-F0016D23F026}"/>
              </a:ext>
            </a:extLst>
          </p:cNvPr>
          <p:cNvGraphicFramePr>
            <a:graphicFrameLocks noChangeAspect="1"/>
          </p:cNvGraphicFramePr>
          <p:nvPr userDrawn="1">
            <p:custDataLst>
              <p:tags r:id="rId1"/>
            </p:custDataLst>
            <p:extLst>
              <p:ext uri="{D42A27DB-BD31-4B8C-83A1-F6EECF244321}">
                <p14:modId xmlns:p14="http://schemas.microsoft.com/office/powerpoint/2010/main" val="2651852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6E0B296-B989-41FA-8D8F-F0016D23F0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da-DK" smtClean="0"/>
              <a:pPr/>
              <a:t>19-06-2024</a:t>
            </a:fld>
            <a:endParaRPr lang="da-DK"/>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36898112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9D3CCD-B301-47C4-A93F-E7AE8BEC37C6}"/>
              </a:ext>
            </a:extLst>
          </p:cNvPr>
          <p:cNvGraphicFramePr>
            <a:graphicFrameLocks noChangeAspect="1"/>
          </p:cNvGraphicFramePr>
          <p:nvPr userDrawn="1">
            <p:custDataLst>
              <p:tags r:id="rId1"/>
            </p:custDataLst>
            <p:extLst>
              <p:ext uri="{D42A27DB-BD31-4B8C-83A1-F6EECF244321}">
                <p14:modId xmlns:p14="http://schemas.microsoft.com/office/powerpoint/2010/main" val="2940210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C9D3CCD-B301-47C4-A93F-E7AE8BEC37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rtl="0">
              <a:defRPr sz="100">
                <a:noFill/>
              </a:defRPr>
            </a:lvl1pPr>
          </a:lstStyle>
          <a:p>
            <a:fld id="{791AE312-9C38-4B88-A1BD-03872F0FCB4A}" type="datetime1">
              <a:rPr lang="da-DK" smtClean="0"/>
              <a:pPr/>
              <a:t>19-06-2024</a:t>
            </a:fld>
            <a:endParaRPr lang="da-DK"/>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rtl="0">
              <a:defRPr>
                <a:solidFill>
                  <a:schemeClr val="bg1"/>
                </a:solidFill>
              </a:defRPr>
            </a:lvl1pPr>
          </a:lstStyle>
          <a:p>
            <a:endParaRPr lang="da-DK"/>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275156765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076864-73B2-46AC-82B9-3F6ED290747F}"/>
              </a:ext>
            </a:extLst>
          </p:cNvPr>
          <p:cNvGraphicFramePr>
            <a:graphicFrameLocks noChangeAspect="1"/>
          </p:cNvGraphicFramePr>
          <p:nvPr userDrawn="1">
            <p:custDataLst>
              <p:tags r:id="rId1"/>
            </p:custDataLst>
            <p:extLst>
              <p:ext uri="{D42A27DB-BD31-4B8C-83A1-F6EECF244321}">
                <p14:modId xmlns:p14="http://schemas.microsoft.com/office/powerpoint/2010/main" val="1966776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6D076864-73B2-46AC-82B9-3F6ED29074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50802"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da-DK" smtClean="0"/>
              <a:pPr/>
              <a:t>19-06-2024</a:t>
            </a:fld>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409792071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A7D7B5-B60E-4F01-A5D4-9EC13B1333FC}"/>
              </a:ext>
            </a:extLst>
          </p:cNvPr>
          <p:cNvGraphicFramePr>
            <a:graphicFrameLocks noChangeAspect="1"/>
          </p:cNvGraphicFramePr>
          <p:nvPr userDrawn="1">
            <p:custDataLst>
              <p:tags r:id="rId1"/>
            </p:custDataLst>
            <p:extLst>
              <p:ext uri="{D42A27DB-BD31-4B8C-83A1-F6EECF244321}">
                <p14:modId xmlns:p14="http://schemas.microsoft.com/office/powerpoint/2010/main" val="2783326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6AA7D7B5-B60E-4F01-A5D4-9EC13B133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58225" y="654051"/>
            <a:ext cx="4563272"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da-DK" smtClean="0"/>
              <a:pPr/>
              <a:t>19-06-2024</a:t>
            </a:fld>
            <a:endParaRPr lang="da-DK"/>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rtl="0">
              <a:defRPr>
                <a:solidFill>
                  <a:schemeClr val="bg1"/>
                </a:solidFill>
              </a:defRPr>
            </a:lvl1pPr>
          </a:lstStyle>
          <a:p>
            <a:endParaRPr lang="da-DK"/>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63308567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C4A377-AF00-475C-BBCA-2D62E63D9C7A}"/>
              </a:ext>
            </a:extLst>
          </p:cNvPr>
          <p:cNvGraphicFramePr>
            <a:graphicFrameLocks noChangeAspect="1"/>
          </p:cNvGraphicFramePr>
          <p:nvPr userDrawn="1">
            <p:custDataLst>
              <p:tags r:id="rId1"/>
            </p:custDataLst>
            <p:extLst>
              <p:ext uri="{D42A27DB-BD31-4B8C-83A1-F6EECF244321}">
                <p14:modId xmlns:p14="http://schemas.microsoft.com/office/powerpoint/2010/main" val="51601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3C4A377-AF00-475C-BBCA-2D62E63D9C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da-DK" smtClean="0"/>
              <a:pPr/>
              <a:t>19-06-2024</a:t>
            </a:fld>
            <a:endParaRPr lang="da-DK"/>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91409315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5C503-7C78-46DF-824F-5975E435B442}"/>
              </a:ext>
            </a:extLst>
          </p:cNvPr>
          <p:cNvGraphicFramePr>
            <a:graphicFrameLocks noChangeAspect="1"/>
          </p:cNvGraphicFramePr>
          <p:nvPr userDrawn="1">
            <p:custDataLst>
              <p:tags r:id="rId1"/>
            </p:custDataLst>
            <p:extLst>
              <p:ext uri="{D42A27DB-BD31-4B8C-83A1-F6EECF244321}">
                <p14:modId xmlns:p14="http://schemas.microsoft.com/office/powerpoint/2010/main" val="704113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A15C503-7C78-46DF-824F-5975E435B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48399" y="654050"/>
            <a:ext cx="6184800" cy="2349449"/>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da-DK" smtClean="0"/>
              <a:pPr/>
              <a:t>19-06-2024</a:t>
            </a:fld>
            <a:endParaRPr lang="da-DK"/>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lvl1pPr rtl="0">
              <a:defRPr/>
            </a:lvl1pPr>
          </a:lstStyle>
          <a:p>
            <a:endParaRPr lang="da-DK"/>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40962776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E480AF-7764-47E3-A9F5-384AC9908E98}"/>
              </a:ext>
            </a:extLst>
          </p:cNvPr>
          <p:cNvGraphicFramePr>
            <a:graphicFrameLocks noChangeAspect="1"/>
          </p:cNvGraphicFramePr>
          <p:nvPr userDrawn="1">
            <p:custDataLst>
              <p:tags r:id="rId1"/>
            </p:custDataLst>
            <p:extLst>
              <p:ext uri="{D42A27DB-BD31-4B8C-83A1-F6EECF244321}">
                <p14:modId xmlns:p14="http://schemas.microsoft.com/office/powerpoint/2010/main" val="238952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4E480AF-7764-47E3-A9F5-384AC9908E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da-DK" smtClean="0"/>
              <a:pPr/>
              <a:t>19-06-2024</a:t>
            </a:fld>
            <a:endParaRPr lang="da-DK"/>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9598071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6F77EE-4F2E-4D86-86A3-96B21BDC1F10}"/>
              </a:ext>
            </a:extLst>
          </p:cNvPr>
          <p:cNvGraphicFramePr>
            <a:graphicFrameLocks noChangeAspect="1"/>
          </p:cNvGraphicFramePr>
          <p:nvPr userDrawn="1">
            <p:custDataLst>
              <p:tags r:id="rId1"/>
            </p:custDataLst>
            <p:extLst>
              <p:ext uri="{D42A27DB-BD31-4B8C-83A1-F6EECF244321}">
                <p14:modId xmlns:p14="http://schemas.microsoft.com/office/powerpoint/2010/main" val="1514389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2B6F77EE-4F2E-4D86-86A3-96B21BDC1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7260312" y="654051"/>
            <a:ext cx="4575290" cy="2349448"/>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da-DK" smtClean="0"/>
              <a:pPr/>
              <a:t>19-06-2024</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76643522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0DB989-1269-4FDF-9A6E-D44A24AEC686}"/>
              </a:ext>
            </a:extLst>
          </p:cNvPr>
          <p:cNvGraphicFramePr>
            <a:graphicFrameLocks noChangeAspect="1"/>
          </p:cNvGraphicFramePr>
          <p:nvPr userDrawn="1">
            <p:custDataLst>
              <p:tags r:id="rId1"/>
            </p:custDataLst>
            <p:extLst>
              <p:ext uri="{D42A27DB-BD31-4B8C-83A1-F6EECF244321}">
                <p14:modId xmlns:p14="http://schemas.microsoft.com/office/powerpoint/2010/main" val="35232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C90DB989-1269-4FDF-9A6E-D44A24AEC6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360000" y="654051"/>
            <a:ext cx="3584974" cy="2136774"/>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da-DK" smtClean="0"/>
              <a:pPr/>
              <a:t>19-06-2024</a:t>
            </a:fld>
            <a:endParaRPr lang="da-DK"/>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08307709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DC2A11-1DD0-425F-A52D-2082C12E4E36}"/>
              </a:ext>
            </a:extLst>
          </p:cNvPr>
          <p:cNvGraphicFramePr>
            <a:graphicFrameLocks noChangeAspect="1"/>
          </p:cNvGraphicFramePr>
          <p:nvPr userDrawn="1">
            <p:custDataLst>
              <p:tags r:id="rId1"/>
            </p:custDataLst>
            <p:extLst>
              <p:ext uri="{D42A27DB-BD31-4B8C-83A1-F6EECF244321}">
                <p14:modId xmlns:p14="http://schemas.microsoft.com/office/powerpoint/2010/main" val="2765510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36DC2A11-1DD0-425F-A52D-2082C12E4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2D3E1E10-4E6B-4C9C-B68B-DC96BC56ABFC}" type="datetime1">
              <a:rPr lang="da-DK" smtClean="0"/>
              <a:pPr/>
              <a:t>19-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474321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20216F-6E12-4240-AB6D-EF417D72D626}"/>
              </a:ext>
            </a:extLst>
          </p:cNvPr>
          <p:cNvGraphicFramePr>
            <a:graphicFrameLocks noChangeAspect="1"/>
          </p:cNvGraphicFramePr>
          <p:nvPr userDrawn="1">
            <p:custDataLst>
              <p:tags r:id="rId1"/>
            </p:custDataLst>
            <p:extLst>
              <p:ext uri="{D42A27DB-BD31-4B8C-83A1-F6EECF244321}">
                <p14:modId xmlns:p14="http://schemas.microsoft.com/office/powerpoint/2010/main" val="41226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9920216F-6E12-4240-AB6D-EF417D72D6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60312" y="654051"/>
            <a:ext cx="4575290" cy="2349448"/>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da-DK" smtClean="0"/>
              <a:pPr/>
              <a:t>19-06-2024</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rtl="0">
              <a:defRPr>
                <a:solidFill>
                  <a:schemeClr val="accent2"/>
                </a:solidFill>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47929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AD7A57-5211-48E9-B1E5-AC3DD8BD021E}"/>
              </a:ext>
            </a:extLst>
          </p:cNvPr>
          <p:cNvGraphicFramePr>
            <a:graphicFrameLocks noChangeAspect="1"/>
          </p:cNvGraphicFramePr>
          <p:nvPr userDrawn="1">
            <p:custDataLst>
              <p:tags r:id="rId1"/>
            </p:custDataLst>
            <p:extLst>
              <p:ext uri="{D42A27DB-BD31-4B8C-83A1-F6EECF244321}">
                <p14:modId xmlns:p14="http://schemas.microsoft.com/office/powerpoint/2010/main" val="43150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6AD7A57-5211-48E9-B1E5-AC3DD8BD02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1"/>
            <a:ext cx="3584974" cy="2136774"/>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da-DK" smtClean="0"/>
              <a:pPr/>
              <a:t>19-06-2024</a:t>
            </a:fld>
            <a:endParaRPr lang="da-DK"/>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221732795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3D240F-1179-41E3-ACCD-37AD84011860}"/>
              </a:ext>
            </a:extLst>
          </p:cNvPr>
          <p:cNvGraphicFramePr>
            <a:graphicFrameLocks noChangeAspect="1"/>
          </p:cNvGraphicFramePr>
          <p:nvPr userDrawn="1">
            <p:custDataLst>
              <p:tags r:id="rId1"/>
            </p:custDataLst>
            <p:extLst>
              <p:ext uri="{D42A27DB-BD31-4B8C-83A1-F6EECF244321}">
                <p14:modId xmlns:p14="http://schemas.microsoft.com/office/powerpoint/2010/main" val="2069276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E3D240F-1179-41E3-ACCD-37AD840118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rtl="0">
              <a:defRPr sz="100">
                <a:noFill/>
              </a:defRPr>
            </a:lvl1pPr>
          </a:lstStyle>
          <a:p>
            <a:fld id="{87CEE0B2-D606-4C87-BD16-18AC95AF549F}" type="datetime1">
              <a:rPr lang="da-DK" smtClean="0"/>
              <a:pPr/>
              <a:t>19-06-2024</a:t>
            </a:fld>
            <a:endParaRPr lang="da-DK"/>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da-DK" noProof="0"/>
              <a:t>Click to add title</a:t>
            </a:r>
          </a:p>
        </p:txBody>
      </p:sp>
    </p:spTree>
    <p:extLst>
      <p:ext uri="{BB962C8B-B14F-4D97-AF65-F5344CB8AC3E}">
        <p14:creationId xmlns:p14="http://schemas.microsoft.com/office/powerpoint/2010/main" val="31974764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Breaker (A)">
    <p:bg>
      <p:bgPr>
        <a:solidFill>
          <a:srgbClr val="E6E6E6"/>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5F233A-FD3C-49FA-BDA6-A9CA4569FFF7}"/>
              </a:ext>
            </a:extLst>
          </p:cNvPr>
          <p:cNvGraphicFramePr>
            <a:graphicFrameLocks noChangeAspect="1"/>
          </p:cNvGraphicFramePr>
          <p:nvPr userDrawn="1">
            <p:custDataLst>
              <p:tags r:id="rId1"/>
            </p:custDataLst>
            <p:extLst>
              <p:ext uri="{D42A27DB-BD31-4B8C-83A1-F6EECF244321}">
                <p14:modId xmlns:p14="http://schemas.microsoft.com/office/powerpoint/2010/main" val="4176184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C5F233A-FD3C-49FA-BDA6-A9CA4569FF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bg2"/>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4293249" y="4187860"/>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da-DK" smtClean="0"/>
              <a:pPr/>
              <a:t>19-06-2024</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da-DK" smtClean="0"/>
              <a:pPr/>
              <a:t>‹#›</a:t>
            </a:fld>
            <a:endParaRPr lang="da-DK"/>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2"/>
                </a:solidFill>
              </a:rPr>
              <a:t>Ramboll</a:t>
            </a:r>
          </a:p>
        </p:txBody>
      </p:sp>
      <p:grpSp>
        <p:nvGrpSpPr>
          <p:cNvPr id="9" name="Google Shape;112;p3">
            <a:extLst>
              <a:ext uri="{FF2B5EF4-FFF2-40B4-BE49-F238E27FC236}">
                <a16:creationId xmlns:a16="http://schemas.microsoft.com/office/drawing/2014/main" id="{07CC82E2-09C1-4622-A41A-D1941B226DC3}"/>
              </a:ext>
            </a:extLst>
          </p:cNvPr>
          <p:cNvGrpSpPr/>
          <p:nvPr userDrawn="1"/>
        </p:nvGrpSpPr>
        <p:grpSpPr>
          <a:xfrm>
            <a:off x="-31721" y="-76368"/>
            <a:ext cx="12255441" cy="7160172"/>
            <a:chOff x="-83913" y="-168653"/>
            <a:chExt cx="9288757" cy="5426904"/>
          </a:xfrm>
        </p:grpSpPr>
        <p:sp>
          <p:nvSpPr>
            <p:cNvPr id="10" name="Google Shape;113;p3">
              <a:extLst>
                <a:ext uri="{FF2B5EF4-FFF2-40B4-BE49-F238E27FC236}">
                  <a16:creationId xmlns:a16="http://schemas.microsoft.com/office/drawing/2014/main" id="{92B86184-6952-451E-8923-D1FFF61F2739}"/>
                </a:ext>
              </a:extLst>
            </p:cNvPr>
            <p:cNvSpPr/>
            <p:nvPr/>
          </p:nvSpPr>
          <p:spPr>
            <a:xfrm>
              <a:off x="3901992" y="271731"/>
              <a:ext cx="499650" cy="70477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2" name="Google Shape;114;p3">
              <a:extLst>
                <a:ext uri="{FF2B5EF4-FFF2-40B4-BE49-F238E27FC236}">
                  <a16:creationId xmlns:a16="http://schemas.microsoft.com/office/drawing/2014/main" id="{C71AF609-7BB7-450F-A8AB-E493826AA9E9}"/>
                </a:ext>
              </a:extLst>
            </p:cNvPr>
            <p:cNvSpPr/>
            <p:nvPr/>
          </p:nvSpPr>
          <p:spPr>
            <a:xfrm>
              <a:off x="-73851" y="4335362"/>
              <a:ext cx="601266" cy="549535"/>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3" name="Google Shape;115;p3">
              <a:extLst>
                <a:ext uri="{FF2B5EF4-FFF2-40B4-BE49-F238E27FC236}">
                  <a16:creationId xmlns:a16="http://schemas.microsoft.com/office/drawing/2014/main" id="{AED2F901-8026-448D-A349-9CA72B883ABC}"/>
                </a:ext>
              </a:extLst>
            </p:cNvPr>
            <p:cNvSpPr/>
            <p:nvPr/>
          </p:nvSpPr>
          <p:spPr>
            <a:xfrm rot="2001982">
              <a:off x="136143" y="2216866"/>
              <a:ext cx="321474" cy="709766"/>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4" name="Google Shape;116;p3">
              <a:extLst>
                <a:ext uri="{FF2B5EF4-FFF2-40B4-BE49-F238E27FC236}">
                  <a16:creationId xmlns:a16="http://schemas.microsoft.com/office/drawing/2014/main" id="{13A0FF20-A9BC-4DAA-BC16-E4C747D6646E}"/>
                </a:ext>
              </a:extLst>
            </p:cNvPr>
            <p:cNvSpPr/>
            <p:nvPr/>
          </p:nvSpPr>
          <p:spPr>
            <a:xfrm rot="-1974315">
              <a:off x="1151275" y="3720972"/>
              <a:ext cx="252371" cy="554298"/>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5" name="Google Shape;117;p3">
              <a:extLst>
                <a:ext uri="{FF2B5EF4-FFF2-40B4-BE49-F238E27FC236}">
                  <a16:creationId xmlns:a16="http://schemas.microsoft.com/office/drawing/2014/main" id="{62047D3D-2B35-4A87-9CEF-A9996A3BA36D}"/>
                </a:ext>
              </a:extLst>
            </p:cNvPr>
            <p:cNvSpPr/>
            <p:nvPr/>
          </p:nvSpPr>
          <p:spPr>
            <a:xfrm>
              <a:off x="4101001" y="4649180"/>
              <a:ext cx="376856" cy="254902"/>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6" name="Google Shape;118;p3">
              <a:extLst>
                <a:ext uri="{FF2B5EF4-FFF2-40B4-BE49-F238E27FC236}">
                  <a16:creationId xmlns:a16="http://schemas.microsoft.com/office/drawing/2014/main" id="{36BACEDB-3231-4638-A682-B189FBE3FC4A}"/>
                </a:ext>
              </a:extLst>
            </p:cNvPr>
            <p:cNvSpPr/>
            <p:nvPr/>
          </p:nvSpPr>
          <p:spPr>
            <a:xfrm>
              <a:off x="8091625" y="827000"/>
              <a:ext cx="485245" cy="329049"/>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7" name="Google Shape;119;p3">
              <a:extLst>
                <a:ext uri="{FF2B5EF4-FFF2-40B4-BE49-F238E27FC236}">
                  <a16:creationId xmlns:a16="http://schemas.microsoft.com/office/drawing/2014/main" id="{80CF381C-9814-44B2-9E55-B8EC0B0AB8C4}"/>
                </a:ext>
              </a:extLst>
            </p:cNvPr>
            <p:cNvSpPr/>
            <p:nvPr/>
          </p:nvSpPr>
          <p:spPr>
            <a:xfrm rot="3971375">
              <a:off x="3138581" y="4622816"/>
              <a:ext cx="362909" cy="668479"/>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8" name="Google Shape;120;p3">
              <a:extLst>
                <a:ext uri="{FF2B5EF4-FFF2-40B4-BE49-F238E27FC236}">
                  <a16:creationId xmlns:a16="http://schemas.microsoft.com/office/drawing/2014/main" id="{DFDF226F-A40F-4BAA-9FAA-D845B566B9F8}"/>
                </a:ext>
              </a:extLst>
            </p:cNvPr>
            <p:cNvSpPr/>
            <p:nvPr/>
          </p:nvSpPr>
          <p:spPr>
            <a:xfrm rot="-3375824">
              <a:off x="8508205" y="4088864"/>
              <a:ext cx="623152" cy="166730"/>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9" name="Google Shape;121;p3">
              <a:extLst>
                <a:ext uri="{FF2B5EF4-FFF2-40B4-BE49-F238E27FC236}">
                  <a16:creationId xmlns:a16="http://schemas.microsoft.com/office/drawing/2014/main" id="{65745712-0C3F-45EC-9C30-CA73E2C17891}"/>
                </a:ext>
              </a:extLst>
            </p:cNvPr>
            <p:cNvSpPr/>
            <p:nvPr/>
          </p:nvSpPr>
          <p:spPr>
            <a:xfrm rot="3011666">
              <a:off x="3210524" y="657803"/>
              <a:ext cx="199800" cy="513948"/>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0" name="Google Shape;122;p3">
              <a:extLst>
                <a:ext uri="{FF2B5EF4-FFF2-40B4-BE49-F238E27FC236}">
                  <a16:creationId xmlns:a16="http://schemas.microsoft.com/office/drawing/2014/main" id="{7B829C39-2590-47E2-8710-BABEF413F2C4}"/>
                </a:ext>
              </a:extLst>
            </p:cNvPr>
            <p:cNvSpPr/>
            <p:nvPr/>
          </p:nvSpPr>
          <p:spPr>
            <a:xfrm rot="2196195">
              <a:off x="6146037" y="457710"/>
              <a:ext cx="248001" cy="64914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1" name="Google Shape;123;p3">
              <a:extLst>
                <a:ext uri="{FF2B5EF4-FFF2-40B4-BE49-F238E27FC236}">
                  <a16:creationId xmlns:a16="http://schemas.microsoft.com/office/drawing/2014/main" id="{E2175861-EC9F-4D11-A9B9-5ED7178A5D26}"/>
                </a:ext>
              </a:extLst>
            </p:cNvPr>
            <p:cNvSpPr/>
            <p:nvPr/>
          </p:nvSpPr>
          <p:spPr>
            <a:xfrm rot="9911830">
              <a:off x="5498424" y="4613124"/>
              <a:ext cx="338915" cy="323847"/>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2" name="Google Shape;124;p3">
              <a:extLst>
                <a:ext uri="{FF2B5EF4-FFF2-40B4-BE49-F238E27FC236}">
                  <a16:creationId xmlns:a16="http://schemas.microsoft.com/office/drawing/2014/main" id="{1A3525D8-70CE-4CE1-B00C-FC50C9741911}"/>
                </a:ext>
              </a:extLst>
            </p:cNvPr>
            <p:cNvSpPr/>
            <p:nvPr/>
          </p:nvSpPr>
          <p:spPr>
            <a:xfrm>
              <a:off x="510215" y="271717"/>
              <a:ext cx="557022" cy="619823"/>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3" name="Google Shape;125;p3">
              <a:extLst>
                <a:ext uri="{FF2B5EF4-FFF2-40B4-BE49-F238E27FC236}">
                  <a16:creationId xmlns:a16="http://schemas.microsoft.com/office/drawing/2014/main" id="{C350A2E7-53C0-405C-9A2C-01C66AD3068C}"/>
                </a:ext>
              </a:extLst>
            </p:cNvPr>
            <p:cNvSpPr/>
            <p:nvPr/>
          </p:nvSpPr>
          <p:spPr>
            <a:xfrm>
              <a:off x="1778886" y="4237081"/>
              <a:ext cx="556337" cy="631409"/>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4" name="Google Shape;126;p3">
              <a:extLst>
                <a:ext uri="{FF2B5EF4-FFF2-40B4-BE49-F238E27FC236}">
                  <a16:creationId xmlns:a16="http://schemas.microsoft.com/office/drawing/2014/main" id="{D93D1F43-D738-46E7-8390-A696F6D1FDAD}"/>
                </a:ext>
              </a:extLst>
            </p:cNvPr>
            <p:cNvSpPr/>
            <p:nvPr/>
          </p:nvSpPr>
          <p:spPr>
            <a:xfrm rot="-982808">
              <a:off x="7867083" y="4603094"/>
              <a:ext cx="701993" cy="56769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5" name="Google Shape;127;p3">
              <a:extLst>
                <a:ext uri="{FF2B5EF4-FFF2-40B4-BE49-F238E27FC236}">
                  <a16:creationId xmlns:a16="http://schemas.microsoft.com/office/drawing/2014/main" id="{7B352C66-7B72-4D46-8287-9BD85434F192}"/>
                </a:ext>
              </a:extLst>
            </p:cNvPr>
            <p:cNvSpPr/>
            <p:nvPr/>
          </p:nvSpPr>
          <p:spPr>
            <a:xfrm rot="1185294">
              <a:off x="4798350" y="3885963"/>
              <a:ext cx="616477" cy="671778"/>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6" name="Google Shape;128;p3">
              <a:extLst>
                <a:ext uri="{FF2B5EF4-FFF2-40B4-BE49-F238E27FC236}">
                  <a16:creationId xmlns:a16="http://schemas.microsoft.com/office/drawing/2014/main" id="{DD11AFDF-9ADA-413F-88BB-D1A61CA48A22}"/>
                </a:ext>
              </a:extLst>
            </p:cNvPr>
            <p:cNvSpPr/>
            <p:nvPr/>
          </p:nvSpPr>
          <p:spPr>
            <a:xfrm>
              <a:off x="1393062" y="748927"/>
              <a:ext cx="579203" cy="652168"/>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7" name="Google Shape;129;p3">
              <a:extLst>
                <a:ext uri="{FF2B5EF4-FFF2-40B4-BE49-F238E27FC236}">
                  <a16:creationId xmlns:a16="http://schemas.microsoft.com/office/drawing/2014/main" id="{95430F5E-BF6A-479A-B0E5-4881661F4642}"/>
                </a:ext>
              </a:extLst>
            </p:cNvPr>
            <p:cNvSpPr/>
            <p:nvPr/>
          </p:nvSpPr>
          <p:spPr>
            <a:xfrm>
              <a:off x="7317433" y="2956555"/>
              <a:ext cx="716315" cy="573888"/>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8" name="Google Shape;130;p3">
              <a:extLst>
                <a:ext uri="{FF2B5EF4-FFF2-40B4-BE49-F238E27FC236}">
                  <a16:creationId xmlns:a16="http://schemas.microsoft.com/office/drawing/2014/main" id="{C58D23D2-086A-4899-96CA-FAF579AEAA82}"/>
                </a:ext>
              </a:extLst>
            </p:cNvPr>
            <p:cNvSpPr/>
            <p:nvPr/>
          </p:nvSpPr>
          <p:spPr>
            <a:xfrm>
              <a:off x="8750637" y="1716146"/>
              <a:ext cx="454206" cy="406096"/>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9" name="Google Shape;131;p3">
              <a:extLst>
                <a:ext uri="{FF2B5EF4-FFF2-40B4-BE49-F238E27FC236}">
                  <a16:creationId xmlns:a16="http://schemas.microsoft.com/office/drawing/2014/main" id="{322C0835-F152-41BD-9EE2-77C35F50ADB1}"/>
                </a:ext>
              </a:extLst>
            </p:cNvPr>
            <p:cNvSpPr/>
            <p:nvPr/>
          </p:nvSpPr>
          <p:spPr>
            <a:xfrm rot="-2424156">
              <a:off x="2052510" y="-106317"/>
              <a:ext cx="373867" cy="493313"/>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0" name="Google Shape;132;p3">
              <a:extLst>
                <a:ext uri="{FF2B5EF4-FFF2-40B4-BE49-F238E27FC236}">
                  <a16:creationId xmlns:a16="http://schemas.microsoft.com/office/drawing/2014/main" id="{9A8D009F-7E08-4CCE-A86A-BA4170D78ECD}"/>
                </a:ext>
              </a:extLst>
            </p:cNvPr>
            <p:cNvSpPr/>
            <p:nvPr/>
          </p:nvSpPr>
          <p:spPr>
            <a:xfrm>
              <a:off x="5960437" y="3855732"/>
              <a:ext cx="712864" cy="419317"/>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1" name="Google Shape;133;p3">
              <a:extLst>
                <a:ext uri="{FF2B5EF4-FFF2-40B4-BE49-F238E27FC236}">
                  <a16:creationId xmlns:a16="http://schemas.microsoft.com/office/drawing/2014/main" id="{B26D16EB-CAF3-40C1-B403-368196AE17A5}"/>
                </a:ext>
              </a:extLst>
            </p:cNvPr>
            <p:cNvGrpSpPr/>
            <p:nvPr/>
          </p:nvGrpSpPr>
          <p:grpSpPr>
            <a:xfrm rot="891035">
              <a:off x="1165229" y="1691730"/>
              <a:ext cx="657771" cy="386113"/>
              <a:chOff x="1429156" y="1387535"/>
              <a:chExt cx="657769" cy="386112"/>
            </a:xfrm>
          </p:grpSpPr>
          <p:sp>
            <p:nvSpPr>
              <p:cNvPr id="71" name="Google Shape;134;p3">
                <a:extLst>
                  <a:ext uri="{FF2B5EF4-FFF2-40B4-BE49-F238E27FC236}">
                    <a16:creationId xmlns:a16="http://schemas.microsoft.com/office/drawing/2014/main" id="{75ACE2E8-E896-4D2F-AA37-81A8AEFC8139}"/>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2" name="Google Shape;135;p3">
                <a:extLst>
                  <a:ext uri="{FF2B5EF4-FFF2-40B4-BE49-F238E27FC236}">
                    <a16:creationId xmlns:a16="http://schemas.microsoft.com/office/drawing/2014/main" id="{7206F198-9F89-4266-9D50-C07019C2CD7E}"/>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2" name="Google Shape;136;p3">
              <a:extLst>
                <a:ext uri="{FF2B5EF4-FFF2-40B4-BE49-F238E27FC236}">
                  <a16:creationId xmlns:a16="http://schemas.microsoft.com/office/drawing/2014/main" id="{375853E5-8D2D-4BFD-A344-777696706008}"/>
                </a:ext>
              </a:extLst>
            </p:cNvPr>
            <p:cNvSpPr/>
            <p:nvPr/>
          </p:nvSpPr>
          <p:spPr>
            <a:xfrm rot="-1696692">
              <a:off x="7441723" y="1525254"/>
              <a:ext cx="760522" cy="200454"/>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3" name="Google Shape;137;p3">
              <a:extLst>
                <a:ext uri="{FF2B5EF4-FFF2-40B4-BE49-F238E27FC236}">
                  <a16:creationId xmlns:a16="http://schemas.microsoft.com/office/drawing/2014/main" id="{6421FDF3-8380-4586-B83E-2921B2CFAF8F}"/>
                </a:ext>
              </a:extLst>
            </p:cNvPr>
            <p:cNvSpPr/>
            <p:nvPr/>
          </p:nvSpPr>
          <p:spPr>
            <a:xfrm>
              <a:off x="1161548" y="2558031"/>
              <a:ext cx="665135" cy="522113"/>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4" name="Google Shape;138;p3">
              <a:extLst>
                <a:ext uri="{FF2B5EF4-FFF2-40B4-BE49-F238E27FC236}">
                  <a16:creationId xmlns:a16="http://schemas.microsoft.com/office/drawing/2014/main" id="{5D66BD58-4BE5-4935-BF2C-EDC1609FD8BD}"/>
                </a:ext>
              </a:extLst>
            </p:cNvPr>
            <p:cNvGrpSpPr/>
            <p:nvPr/>
          </p:nvGrpSpPr>
          <p:grpSpPr>
            <a:xfrm>
              <a:off x="346827" y="3411153"/>
              <a:ext cx="376916" cy="455685"/>
              <a:chOff x="1010452" y="1144365"/>
              <a:chExt cx="376916" cy="455685"/>
            </a:xfrm>
          </p:grpSpPr>
          <p:sp>
            <p:nvSpPr>
              <p:cNvPr id="69" name="Google Shape;139;p3">
                <a:extLst>
                  <a:ext uri="{FF2B5EF4-FFF2-40B4-BE49-F238E27FC236}">
                    <a16:creationId xmlns:a16="http://schemas.microsoft.com/office/drawing/2014/main" id="{8C9BC79A-1AA0-4E0B-A67B-8A9CA8102CE9}"/>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0" name="Google Shape;140;p3">
                <a:extLst>
                  <a:ext uri="{FF2B5EF4-FFF2-40B4-BE49-F238E27FC236}">
                    <a16:creationId xmlns:a16="http://schemas.microsoft.com/office/drawing/2014/main" id="{75BFC764-F28D-40CD-A337-0DCD40399465}"/>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5" name="Google Shape;141;p3">
              <a:extLst>
                <a:ext uri="{FF2B5EF4-FFF2-40B4-BE49-F238E27FC236}">
                  <a16:creationId xmlns:a16="http://schemas.microsoft.com/office/drawing/2014/main" id="{B47530CC-894E-4F4E-A9E1-811A9F54E060}"/>
                </a:ext>
              </a:extLst>
            </p:cNvPr>
            <p:cNvSpPr/>
            <p:nvPr/>
          </p:nvSpPr>
          <p:spPr>
            <a:xfrm rot="-1109260">
              <a:off x="7493180" y="3971096"/>
              <a:ext cx="396713" cy="402269"/>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6" name="Google Shape;142;p3">
              <a:extLst>
                <a:ext uri="{FF2B5EF4-FFF2-40B4-BE49-F238E27FC236}">
                  <a16:creationId xmlns:a16="http://schemas.microsoft.com/office/drawing/2014/main" id="{BFFDEA78-7890-4D70-AE9F-F38D5F43582C}"/>
                </a:ext>
              </a:extLst>
            </p:cNvPr>
            <p:cNvSpPr/>
            <p:nvPr/>
          </p:nvSpPr>
          <p:spPr>
            <a:xfrm>
              <a:off x="6255960" y="791694"/>
              <a:ext cx="453103" cy="511439"/>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7" name="Google Shape;143;p3">
              <a:extLst>
                <a:ext uri="{FF2B5EF4-FFF2-40B4-BE49-F238E27FC236}">
                  <a16:creationId xmlns:a16="http://schemas.microsoft.com/office/drawing/2014/main" id="{594D8DC3-1DC1-4C04-8D8B-12D29A61F2A4}"/>
                </a:ext>
              </a:extLst>
            </p:cNvPr>
            <p:cNvSpPr/>
            <p:nvPr/>
          </p:nvSpPr>
          <p:spPr>
            <a:xfrm rot="1799564">
              <a:off x="7155158" y="4556613"/>
              <a:ext cx="351219" cy="440001"/>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8" name="Google Shape;144;p3">
              <a:extLst>
                <a:ext uri="{FF2B5EF4-FFF2-40B4-BE49-F238E27FC236}">
                  <a16:creationId xmlns:a16="http://schemas.microsoft.com/office/drawing/2014/main" id="{81F1ED35-B550-4F73-8A0D-BB1EA8636792}"/>
                </a:ext>
              </a:extLst>
            </p:cNvPr>
            <p:cNvSpPr/>
            <p:nvPr/>
          </p:nvSpPr>
          <p:spPr>
            <a:xfrm>
              <a:off x="7413193" y="740389"/>
              <a:ext cx="289739" cy="45623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9" name="Google Shape;145;p3">
              <a:extLst>
                <a:ext uri="{FF2B5EF4-FFF2-40B4-BE49-F238E27FC236}">
                  <a16:creationId xmlns:a16="http://schemas.microsoft.com/office/drawing/2014/main" id="{FCA7A200-8695-4433-80AB-6AD5C9BC8FB1}"/>
                </a:ext>
              </a:extLst>
            </p:cNvPr>
            <p:cNvSpPr/>
            <p:nvPr/>
          </p:nvSpPr>
          <p:spPr>
            <a:xfrm>
              <a:off x="7082287" y="-53997"/>
              <a:ext cx="602898" cy="641121"/>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0" name="Google Shape;146;p3">
              <a:extLst>
                <a:ext uri="{FF2B5EF4-FFF2-40B4-BE49-F238E27FC236}">
                  <a16:creationId xmlns:a16="http://schemas.microsoft.com/office/drawing/2014/main" id="{C35532D8-0C59-45DE-AEA2-EDF349D00105}"/>
                </a:ext>
              </a:extLst>
            </p:cNvPr>
            <p:cNvSpPr/>
            <p:nvPr/>
          </p:nvSpPr>
          <p:spPr>
            <a:xfrm>
              <a:off x="4981978" y="271723"/>
              <a:ext cx="738779" cy="460515"/>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1" name="Google Shape;147;p3">
              <a:extLst>
                <a:ext uri="{FF2B5EF4-FFF2-40B4-BE49-F238E27FC236}">
                  <a16:creationId xmlns:a16="http://schemas.microsoft.com/office/drawing/2014/main" id="{85AAC109-4491-463F-B14F-6FEBB7D58F80}"/>
                </a:ext>
              </a:extLst>
            </p:cNvPr>
            <p:cNvSpPr/>
            <p:nvPr/>
          </p:nvSpPr>
          <p:spPr>
            <a:xfrm rot="-1245048">
              <a:off x="7884626" y="2097617"/>
              <a:ext cx="363919" cy="537176"/>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2" name="Google Shape;148;p3">
              <a:extLst>
                <a:ext uri="{FF2B5EF4-FFF2-40B4-BE49-F238E27FC236}">
                  <a16:creationId xmlns:a16="http://schemas.microsoft.com/office/drawing/2014/main" id="{E58DA6A9-C278-4BB1-B2CB-D5E0026C1509}"/>
                </a:ext>
              </a:extLst>
            </p:cNvPr>
            <p:cNvSpPr/>
            <p:nvPr/>
          </p:nvSpPr>
          <p:spPr>
            <a:xfrm>
              <a:off x="313599" y="1360788"/>
              <a:ext cx="410163" cy="515682"/>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3" name="Google Shape;149;p3">
              <a:extLst>
                <a:ext uri="{FF2B5EF4-FFF2-40B4-BE49-F238E27FC236}">
                  <a16:creationId xmlns:a16="http://schemas.microsoft.com/office/drawing/2014/main" id="{789450D2-6F31-4A2B-B6F9-41770B7F2109}"/>
                </a:ext>
              </a:extLst>
            </p:cNvPr>
            <p:cNvSpPr/>
            <p:nvPr/>
          </p:nvSpPr>
          <p:spPr>
            <a:xfrm>
              <a:off x="2688787" y="4098763"/>
              <a:ext cx="455682" cy="43272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4" name="Google Shape;150;p3">
              <a:extLst>
                <a:ext uri="{FF2B5EF4-FFF2-40B4-BE49-F238E27FC236}">
                  <a16:creationId xmlns:a16="http://schemas.microsoft.com/office/drawing/2014/main" id="{5573F5F2-17BD-48C0-9F23-F83B1A5A8105}"/>
                </a:ext>
              </a:extLst>
            </p:cNvPr>
            <p:cNvSpPr/>
            <p:nvPr/>
          </p:nvSpPr>
          <p:spPr>
            <a:xfrm>
              <a:off x="933400" y="1069738"/>
              <a:ext cx="175646" cy="373020"/>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5" name="Google Shape;151;p3">
              <a:extLst>
                <a:ext uri="{FF2B5EF4-FFF2-40B4-BE49-F238E27FC236}">
                  <a16:creationId xmlns:a16="http://schemas.microsoft.com/office/drawing/2014/main" id="{1669DDF8-3A03-4864-9401-6964B3660B6E}"/>
                </a:ext>
              </a:extLst>
            </p:cNvPr>
            <p:cNvSpPr/>
            <p:nvPr/>
          </p:nvSpPr>
          <p:spPr>
            <a:xfrm>
              <a:off x="8204352" y="3801552"/>
              <a:ext cx="240787" cy="203050"/>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6" name="Google Shape;152;p3">
              <a:extLst>
                <a:ext uri="{FF2B5EF4-FFF2-40B4-BE49-F238E27FC236}">
                  <a16:creationId xmlns:a16="http://schemas.microsoft.com/office/drawing/2014/main" id="{FD5CC3CC-71F7-4EA4-9714-7E4B1A822154}"/>
                </a:ext>
              </a:extLst>
            </p:cNvPr>
            <p:cNvSpPr/>
            <p:nvPr/>
          </p:nvSpPr>
          <p:spPr>
            <a:xfrm>
              <a:off x="8204357" y="240186"/>
              <a:ext cx="175884" cy="17472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7" name="Google Shape;153;p3">
              <a:extLst>
                <a:ext uri="{FF2B5EF4-FFF2-40B4-BE49-F238E27FC236}">
                  <a16:creationId xmlns:a16="http://schemas.microsoft.com/office/drawing/2014/main" id="{66AD0467-5823-4999-AD6B-89A8E5203963}"/>
                </a:ext>
              </a:extLst>
            </p:cNvPr>
            <p:cNvSpPr/>
            <p:nvPr/>
          </p:nvSpPr>
          <p:spPr>
            <a:xfrm>
              <a:off x="8514477" y="3303552"/>
              <a:ext cx="236138" cy="229907"/>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8" name="Google Shape;154;p3">
              <a:extLst>
                <a:ext uri="{FF2B5EF4-FFF2-40B4-BE49-F238E27FC236}">
                  <a16:creationId xmlns:a16="http://schemas.microsoft.com/office/drawing/2014/main" id="{273E409A-ECD6-470B-8EF7-98B6344C2682}"/>
                </a:ext>
              </a:extLst>
            </p:cNvPr>
            <p:cNvSpPr/>
            <p:nvPr/>
          </p:nvSpPr>
          <p:spPr>
            <a:xfrm rot="9304419">
              <a:off x="3726725" y="4079275"/>
              <a:ext cx="219185" cy="471718"/>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9" name="Google Shape;155;p3">
              <a:extLst>
                <a:ext uri="{FF2B5EF4-FFF2-40B4-BE49-F238E27FC236}">
                  <a16:creationId xmlns:a16="http://schemas.microsoft.com/office/drawing/2014/main" id="{E9F45DAE-D07F-4A54-A8CA-371949E134EF}"/>
                </a:ext>
              </a:extLst>
            </p:cNvPr>
            <p:cNvSpPr/>
            <p:nvPr/>
          </p:nvSpPr>
          <p:spPr>
            <a:xfrm>
              <a:off x="3033704" y="205770"/>
              <a:ext cx="238646" cy="243555"/>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0" name="Google Shape;156;p3">
              <a:extLst>
                <a:ext uri="{FF2B5EF4-FFF2-40B4-BE49-F238E27FC236}">
                  <a16:creationId xmlns:a16="http://schemas.microsoft.com/office/drawing/2014/main" id="{658AC260-88AF-48F4-A331-C8C9FB4AF599}"/>
                </a:ext>
              </a:extLst>
            </p:cNvPr>
            <p:cNvSpPr/>
            <p:nvPr/>
          </p:nvSpPr>
          <p:spPr>
            <a:xfrm>
              <a:off x="8737650" y="439219"/>
              <a:ext cx="257856" cy="284838"/>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1" name="Google Shape;157;p3">
              <a:extLst>
                <a:ext uri="{FF2B5EF4-FFF2-40B4-BE49-F238E27FC236}">
                  <a16:creationId xmlns:a16="http://schemas.microsoft.com/office/drawing/2014/main" id="{FD01B15F-3134-4B86-81F7-196D34FD1337}"/>
                </a:ext>
              </a:extLst>
            </p:cNvPr>
            <p:cNvSpPr/>
            <p:nvPr/>
          </p:nvSpPr>
          <p:spPr>
            <a:xfrm>
              <a:off x="1334256" y="207258"/>
              <a:ext cx="223503" cy="240600"/>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2" name="Google Shape;158;p3">
              <a:extLst>
                <a:ext uri="{FF2B5EF4-FFF2-40B4-BE49-F238E27FC236}">
                  <a16:creationId xmlns:a16="http://schemas.microsoft.com/office/drawing/2014/main" id="{ECE62D4D-DAD1-4BD5-95D7-E4F2C4AB4E20}"/>
                </a:ext>
              </a:extLst>
            </p:cNvPr>
            <p:cNvSpPr/>
            <p:nvPr/>
          </p:nvSpPr>
          <p:spPr>
            <a:xfrm>
              <a:off x="7053257" y="3763614"/>
              <a:ext cx="204383" cy="27891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3" name="Google Shape;159;p3">
              <a:extLst>
                <a:ext uri="{FF2B5EF4-FFF2-40B4-BE49-F238E27FC236}">
                  <a16:creationId xmlns:a16="http://schemas.microsoft.com/office/drawing/2014/main" id="{E1411E4E-DD68-441C-BA24-04EC531F7CB4}"/>
                </a:ext>
              </a:extLst>
            </p:cNvPr>
            <p:cNvSpPr/>
            <p:nvPr/>
          </p:nvSpPr>
          <p:spPr>
            <a:xfrm>
              <a:off x="711508" y="3001159"/>
              <a:ext cx="154433" cy="272786"/>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4" name="Google Shape;160;p3">
              <a:extLst>
                <a:ext uri="{FF2B5EF4-FFF2-40B4-BE49-F238E27FC236}">
                  <a16:creationId xmlns:a16="http://schemas.microsoft.com/office/drawing/2014/main" id="{4FAAA02B-145E-42EF-9989-D3B3298B2D2D}"/>
                </a:ext>
              </a:extLst>
            </p:cNvPr>
            <p:cNvSpPr/>
            <p:nvPr/>
          </p:nvSpPr>
          <p:spPr>
            <a:xfrm>
              <a:off x="8576875" y="2558027"/>
              <a:ext cx="223822" cy="307981"/>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5" name="Google Shape;161;p3">
              <a:extLst>
                <a:ext uri="{FF2B5EF4-FFF2-40B4-BE49-F238E27FC236}">
                  <a16:creationId xmlns:a16="http://schemas.microsoft.com/office/drawing/2014/main" id="{A1BC7C48-F5BC-429D-A0C2-2F698A1C754A}"/>
                </a:ext>
              </a:extLst>
            </p:cNvPr>
            <p:cNvSpPr/>
            <p:nvPr/>
          </p:nvSpPr>
          <p:spPr>
            <a:xfrm>
              <a:off x="140852" y="836409"/>
              <a:ext cx="224053" cy="290283"/>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6" name="Google Shape;162;p3">
              <a:extLst>
                <a:ext uri="{FF2B5EF4-FFF2-40B4-BE49-F238E27FC236}">
                  <a16:creationId xmlns:a16="http://schemas.microsoft.com/office/drawing/2014/main" id="{061BBCF4-A94F-464F-9254-80F333F37689}"/>
                </a:ext>
              </a:extLst>
            </p:cNvPr>
            <p:cNvGrpSpPr/>
            <p:nvPr/>
          </p:nvGrpSpPr>
          <p:grpSpPr>
            <a:xfrm>
              <a:off x="6457245" y="4530131"/>
              <a:ext cx="216066" cy="276377"/>
              <a:chOff x="6422295" y="3351500"/>
              <a:chExt cx="252856" cy="323399"/>
            </a:xfrm>
          </p:grpSpPr>
          <p:sp>
            <p:nvSpPr>
              <p:cNvPr id="67" name="Google Shape;163;p3">
                <a:extLst>
                  <a:ext uri="{FF2B5EF4-FFF2-40B4-BE49-F238E27FC236}">
                    <a16:creationId xmlns:a16="http://schemas.microsoft.com/office/drawing/2014/main" id="{A5D8B871-971A-497E-88EA-BD3C7E11BB9B}"/>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8" name="Google Shape;164;p3">
                <a:extLst>
                  <a:ext uri="{FF2B5EF4-FFF2-40B4-BE49-F238E27FC236}">
                    <a16:creationId xmlns:a16="http://schemas.microsoft.com/office/drawing/2014/main" id="{EF015BEC-6C1B-40AC-A84D-118AD8944F9F}"/>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7" name="Google Shape;165;p3">
              <a:extLst>
                <a:ext uri="{FF2B5EF4-FFF2-40B4-BE49-F238E27FC236}">
                  <a16:creationId xmlns:a16="http://schemas.microsoft.com/office/drawing/2014/main" id="{A74C9D07-C230-4862-BDAB-5DE3DD971641}"/>
                </a:ext>
              </a:extLst>
            </p:cNvPr>
            <p:cNvSpPr/>
            <p:nvPr/>
          </p:nvSpPr>
          <p:spPr>
            <a:xfrm>
              <a:off x="2318449" y="613815"/>
              <a:ext cx="332332" cy="336908"/>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8" name="Google Shape;166;p3">
              <a:extLst>
                <a:ext uri="{FF2B5EF4-FFF2-40B4-BE49-F238E27FC236}">
                  <a16:creationId xmlns:a16="http://schemas.microsoft.com/office/drawing/2014/main" id="{CFF947DF-86EC-4D06-8402-0D28FAA07E2E}"/>
                </a:ext>
              </a:extLst>
            </p:cNvPr>
            <p:cNvSpPr/>
            <p:nvPr/>
          </p:nvSpPr>
          <p:spPr>
            <a:xfrm>
              <a:off x="6021196" y="137179"/>
              <a:ext cx="265484" cy="205157"/>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9" name="Google Shape;167;p3">
              <a:extLst>
                <a:ext uri="{FF2B5EF4-FFF2-40B4-BE49-F238E27FC236}">
                  <a16:creationId xmlns:a16="http://schemas.microsoft.com/office/drawing/2014/main" id="{296C5B09-63AC-4349-A8AD-5FC47298B7BF}"/>
                </a:ext>
              </a:extLst>
            </p:cNvPr>
            <p:cNvGrpSpPr/>
            <p:nvPr/>
          </p:nvGrpSpPr>
          <p:grpSpPr>
            <a:xfrm>
              <a:off x="1184427" y="4630083"/>
              <a:ext cx="229693" cy="293080"/>
              <a:chOff x="6793660" y="3322411"/>
              <a:chExt cx="268804" cy="342944"/>
            </a:xfrm>
          </p:grpSpPr>
          <p:sp>
            <p:nvSpPr>
              <p:cNvPr id="64" name="Google Shape;168;p3">
                <a:extLst>
                  <a:ext uri="{FF2B5EF4-FFF2-40B4-BE49-F238E27FC236}">
                    <a16:creationId xmlns:a16="http://schemas.microsoft.com/office/drawing/2014/main" id="{D43D496B-4A9F-4C55-9824-8149A5C3513C}"/>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5" name="Google Shape;169;p3">
                <a:extLst>
                  <a:ext uri="{FF2B5EF4-FFF2-40B4-BE49-F238E27FC236}">
                    <a16:creationId xmlns:a16="http://schemas.microsoft.com/office/drawing/2014/main" id="{66796A3A-7456-4310-BB79-D5EFA11CDF29}"/>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6" name="Google Shape;170;p3">
                <a:extLst>
                  <a:ext uri="{FF2B5EF4-FFF2-40B4-BE49-F238E27FC236}">
                    <a16:creationId xmlns:a16="http://schemas.microsoft.com/office/drawing/2014/main" id="{5AE20EA3-139D-4E96-87EA-6ABD338A141A}"/>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0" name="Google Shape;171;p3">
              <a:extLst>
                <a:ext uri="{FF2B5EF4-FFF2-40B4-BE49-F238E27FC236}">
                  <a16:creationId xmlns:a16="http://schemas.microsoft.com/office/drawing/2014/main" id="{64EE9073-F1CC-4483-89C9-142F060D1563}"/>
                </a:ext>
              </a:extLst>
            </p:cNvPr>
            <p:cNvSpPr/>
            <p:nvPr/>
          </p:nvSpPr>
          <p:spPr>
            <a:xfrm>
              <a:off x="4843337" y="836403"/>
              <a:ext cx="377232" cy="204888"/>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1" name="Google Shape;172;p3">
              <a:extLst>
                <a:ext uri="{FF2B5EF4-FFF2-40B4-BE49-F238E27FC236}">
                  <a16:creationId xmlns:a16="http://schemas.microsoft.com/office/drawing/2014/main" id="{CB7DB896-33B3-41DC-BB01-F2D7CB78EADD}"/>
                </a:ext>
              </a:extLst>
            </p:cNvPr>
            <p:cNvSpPr/>
            <p:nvPr/>
          </p:nvSpPr>
          <p:spPr>
            <a:xfrm rot="-2218186">
              <a:off x="-38492" y="151543"/>
              <a:ext cx="236276" cy="230041"/>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2" name="Google Shape;173;p3">
              <a:extLst>
                <a:ext uri="{FF2B5EF4-FFF2-40B4-BE49-F238E27FC236}">
                  <a16:creationId xmlns:a16="http://schemas.microsoft.com/office/drawing/2014/main" id="{F428F3A0-7407-4A41-8EC0-E729B29E0AB0}"/>
                </a:ext>
              </a:extLst>
            </p:cNvPr>
            <p:cNvSpPr/>
            <p:nvPr/>
          </p:nvSpPr>
          <p:spPr>
            <a:xfrm rot="1464154">
              <a:off x="4569091" y="-94554"/>
              <a:ext cx="235935" cy="229710"/>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3" name="Google Shape;174;p3">
              <a:extLst>
                <a:ext uri="{FF2B5EF4-FFF2-40B4-BE49-F238E27FC236}">
                  <a16:creationId xmlns:a16="http://schemas.microsoft.com/office/drawing/2014/main" id="{4F767371-F835-49CF-A9BA-C3C144C2E73A}"/>
                </a:ext>
              </a:extLst>
            </p:cNvPr>
            <p:cNvSpPr/>
            <p:nvPr/>
          </p:nvSpPr>
          <p:spPr>
            <a:xfrm rot="-2221343">
              <a:off x="1866371" y="3538528"/>
              <a:ext cx="206347" cy="200902"/>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Tree>
    <p:extLst>
      <p:ext uri="{BB962C8B-B14F-4D97-AF65-F5344CB8AC3E}">
        <p14:creationId xmlns:p14="http://schemas.microsoft.com/office/powerpoint/2010/main" val="1480811344"/>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reaker (B)">
    <p:bg>
      <p:bgPr>
        <a:solidFill>
          <a:srgbClr val="E6E6E6"/>
        </a:solidFill>
        <a:effectLst/>
      </p:bgPr>
    </p:bg>
    <p:spTree>
      <p:nvGrpSpPr>
        <p:cNvPr id="1" name=""/>
        <p:cNvGrpSpPr/>
        <p:nvPr/>
      </p:nvGrpSpPr>
      <p:grpSpPr>
        <a:xfrm>
          <a:off x="0" y="0"/>
          <a:ext cx="0" cy="0"/>
          <a:chOff x="0" y="0"/>
          <a:chExt cx="0" cy="0"/>
        </a:xfrm>
      </p:grpSpPr>
      <p:graphicFrame>
        <p:nvGraphicFramePr>
          <p:cNvPr id="74" name="Object 73" hidden="1">
            <a:extLst>
              <a:ext uri="{FF2B5EF4-FFF2-40B4-BE49-F238E27FC236}">
                <a16:creationId xmlns:a16="http://schemas.microsoft.com/office/drawing/2014/main" id="{84782DE8-9767-4702-8C7F-EAE3A0FA6E3B}"/>
              </a:ext>
            </a:extLst>
          </p:cNvPr>
          <p:cNvGraphicFramePr>
            <a:graphicFrameLocks noChangeAspect="1"/>
          </p:cNvGraphicFramePr>
          <p:nvPr userDrawn="1">
            <p:custDataLst>
              <p:tags r:id="rId1"/>
            </p:custDataLst>
            <p:extLst>
              <p:ext uri="{D42A27DB-BD31-4B8C-83A1-F6EECF244321}">
                <p14:modId xmlns:p14="http://schemas.microsoft.com/office/powerpoint/2010/main" val="405460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4" name="Object 73" hidden="1">
                        <a:extLst>
                          <a:ext uri="{FF2B5EF4-FFF2-40B4-BE49-F238E27FC236}">
                            <a16:creationId xmlns:a16="http://schemas.microsoft.com/office/drawing/2014/main" id="{84782DE8-9767-4702-8C7F-EAE3A0FA6E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B4DA3B0F-03CD-4108-8860-23727812948A}"/>
              </a:ext>
            </a:extLst>
          </p:cNvPr>
          <p:cNvPicPr>
            <a:picLocks noChangeAspect="1"/>
          </p:cNvPicPr>
          <p:nvPr userDrawn="1"/>
        </p:nvPicPr>
        <p:blipFill>
          <a:blip r:embed="rId5"/>
          <a:stretch>
            <a:fillRect/>
          </a:stretch>
        </p:blipFill>
        <p:spPr>
          <a:xfrm>
            <a:off x="-154675" y="-77484"/>
            <a:ext cx="12501349" cy="7162403"/>
          </a:xfrm>
          <a:prstGeom prst="rect">
            <a:avLst/>
          </a:prstGeom>
        </p:spPr>
      </p:pic>
      <p:sp>
        <p:nvSpPr>
          <p:cNvPr id="2" name="Title 1"/>
          <p:cNvSpPr>
            <a:spLocks noGrp="1"/>
          </p:cNvSpPr>
          <p:nvPr>
            <p:ph type="ctrTitle" hasCustomPrompt="1"/>
          </p:nvPr>
        </p:nvSpPr>
        <p:spPr bwMode="white">
          <a:xfrm>
            <a:off x="1609725" y="1122363"/>
            <a:ext cx="9010650" cy="1984631"/>
          </a:xfrm>
        </p:spPr>
        <p:txBody>
          <a:bodyPr vert="horz" anchor="ctr"/>
          <a:lstStyle>
            <a:lvl1pPr algn="ctr" rtl="0">
              <a:defRPr sz="6000">
                <a:solidFill>
                  <a:schemeClr val="tx1"/>
                </a:solidFill>
              </a:defRPr>
            </a:lvl1pPr>
          </a:lstStyle>
          <a:p>
            <a:r>
              <a:rPr lang="da-DK" noProof="0"/>
              <a:t>Click to add </a:t>
            </a:r>
            <a:r>
              <a:rPr lang="da-DK"/>
              <a:t>Breaker text</a:t>
            </a:r>
          </a:p>
        </p:txBody>
      </p:sp>
      <p:sp>
        <p:nvSpPr>
          <p:cNvPr id="75" name="Rectangle 74">
            <a:extLst>
              <a:ext uri="{FF2B5EF4-FFF2-40B4-BE49-F238E27FC236}">
                <a16:creationId xmlns:a16="http://schemas.microsoft.com/office/drawing/2014/main" id="{D3B8EA68-780D-408D-A1B0-D4E553F60DC6}"/>
              </a:ext>
            </a:extLst>
          </p:cNvPr>
          <p:cNvSpPr/>
          <p:nvPr userDrawn="1"/>
        </p:nvSpPr>
        <p:spPr>
          <a:xfrm>
            <a:off x="5991225" y="6496050"/>
            <a:ext cx="295275" cy="21907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Tree>
    <p:extLst>
      <p:ext uri="{BB962C8B-B14F-4D97-AF65-F5344CB8AC3E}">
        <p14:creationId xmlns:p14="http://schemas.microsoft.com/office/powerpoint/2010/main" val="4004401256"/>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74CC8F9-A212-4669-B5A2-90527C0FB5EF}"/>
              </a:ext>
            </a:extLst>
          </p:cNvPr>
          <p:cNvGraphicFramePr>
            <a:graphicFrameLocks noChangeAspect="1"/>
          </p:cNvGraphicFramePr>
          <p:nvPr userDrawn="1">
            <p:custDataLst>
              <p:tags r:id="rId1"/>
            </p:custDataLst>
            <p:extLst>
              <p:ext uri="{D42A27DB-BD31-4B8C-83A1-F6EECF244321}">
                <p14:modId xmlns:p14="http://schemas.microsoft.com/office/powerpoint/2010/main" val="855257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974CC8F9-A212-4669-B5A2-90527C0FB5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a:xfrm>
            <a:off x="1350000" y="1122363"/>
            <a:ext cx="8509963" cy="1984631"/>
          </a:xfrm>
        </p:spPr>
        <p:txBody>
          <a:bodyPr vert="horz" anchor="b"/>
          <a:lstStyle>
            <a:lvl1pPr algn="l" rtl="0">
              <a:defRPr sz="6000">
                <a:solidFill>
                  <a:schemeClr val="accent2"/>
                </a:solidFill>
              </a:defRPr>
            </a:lvl1pPr>
          </a:lstStyle>
          <a:p>
            <a:r>
              <a:rPr lang="da-DK" noProof="0"/>
              <a:t>Click to add </a:t>
            </a:r>
            <a:r>
              <a:rPr lang="da-DK"/>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da-DK" smtClean="0"/>
              <a:pPr/>
              <a:t>19-06-2024</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709031245"/>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eaker imag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E0DF49-C183-4D5C-9A2E-7134386478D1}"/>
              </a:ext>
            </a:extLst>
          </p:cNvPr>
          <p:cNvGraphicFramePr>
            <a:graphicFrameLocks noChangeAspect="1"/>
          </p:cNvGraphicFramePr>
          <p:nvPr userDrawn="1">
            <p:custDataLst>
              <p:tags r:id="rId1"/>
            </p:custDataLst>
            <p:extLst>
              <p:ext uri="{D42A27DB-BD31-4B8C-83A1-F6EECF244321}">
                <p14:modId xmlns:p14="http://schemas.microsoft.com/office/powerpoint/2010/main" val="53640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3E0DF49-C183-4D5C-9A2E-7134386478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rtl="0">
              <a:defRPr sz="100">
                <a:noFill/>
              </a:defRPr>
            </a:lvl1pPr>
          </a:lstStyle>
          <a:p>
            <a:fld id="{1466C188-1D45-4F08-8DB4-23F6002C2B91}" type="datetime1">
              <a:rPr lang="da-DK" smtClean="0"/>
              <a:pPr/>
              <a:t>19-06-2024</a:t>
            </a:fld>
            <a:endParaRPr lang="da-DK"/>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vert="horz" anchor="b"/>
          <a:lstStyle>
            <a:lvl1pPr algn="l" rtl="0">
              <a:defRPr sz="6000">
                <a:solidFill>
                  <a:schemeClr val="bg1"/>
                </a:solidFill>
              </a:defRPr>
            </a:lvl1pPr>
          </a:lstStyle>
          <a:p>
            <a:r>
              <a:rPr lang="da-DK" noProof="0"/>
              <a:t>Click to add </a:t>
            </a:r>
            <a:r>
              <a:rPr lang="da-DK"/>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grpSp>
        <p:nvGrpSpPr>
          <p:cNvPr id="9" name="Google Shape;22;p2">
            <a:extLst>
              <a:ext uri="{FF2B5EF4-FFF2-40B4-BE49-F238E27FC236}">
                <a16:creationId xmlns:a16="http://schemas.microsoft.com/office/drawing/2014/main" id="{CF860034-7B08-4F3D-B762-9A31C79575E9}"/>
              </a:ext>
            </a:extLst>
          </p:cNvPr>
          <p:cNvGrpSpPr/>
          <p:nvPr userDrawn="1"/>
        </p:nvGrpSpPr>
        <p:grpSpPr>
          <a:xfrm>
            <a:off x="81519" y="-84327"/>
            <a:ext cx="12028962" cy="7026653"/>
            <a:chOff x="-85500" y="-168653"/>
            <a:chExt cx="9290344" cy="5426904"/>
          </a:xfrm>
        </p:grpSpPr>
        <p:grpSp>
          <p:nvGrpSpPr>
            <p:cNvPr id="14" name="Google Shape;23;p2">
              <a:extLst>
                <a:ext uri="{FF2B5EF4-FFF2-40B4-BE49-F238E27FC236}">
                  <a16:creationId xmlns:a16="http://schemas.microsoft.com/office/drawing/2014/main" id="{374DAF26-CC1A-4B23-B786-9BEE004A4999}"/>
                </a:ext>
              </a:extLst>
            </p:cNvPr>
            <p:cNvGrpSpPr/>
            <p:nvPr/>
          </p:nvGrpSpPr>
          <p:grpSpPr>
            <a:xfrm>
              <a:off x="3870624" y="271731"/>
              <a:ext cx="531017" cy="704779"/>
              <a:chOff x="3870624" y="271731"/>
              <a:chExt cx="531017" cy="704779"/>
            </a:xfrm>
          </p:grpSpPr>
          <p:sp>
            <p:nvSpPr>
              <p:cNvPr id="100" name="Google Shape;24;p2">
                <a:extLst>
                  <a:ext uri="{FF2B5EF4-FFF2-40B4-BE49-F238E27FC236}">
                    <a16:creationId xmlns:a16="http://schemas.microsoft.com/office/drawing/2014/main" id="{5CAA66CA-0C74-4E12-A951-E58F094E3B5A}"/>
                  </a:ext>
                </a:extLst>
              </p:cNvPr>
              <p:cNvSpPr/>
              <p:nvPr/>
            </p:nvSpPr>
            <p:spPr>
              <a:xfrm>
                <a:off x="3870624" y="311200"/>
                <a:ext cx="425807" cy="385849"/>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101" name="Google Shape;25;p2">
                <a:extLst>
                  <a:ext uri="{FF2B5EF4-FFF2-40B4-BE49-F238E27FC236}">
                    <a16:creationId xmlns:a16="http://schemas.microsoft.com/office/drawing/2014/main" id="{4F9740FA-1D78-4B0B-8ED1-34B3D3955579}"/>
                  </a:ext>
                </a:extLst>
              </p:cNvPr>
              <p:cNvSpPr/>
              <p:nvPr/>
            </p:nvSpPr>
            <p:spPr>
              <a:xfrm>
                <a:off x="3901992" y="271731"/>
                <a:ext cx="499650" cy="70477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17" name="Google Shape;26;p2">
              <a:extLst>
                <a:ext uri="{FF2B5EF4-FFF2-40B4-BE49-F238E27FC236}">
                  <a16:creationId xmlns:a16="http://schemas.microsoft.com/office/drawing/2014/main" id="{880F6B94-3351-4359-AA78-95E4BA51ABB9}"/>
                </a:ext>
              </a:extLst>
            </p:cNvPr>
            <p:cNvGrpSpPr/>
            <p:nvPr/>
          </p:nvGrpSpPr>
          <p:grpSpPr>
            <a:xfrm>
              <a:off x="-85500" y="4299338"/>
              <a:ext cx="612915" cy="585559"/>
              <a:chOff x="8158724" y="4646275"/>
              <a:chExt cx="612915" cy="585559"/>
            </a:xfrm>
          </p:grpSpPr>
          <p:sp>
            <p:nvSpPr>
              <p:cNvPr id="98" name="Google Shape;27;p2">
                <a:extLst>
                  <a:ext uri="{FF2B5EF4-FFF2-40B4-BE49-F238E27FC236}">
                    <a16:creationId xmlns:a16="http://schemas.microsoft.com/office/drawing/2014/main" id="{079699AB-E13E-4643-A888-2FB682F50DDC}"/>
                  </a:ext>
                </a:extLst>
              </p:cNvPr>
              <p:cNvSpPr/>
              <p:nvPr/>
            </p:nvSpPr>
            <p:spPr>
              <a:xfrm>
                <a:off x="8158724" y="4646275"/>
                <a:ext cx="511423" cy="463431"/>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9" name="Google Shape;28;p2">
                <a:extLst>
                  <a:ext uri="{FF2B5EF4-FFF2-40B4-BE49-F238E27FC236}">
                    <a16:creationId xmlns:a16="http://schemas.microsoft.com/office/drawing/2014/main" id="{2E521742-9B6F-4627-8EC5-60F64ACFAF44}"/>
                  </a:ext>
                </a:extLst>
              </p:cNvPr>
              <p:cNvSpPr/>
              <p:nvPr/>
            </p:nvSpPr>
            <p:spPr>
              <a:xfrm>
                <a:off x="8170373" y="4682299"/>
                <a:ext cx="601266" cy="549535"/>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18" name="Google Shape;29;p2">
              <a:extLst>
                <a:ext uri="{FF2B5EF4-FFF2-40B4-BE49-F238E27FC236}">
                  <a16:creationId xmlns:a16="http://schemas.microsoft.com/office/drawing/2014/main" id="{9560D005-42F1-4338-B0A7-019A505317B4}"/>
                </a:ext>
              </a:extLst>
            </p:cNvPr>
            <p:cNvSpPr/>
            <p:nvPr/>
          </p:nvSpPr>
          <p:spPr>
            <a:xfrm rot="2001982">
              <a:off x="136143" y="2216866"/>
              <a:ext cx="321474" cy="709766"/>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19" name="Google Shape;30;p2">
              <a:extLst>
                <a:ext uri="{FF2B5EF4-FFF2-40B4-BE49-F238E27FC236}">
                  <a16:creationId xmlns:a16="http://schemas.microsoft.com/office/drawing/2014/main" id="{E5CD0861-C851-415E-9618-0358C8F35B16}"/>
                </a:ext>
              </a:extLst>
            </p:cNvPr>
            <p:cNvGrpSpPr/>
            <p:nvPr/>
          </p:nvGrpSpPr>
          <p:grpSpPr>
            <a:xfrm>
              <a:off x="968652" y="3696885"/>
              <a:ext cx="565312" cy="602473"/>
              <a:chOff x="813652" y="3801560"/>
              <a:chExt cx="565312" cy="602473"/>
            </a:xfrm>
          </p:grpSpPr>
          <p:sp>
            <p:nvSpPr>
              <p:cNvPr id="96" name="Google Shape;31;p2">
                <a:extLst>
                  <a:ext uri="{FF2B5EF4-FFF2-40B4-BE49-F238E27FC236}">
                    <a16:creationId xmlns:a16="http://schemas.microsoft.com/office/drawing/2014/main" id="{0E52EBA3-E209-4845-A921-54D168D9F53B}"/>
                  </a:ext>
                </a:extLst>
              </p:cNvPr>
              <p:cNvSpPr/>
              <p:nvPr/>
            </p:nvSpPr>
            <p:spPr>
              <a:xfrm rot="6264782">
                <a:off x="849950" y="3919090"/>
                <a:ext cx="380679" cy="370162"/>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7" name="Google Shape;32;p2">
                <a:extLst>
                  <a:ext uri="{FF2B5EF4-FFF2-40B4-BE49-F238E27FC236}">
                    <a16:creationId xmlns:a16="http://schemas.microsoft.com/office/drawing/2014/main" id="{83C02F3D-0741-41F5-9477-B7E0E381D908}"/>
                  </a:ext>
                </a:extLst>
              </p:cNvPr>
              <p:cNvSpPr/>
              <p:nvPr/>
            </p:nvSpPr>
            <p:spPr>
              <a:xfrm rot="-1974315">
                <a:off x="996275" y="3825647"/>
                <a:ext cx="252371" cy="554298"/>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0" name="Google Shape;33;p2">
              <a:extLst>
                <a:ext uri="{FF2B5EF4-FFF2-40B4-BE49-F238E27FC236}">
                  <a16:creationId xmlns:a16="http://schemas.microsoft.com/office/drawing/2014/main" id="{F1985F7F-0CD7-4E5B-B177-05BFF6116C13}"/>
                </a:ext>
              </a:extLst>
            </p:cNvPr>
            <p:cNvSpPr/>
            <p:nvPr/>
          </p:nvSpPr>
          <p:spPr>
            <a:xfrm>
              <a:off x="4101001" y="4649180"/>
              <a:ext cx="376856" cy="254902"/>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1" name="Google Shape;34;p2">
              <a:extLst>
                <a:ext uri="{FF2B5EF4-FFF2-40B4-BE49-F238E27FC236}">
                  <a16:creationId xmlns:a16="http://schemas.microsoft.com/office/drawing/2014/main" id="{72897235-3719-4DD4-823D-8C397B5C0EAE}"/>
                </a:ext>
              </a:extLst>
            </p:cNvPr>
            <p:cNvSpPr/>
            <p:nvPr/>
          </p:nvSpPr>
          <p:spPr>
            <a:xfrm>
              <a:off x="8091625" y="827000"/>
              <a:ext cx="485245" cy="329049"/>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2" name="Google Shape;35;p2">
              <a:extLst>
                <a:ext uri="{FF2B5EF4-FFF2-40B4-BE49-F238E27FC236}">
                  <a16:creationId xmlns:a16="http://schemas.microsoft.com/office/drawing/2014/main" id="{5A3FACA7-85C1-4399-A3E0-CB15AC77FC10}"/>
                </a:ext>
              </a:extLst>
            </p:cNvPr>
            <p:cNvSpPr/>
            <p:nvPr/>
          </p:nvSpPr>
          <p:spPr>
            <a:xfrm rot="3971375">
              <a:off x="3138581" y="4622816"/>
              <a:ext cx="362909" cy="668479"/>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3" name="Google Shape;36;p2">
              <a:extLst>
                <a:ext uri="{FF2B5EF4-FFF2-40B4-BE49-F238E27FC236}">
                  <a16:creationId xmlns:a16="http://schemas.microsoft.com/office/drawing/2014/main" id="{642AD79A-DD76-4AD3-81C6-4ACA9BE0101A}"/>
                </a:ext>
              </a:extLst>
            </p:cNvPr>
            <p:cNvSpPr/>
            <p:nvPr/>
          </p:nvSpPr>
          <p:spPr>
            <a:xfrm rot="-3375824">
              <a:off x="8508205" y="4088864"/>
              <a:ext cx="623152" cy="166730"/>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4" name="Google Shape;37;p2">
              <a:extLst>
                <a:ext uri="{FF2B5EF4-FFF2-40B4-BE49-F238E27FC236}">
                  <a16:creationId xmlns:a16="http://schemas.microsoft.com/office/drawing/2014/main" id="{81ECFDDF-9A1E-4C71-9C9D-5E09A2D9C4E2}"/>
                </a:ext>
              </a:extLst>
            </p:cNvPr>
            <p:cNvSpPr/>
            <p:nvPr/>
          </p:nvSpPr>
          <p:spPr>
            <a:xfrm rot="3011666">
              <a:off x="3210524" y="657803"/>
              <a:ext cx="199800" cy="513948"/>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5" name="Google Shape;38;p2">
              <a:extLst>
                <a:ext uri="{FF2B5EF4-FFF2-40B4-BE49-F238E27FC236}">
                  <a16:creationId xmlns:a16="http://schemas.microsoft.com/office/drawing/2014/main" id="{A307D40B-7242-44D4-B591-17FD3BF09EB6}"/>
                </a:ext>
              </a:extLst>
            </p:cNvPr>
            <p:cNvSpPr/>
            <p:nvPr/>
          </p:nvSpPr>
          <p:spPr>
            <a:xfrm rot="2196195">
              <a:off x="6146037" y="457710"/>
              <a:ext cx="248001" cy="64914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26" name="Google Shape;39;p2">
              <a:extLst>
                <a:ext uri="{FF2B5EF4-FFF2-40B4-BE49-F238E27FC236}">
                  <a16:creationId xmlns:a16="http://schemas.microsoft.com/office/drawing/2014/main" id="{5604326C-FEC7-4B4A-B74C-3C1729D48495}"/>
                </a:ext>
              </a:extLst>
            </p:cNvPr>
            <p:cNvGrpSpPr/>
            <p:nvPr/>
          </p:nvGrpSpPr>
          <p:grpSpPr>
            <a:xfrm>
              <a:off x="5462677" y="4575203"/>
              <a:ext cx="497752" cy="491681"/>
              <a:chOff x="7559440" y="3972390"/>
              <a:chExt cx="497752" cy="491681"/>
            </a:xfrm>
          </p:grpSpPr>
          <p:sp>
            <p:nvSpPr>
              <p:cNvPr id="94" name="Google Shape;40;p2">
                <a:extLst>
                  <a:ext uri="{FF2B5EF4-FFF2-40B4-BE49-F238E27FC236}">
                    <a16:creationId xmlns:a16="http://schemas.microsoft.com/office/drawing/2014/main" id="{E60B4D83-EADD-40A5-8739-074D34190748}"/>
                  </a:ext>
                </a:extLst>
              </p:cNvPr>
              <p:cNvSpPr/>
              <p:nvPr/>
            </p:nvSpPr>
            <p:spPr>
              <a:xfrm rot="1226546">
                <a:off x="7692589" y="4106488"/>
                <a:ext cx="320298" cy="311457"/>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5" name="Google Shape;41;p2">
                <a:extLst>
                  <a:ext uri="{FF2B5EF4-FFF2-40B4-BE49-F238E27FC236}">
                    <a16:creationId xmlns:a16="http://schemas.microsoft.com/office/drawing/2014/main" id="{3FF74D61-8F2C-415F-870A-3E26DFE35B47}"/>
                  </a:ext>
                </a:extLst>
              </p:cNvPr>
              <p:cNvSpPr/>
              <p:nvPr/>
            </p:nvSpPr>
            <p:spPr>
              <a:xfrm rot="9911830">
                <a:off x="7595186" y="4010311"/>
                <a:ext cx="338915" cy="323847"/>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27" name="Google Shape;42;p2">
              <a:extLst>
                <a:ext uri="{FF2B5EF4-FFF2-40B4-BE49-F238E27FC236}">
                  <a16:creationId xmlns:a16="http://schemas.microsoft.com/office/drawing/2014/main" id="{7B3E780A-FE52-4930-9014-FFEF28ABA4B9}"/>
                </a:ext>
              </a:extLst>
            </p:cNvPr>
            <p:cNvGrpSpPr/>
            <p:nvPr/>
          </p:nvGrpSpPr>
          <p:grpSpPr>
            <a:xfrm>
              <a:off x="510215" y="271717"/>
              <a:ext cx="557022" cy="619823"/>
              <a:chOff x="510215" y="271717"/>
              <a:chExt cx="557022" cy="619823"/>
            </a:xfrm>
          </p:grpSpPr>
          <p:sp>
            <p:nvSpPr>
              <p:cNvPr id="92" name="Google Shape;43;p2">
                <a:extLst>
                  <a:ext uri="{FF2B5EF4-FFF2-40B4-BE49-F238E27FC236}">
                    <a16:creationId xmlns:a16="http://schemas.microsoft.com/office/drawing/2014/main" id="{DB21A7C0-E34D-4908-8E9B-C1BA461C3D8C}"/>
                  </a:ext>
                </a:extLst>
              </p:cNvPr>
              <p:cNvSpPr/>
              <p:nvPr/>
            </p:nvSpPr>
            <p:spPr>
              <a:xfrm>
                <a:off x="676827" y="376200"/>
                <a:ext cx="316843" cy="32088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3" name="Google Shape;44;p2">
                <a:extLst>
                  <a:ext uri="{FF2B5EF4-FFF2-40B4-BE49-F238E27FC236}">
                    <a16:creationId xmlns:a16="http://schemas.microsoft.com/office/drawing/2014/main" id="{BCE5B0F7-5FDC-4B9D-8BBB-EEDEFB1C0A37}"/>
                  </a:ext>
                </a:extLst>
              </p:cNvPr>
              <p:cNvSpPr/>
              <p:nvPr/>
            </p:nvSpPr>
            <p:spPr>
              <a:xfrm>
                <a:off x="510215" y="271717"/>
                <a:ext cx="557022" cy="619823"/>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8" name="Google Shape;45;p2">
              <a:extLst>
                <a:ext uri="{FF2B5EF4-FFF2-40B4-BE49-F238E27FC236}">
                  <a16:creationId xmlns:a16="http://schemas.microsoft.com/office/drawing/2014/main" id="{88E0BC4D-444B-4D02-A994-34ED22CEAF8E}"/>
                </a:ext>
              </a:extLst>
            </p:cNvPr>
            <p:cNvSpPr/>
            <p:nvPr/>
          </p:nvSpPr>
          <p:spPr>
            <a:xfrm>
              <a:off x="1778886" y="4237081"/>
              <a:ext cx="556337" cy="631409"/>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9" name="Google Shape;46;p2">
              <a:extLst>
                <a:ext uri="{FF2B5EF4-FFF2-40B4-BE49-F238E27FC236}">
                  <a16:creationId xmlns:a16="http://schemas.microsoft.com/office/drawing/2014/main" id="{795A7F5F-5BB4-4E59-8D97-0332F453E9D8}"/>
                </a:ext>
              </a:extLst>
            </p:cNvPr>
            <p:cNvSpPr/>
            <p:nvPr/>
          </p:nvSpPr>
          <p:spPr>
            <a:xfrm rot="-982808">
              <a:off x="7867083" y="4603094"/>
              <a:ext cx="701993" cy="56769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0" name="Google Shape;47;p2">
              <a:extLst>
                <a:ext uri="{FF2B5EF4-FFF2-40B4-BE49-F238E27FC236}">
                  <a16:creationId xmlns:a16="http://schemas.microsoft.com/office/drawing/2014/main" id="{C5E1B8C9-851C-4F75-B9DD-82A1506E00E8}"/>
                </a:ext>
              </a:extLst>
            </p:cNvPr>
            <p:cNvSpPr/>
            <p:nvPr/>
          </p:nvSpPr>
          <p:spPr>
            <a:xfrm rot="1185294">
              <a:off x="4798350" y="3885963"/>
              <a:ext cx="616477" cy="671778"/>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1" name="Google Shape;48;p2">
              <a:extLst>
                <a:ext uri="{FF2B5EF4-FFF2-40B4-BE49-F238E27FC236}">
                  <a16:creationId xmlns:a16="http://schemas.microsoft.com/office/drawing/2014/main" id="{4D10690C-C3D5-466C-AD32-8BB998CFB067}"/>
                </a:ext>
              </a:extLst>
            </p:cNvPr>
            <p:cNvSpPr/>
            <p:nvPr/>
          </p:nvSpPr>
          <p:spPr>
            <a:xfrm>
              <a:off x="1393062" y="748927"/>
              <a:ext cx="579203" cy="652168"/>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2" name="Google Shape;49;p2">
              <a:extLst>
                <a:ext uri="{FF2B5EF4-FFF2-40B4-BE49-F238E27FC236}">
                  <a16:creationId xmlns:a16="http://schemas.microsoft.com/office/drawing/2014/main" id="{772FC28F-55E1-4A85-85CE-186685CBF53B}"/>
                </a:ext>
              </a:extLst>
            </p:cNvPr>
            <p:cNvSpPr/>
            <p:nvPr/>
          </p:nvSpPr>
          <p:spPr>
            <a:xfrm>
              <a:off x="7317433" y="2956555"/>
              <a:ext cx="716315" cy="573888"/>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3" name="Google Shape;50;p2">
              <a:extLst>
                <a:ext uri="{FF2B5EF4-FFF2-40B4-BE49-F238E27FC236}">
                  <a16:creationId xmlns:a16="http://schemas.microsoft.com/office/drawing/2014/main" id="{708C5B91-1264-4D6C-A190-BC6FAC6C274A}"/>
                </a:ext>
              </a:extLst>
            </p:cNvPr>
            <p:cNvSpPr/>
            <p:nvPr/>
          </p:nvSpPr>
          <p:spPr>
            <a:xfrm>
              <a:off x="8750637" y="1716146"/>
              <a:ext cx="454206" cy="406096"/>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4" name="Google Shape;51;p2">
              <a:extLst>
                <a:ext uri="{FF2B5EF4-FFF2-40B4-BE49-F238E27FC236}">
                  <a16:creationId xmlns:a16="http://schemas.microsoft.com/office/drawing/2014/main" id="{EB842972-F3A9-4119-BEBC-00CE4D3660D6}"/>
                </a:ext>
              </a:extLst>
            </p:cNvPr>
            <p:cNvSpPr/>
            <p:nvPr/>
          </p:nvSpPr>
          <p:spPr>
            <a:xfrm rot="-2424156">
              <a:off x="2052510" y="-106317"/>
              <a:ext cx="373867" cy="493313"/>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5" name="Google Shape;52;p2">
              <a:extLst>
                <a:ext uri="{FF2B5EF4-FFF2-40B4-BE49-F238E27FC236}">
                  <a16:creationId xmlns:a16="http://schemas.microsoft.com/office/drawing/2014/main" id="{E0E7B5CB-3D65-4882-B5EF-91D6FB545DD2}"/>
                </a:ext>
              </a:extLst>
            </p:cNvPr>
            <p:cNvSpPr/>
            <p:nvPr/>
          </p:nvSpPr>
          <p:spPr>
            <a:xfrm>
              <a:off x="5960437" y="3855732"/>
              <a:ext cx="712864" cy="419317"/>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6" name="Google Shape;53;p2">
              <a:extLst>
                <a:ext uri="{FF2B5EF4-FFF2-40B4-BE49-F238E27FC236}">
                  <a16:creationId xmlns:a16="http://schemas.microsoft.com/office/drawing/2014/main" id="{6E8FA8A2-6748-4033-9D1E-7C0954E44E32}"/>
                </a:ext>
              </a:extLst>
            </p:cNvPr>
            <p:cNvGrpSpPr/>
            <p:nvPr/>
          </p:nvGrpSpPr>
          <p:grpSpPr>
            <a:xfrm rot="891035">
              <a:off x="1165229" y="1691730"/>
              <a:ext cx="657771" cy="386113"/>
              <a:chOff x="1429156" y="1387535"/>
              <a:chExt cx="657769" cy="386112"/>
            </a:xfrm>
          </p:grpSpPr>
          <p:sp>
            <p:nvSpPr>
              <p:cNvPr id="90" name="Google Shape;54;p2">
                <a:extLst>
                  <a:ext uri="{FF2B5EF4-FFF2-40B4-BE49-F238E27FC236}">
                    <a16:creationId xmlns:a16="http://schemas.microsoft.com/office/drawing/2014/main" id="{00037E76-654A-469D-A0B6-022FCDB570C5}"/>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91" name="Google Shape;55;p2">
                <a:extLst>
                  <a:ext uri="{FF2B5EF4-FFF2-40B4-BE49-F238E27FC236}">
                    <a16:creationId xmlns:a16="http://schemas.microsoft.com/office/drawing/2014/main" id="{3D9B4B76-5127-4D96-8478-952301488486}"/>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7" name="Google Shape;56;p2">
              <a:extLst>
                <a:ext uri="{FF2B5EF4-FFF2-40B4-BE49-F238E27FC236}">
                  <a16:creationId xmlns:a16="http://schemas.microsoft.com/office/drawing/2014/main" id="{BCC50E44-D05B-4D2B-BFC7-9BFD74379BFC}"/>
                </a:ext>
              </a:extLst>
            </p:cNvPr>
            <p:cNvSpPr/>
            <p:nvPr/>
          </p:nvSpPr>
          <p:spPr>
            <a:xfrm rot="-1696692">
              <a:off x="7441723" y="1525254"/>
              <a:ext cx="760522" cy="200454"/>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8" name="Google Shape;57;p2">
              <a:extLst>
                <a:ext uri="{FF2B5EF4-FFF2-40B4-BE49-F238E27FC236}">
                  <a16:creationId xmlns:a16="http://schemas.microsoft.com/office/drawing/2014/main" id="{59BF1B50-3F01-40E4-9920-78A3641A19BF}"/>
                </a:ext>
              </a:extLst>
            </p:cNvPr>
            <p:cNvSpPr/>
            <p:nvPr/>
          </p:nvSpPr>
          <p:spPr>
            <a:xfrm>
              <a:off x="1161548" y="2558031"/>
              <a:ext cx="665135" cy="522113"/>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9" name="Google Shape;58;p2">
              <a:extLst>
                <a:ext uri="{FF2B5EF4-FFF2-40B4-BE49-F238E27FC236}">
                  <a16:creationId xmlns:a16="http://schemas.microsoft.com/office/drawing/2014/main" id="{ECF2D44A-FB25-43C4-AFB2-097784CDC432}"/>
                </a:ext>
              </a:extLst>
            </p:cNvPr>
            <p:cNvGrpSpPr/>
            <p:nvPr/>
          </p:nvGrpSpPr>
          <p:grpSpPr>
            <a:xfrm>
              <a:off x="346827" y="3411153"/>
              <a:ext cx="376916" cy="455685"/>
              <a:chOff x="1010452" y="1144365"/>
              <a:chExt cx="376916" cy="455685"/>
            </a:xfrm>
          </p:grpSpPr>
          <p:sp>
            <p:nvSpPr>
              <p:cNvPr id="88" name="Google Shape;59;p2">
                <a:extLst>
                  <a:ext uri="{FF2B5EF4-FFF2-40B4-BE49-F238E27FC236}">
                    <a16:creationId xmlns:a16="http://schemas.microsoft.com/office/drawing/2014/main" id="{9DAA066F-D056-423F-BF3E-D6A24D45AEE9}"/>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89" name="Google Shape;60;p2">
                <a:extLst>
                  <a:ext uri="{FF2B5EF4-FFF2-40B4-BE49-F238E27FC236}">
                    <a16:creationId xmlns:a16="http://schemas.microsoft.com/office/drawing/2014/main" id="{3D9CCD77-55C1-476F-8683-56ED66C7A90A}"/>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40" name="Google Shape;61;p2">
              <a:extLst>
                <a:ext uri="{FF2B5EF4-FFF2-40B4-BE49-F238E27FC236}">
                  <a16:creationId xmlns:a16="http://schemas.microsoft.com/office/drawing/2014/main" id="{4AF7C0F7-47FA-4AEE-B784-77502FF351F3}"/>
                </a:ext>
              </a:extLst>
            </p:cNvPr>
            <p:cNvGrpSpPr/>
            <p:nvPr/>
          </p:nvGrpSpPr>
          <p:grpSpPr>
            <a:xfrm>
              <a:off x="7439637" y="3918577"/>
              <a:ext cx="503800" cy="507307"/>
              <a:chOff x="7439637" y="3918577"/>
              <a:chExt cx="503800" cy="507307"/>
            </a:xfrm>
          </p:grpSpPr>
          <p:sp>
            <p:nvSpPr>
              <p:cNvPr id="86" name="Google Shape;62;p2">
                <a:extLst>
                  <a:ext uri="{FF2B5EF4-FFF2-40B4-BE49-F238E27FC236}">
                    <a16:creationId xmlns:a16="http://schemas.microsoft.com/office/drawing/2014/main" id="{46328B47-DA59-4652-A7F5-124DD21137EF}"/>
                  </a:ext>
                </a:extLst>
              </p:cNvPr>
              <p:cNvSpPr/>
              <p:nvPr/>
            </p:nvSpPr>
            <p:spPr>
              <a:xfrm>
                <a:off x="7547126" y="4133375"/>
                <a:ext cx="332324"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7" name="Google Shape;63;p2">
                <a:extLst>
                  <a:ext uri="{FF2B5EF4-FFF2-40B4-BE49-F238E27FC236}">
                    <a16:creationId xmlns:a16="http://schemas.microsoft.com/office/drawing/2014/main" id="{9199EEDB-BB7B-4A6E-ADD8-4E3E159896F8}"/>
                  </a:ext>
                </a:extLst>
              </p:cNvPr>
              <p:cNvSpPr/>
              <p:nvPr/>
            </p:nvSpPr>
            <p:spPr>
              <a:xfrm rot="-1109260">
                <a:off x="7493180" y="3971096"/>
                <a:ext cx="396713" cy="402269"/>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1" name="Google Shape;64;p2">
              <a:extLst>
                <a:ext uri="{FF2B5EF4-FFF2-40B4-BE49-F238E27FC236}">
                  <a16:creationId xmlns:a16="http://schemas.microsoft.com/office/drawing/2014/main" id="{E59F448A-21CE-4C24-B920-61BB83D212B2}"/>
                </a:ext>
              </a:extLst>
            </p:cNvPr>
            <p:cNvSpPr/>
            <p:nvPr/>
          </p:nvSpPr>
          <p:spPr>
            <a:xfrm>
              <a:off x="6255960" y="791694"/>
              <a:ext cx="453103" cy="511439"/>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2" name="Google Shape;65;p2">
              <a:extLst>
                <a:ext uri="{FF2B5EF4-FFF2-40B4-BE49-F238E27FC236}">
                  <a16:creationId xmlns:a16="http://schemas.microsoft.com/office/drawing/2014/main" id="{527558DB-1967-464C-A148-6CC493D60684}"/>
                </a:ext>
              </a:extLst>
            </p:cNvPr>
            <p:cNvSpPr/>
            <p:nvPr/>
          </p:nvSpPr>
          <p:spPr>
            <a:xfrm rot="1799564">
              <a:off x="7155158" y="4556613"/>
              <a:ext cx="351219" cy="440001"/>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3" name="Google Shape;66;p2">
              <a:extLst>
                <a:ext uri="{FF2B5EF4-FFF2-40B4-BE49-F238E27FC236}">
                  <a16:creationId xmlns:a16="http://schemas.microsoft.com/office/drawing/2014/main" id="{6696EF14-D5CC-40FA-AFFE-9EE05B54F2CD}"/>
                </a:ext>
              </a:extLst>
            </p:cNvPr>
            <p:cNvGrpSpPr/>
            <p:nvPr/>
          </p:nvGrpSpPr>
          <p:grpSpPr>
            <a:xfrm>
              <a:off x="7413193" y="740389"/>
              <a:ext cx="289739" cy="482318"/>
              <a:chOff x="4912930" y="846902"/>
              <a:chExt cx="289739" cy="482318"/>
            </a:xfrm>
          </p:grpSpPr>
          <p:sp>
            <p:nvSpPr>
              <p:cNvPr id="84" name="Google Shape;67;p2">
                <a:extLst>
                  <a:ext uri="{FF2B5EF4-FFF2-40B4-BE49-F238E27FC236}">
                    <a16:creationId xmlns:a16="http://schemas.microsoft.com/office/drawing/2014/main" id="{B789A9D7-7032-492B-8E88-FAAFF213085F}"/>
                  </a:ext>
                </a:extLst>
              </p:cNvPr>
              <p:cNvSpPr/>
              <p:nvPr/>
            </p:nvSpPr>
            <p:spPr>
              <a:xfrm rot="-539734">
                <a:off x="4946894" y="1102828"/>
                <a:ext cx="216728" cy="21074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5" name="Google Shape;68;p2">
                <a:extLst>
                  <a:ext uri="{FF2B5EF4-FFF2-40B4-BE49-F238E27FC236}">
                    <a16:creationId xmlns:a16="http://schemas.microsoft.com/office/drawing/2014/main" id="{04D6CFDC-9538-4D9F-8FF0-4602FECC44E8}"/>
                  </a:ext>
                </a:extLst>
              </p:cNvPr>
              <p:cNvSpPr/>
              <p:nvPr/>
            </p:nvSpPr>
            <p:spPr>
              <a:xfrm>
                <a:off x="4912930" y="846902"/>
                <a:ext cx="289739" cy="45623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4" name="Google Shape;69;p2">
              <a:extLst>
                <a:ext uri="{FF2B5EF4-FFF2-40B4-BE49-F238E27FC236}">
                  <a16:creationId xmlns:a16="http://schemas.microsoft.com/office/drawing/2014/main" id="{FF13580C-CB14-4338-9AB3-16D33D789C93}"/>
                </a:ext>
              </a:extLst>
            </p:cNvPr>
            <p:cNvSpPr/>
            <p:nvPr/>
          </p:nvSpPr>
          <p:spPr>
            <a:xfrm>
              <a:off x="7082287" y="-53997"/>
              <a:ext cx="602898" cy="641121"/>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5" name="Google Shape;70;p2">
              <a:extLst>
                <a:ext uri="{FF2B5EF4-FFF2-40B4-BE49-F238E27FC236}">
                  <a16:creationId xmlns:a16="http://schemas.microsoft.com/office/drawing/2014/main" id="{E5A5B5C8-FD14-4385-AE28-FC4CE101CBF1}"/>
                </a:ext>
              </a:extLst>
            </p:cNvPr>
            <p:cNvSpPr/>
            <p:nvPr/>
          </p:nvSpPr>
          <p:spPr>
            <a:xfrm>
              <a:off x="4981978" y="271723"/>
              <a:ext cx="738779" cy="460515"/>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6" name="Google Shape;71;p2">
              <a:extLst>
                <a:ext uri="{FF2B5EF4-FFF2-40B4-BE49-F238E27FC236}">
                  <a16:creationId xmlns:a16="http://schemas.microsoft.com/office/drawing/2014/main" id="{EF0497D5-034D-4BED-B2FD-96D861FDF618}"/>
                </a:ext>
              </a:extLst>
            </p:cNvPr>
            <p:cNvGrpSpPr/>
            <p:nvPr/>
          </p:nvGrpSpPr>
          <p:grpSpPr>
            <a:xfrm>
              <a:off x="7801268" y="2011644"/>
              <a:ext cx="583849" cy="670195"/>
              <a:chOff x="7801268" y="2011644"/>
              <a:chExt cx="583849" cy="670195"/>
            </a:xfrm>
          </p:grpSpPr>
          <p:sp>
            <p:nvSpPr>
              <p:cNvPr id="82" name="Google Shape;72;p2">
                <a:extLst>
                  <a:ext uri="{FF2B5EF4-FFF2-40B4-BE49-F238E27FC236}">
                    <a16:creationId xmlns:a16="http://schemas.microsoft.com/office/drawing/2014/main" id="{17A26FFC-8348-4ABC-A812-F6E26FDB1B85}"/>
                  </a:ext>
                </a:extLst>
              </p:cNvPr>
              <p:cNvSpPr/>
              <p:nvPr/>
            </p:nvSpPr>
            <p:spPr>
              <a:xfrm rot="6678441">
                <a:off x="7840657" y="2123048"/>
                <a:ext cx="518922" cy="40942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3" name="Google Shape;73;p2">
                <a:extLst>
                  <a:ext uri="{FF2B5EF4-FFF2-40B4-BE49-F238E27FC236}">
                    <a16:creationId xmlns:a16="http://schemas.microsoft.com/office/drawing/2014/main" id="{5BD01DDA-6970-4AD9-88E1-5EC430ADC778}"/>
                  </a:ext>
                </a:extLst>
              </p:cNvPr>
              <p:cNvSpPr/>
              <p:nvPr/>
            </p:nvSpPr>
            <p:spPr>
              <a:xfrm rot="-1245048">
                <a:off x="7884626" y="2097617"/>
                <a:ext cx="363919" cy="537176"/>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47" name="Google Shape;74;p2">
              <a:extLst>
                <a:ext uri="{FF2B5EF4-FFF2-40B4-BE49-F238E27FC236}">
                  <a16:creationId xmlns:a16="http://schemas.microsoft.com/office/drawing/2014/main" id="{659C0682-6BC4-4294-943E-0123E3492480}"/>
                </a:ext>
              </a:extLst>
            </p:cNvPr>
            <p:cNvGrpSpPr/>
            <p:nvPr/>
          </p:nvGrpSpPr>
          <p:grpSpPr>
            <a:xfrm>
              <a:off x="286734" y="1360788"/>
              <a:ext cx="437027" cy="515682"/>
              <a:chOff x="286734" y="1360788"/>
              <a:chExt cx="437027" cy="515682"/>
            </a:xfrm>
          </p:grpSpPr>
          <p:sp>
            <p:nvSpPr>
              <p:cNvPr id="80" name="Google Shape;75;p2">
                <a:extLst>
                  <a:ext uri="{FF2B5EF4-FFF2-40B4-BE49-F238E27FC236}">
                    <a16:creationId xmlns:a16="http://schemas.microsoft.com/office/drawing/2014/main" id="{73DCC9B3-C9C8-4AA7-A179-BC5D1EFCFE34}"/>
                  </a:ext>
                </a:extLst>
              </p:cNvPr>
              <p:cNvSpPr/>
              <p:nvPr/>
            </p:nvSpPr>
            <p:spPr>
              <a:xfrm>
                <a:off x="286734" y="1396113"/>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1" name="Google Shape;76;p2">
                <a:extLst>
                  <a:ext uri="{FF2B5EF4-FFF2-40B4-BE49-F238E27FC236}">
                    <a16:creationId xmlns:a16="http://schemas.microsoft.com/office/drawing/2014/main" id="{126F0858-6408-4050-BBCE-F70FADA594F6}"/>
                  </a:ext>
                </a:extLst>
              </p:cNvPr>
              <p:cNvSpPr/>
              <p:nvPr/>
            </p:nvSpPr>
            <p:spPr>
              <a:xfrm>
                <a:off x="313599" y="1360788"/>
                <a:ext cx="410163" cy="515682"/>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8" name="Google Shape;77;p2">
              <a:extLst>
                <a:ext uri="{FF2B5EF4-FFF2-40B4-BE49-F238E27FC236}">
                  <a16:creationId xmlns:a16="http://schemas.microsoft.com/office/drawing/2014/main" id="{A3AA01DC-6A07-4C85-B5EF-4D5A93B2A10D}"/>
                </a:ext>
              </a:extLst>
            </p:cNvPr>
            <p:cNvSpPr/>
            <p:nvPr/>
          </p:nvSpPr>
          <p:spPr>
            <a:xfrm>
              <a:off x="2688787" y="4098763"/>
              <a:ext cx="455682" cy="43272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9" name="Google Shape;78;p2">
              <a:extLst>
                <a:ext uri="{FF2B5EF4-FFF2-40B4-BE49-F238E27FC236}">
                  <a16:creationId xmlns:a16="http://schemas.microsoft.com/office/drawing/2014/main" id="{388C9D55-90F3-4356-87AA-968D9E2FEAF3}"/>
                </a:ext>
              </a:extLst>
            </p:cNvPr>
            <p:cNvSpPr/>
            <p:nvPr/>
          </p:nvSpPr>
          <p:spPr>
            <a:xfrm>
              <a:off x="933400" y="1069738"/>
              <a:ext cx="175646" cy="373020"/>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0" name="Google Shape;79;p2">
              <a:extLst>
                <a:ext uri="{FF2B5EF4-FFF2-40B4-BE49-F238E27FC236}">
                  <a16:creationId xmlns:a16="http://schemas.microsoft.com/office/drawing/2014/main" id="{F3A5549A-876E-45E2-A621-E4C04BEA4816}"/>
                </a:ext>
              </a:extLst>
            </p:cNvPr>
            <p:cNvSpPr/>
            <p:nvPr/>
          </p:nvSpPr>
          <p:spPr>
            <a:xfrm>
              <a:off x="8204352" y="3801552"/>
              <a:ext cx="240787" cy="203050"/>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1" name="Google Shape;80;p2">
              <a:extLst>
                <a:ext uri="{FF2B5EF4-FFF2-40B4-BE49-F238E27FC236}">
                  <a16:creationId xmlns:a16="http://schemas.microsoft.com/office/drawing/2014/main" id="{E19FCB57-4C77-4452-9EDE-9CF05C41F758}"/>
                </a:ext>
              </a:extLst>
            </p:cNvPr>
            <p:cNvSpPr/>
            <p:nvPr/>
          </p:nvSpPr>
          <p:spPr>
            <a:xfrm>
              <a:off x="8204357" y="240186"/>
              <a:ext cx="175884" cy="17472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2" name="Google Shape;81;p2">
              <a:extLst>
                <a:ext uri="{FF2B5EF4-FFF2-40B4-BE49-F238E27FC236}">
                  <a16:creationId xmlns:a16="http://schemas.microsoft.com/office/drawing/2014/main" id="{991E8543-6457-41EF-A093-9737A2F9EE38}"/>
                </a:ext>
              </a:extLst>
            </p:cNvPr>
            <p:cNvGrpSpPr/>
            <p:nvPr/>
          </p:nvGrpSpPr>
          <p:grpSpPr>
            <a:xfrm>
              <a:off x="8513660" y="3273951"/>
              <a:ext cx="236955" cy="259508"/>
              <a:chOff x="1624551" y="3569952"/>
              <a:chExt cx="236955" cy="259508"/>
            </a:xfrm>
          </p:grpSpPr>
          <p:sp>
            <p:nvSpPr>
              <p:cNvPr id="78" name="Google Shape;82;p2">
                <a:extLst>
                  <a:ext uri="{FF2B5EF4-FFF2-40B4-BE49-F238E27FC236}">
                    <a16:creationId xmlns:a16="http://schemas.microsoft.com/office/drawing/2014/main" id="{C7DF3842-B862-4240-8CA8-E8140697D3DC}"/>
                  </a:ext>
                </a:extLst>
              </p:cNvPr>
              <p:cNvSpPr/>
              <p:nvPr/>
            </p:nvSpPr>
            <p:spPr>
              <a:xfrm>
                <a:off x="1624551" y="3569952"/>
                <a:ext cx="224786" cy="22765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9" name="Google Shape;83;p2">
                <a:extLst>
                  <a:ext uri="{FF2B5EF4-FFF2-40B4-BE49-F238E27FC236}">
                    <a16:creationId xmlns:a16="http://schemas.microsoft.com/office/drawing/2014/main" id="{320ACF7E-2D7B-4CBE-B2F6-5E5661CAFDC7}"/>
                  </a:ext>
                </a:extLst>
              </p:cNvPr>
              <p:cNvSpPr/>
              <p:nvPr/>
            </p:nvSpPr>
            <p:spPr>
              <a:xfrm>
                <a:off x="1625368" y="3599553"/>
                <a:ext cx="236138" cy="229907"/>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53" name="Google Shape;84;p2">
              <a:extLst>
                <a:ext uri="{FF2B5EF4-FFF2-40B4-BE49-F238E27FC236}">
                  <a16:creationId xmlns:a16="http://schemas.microsoft.com/office/drawing/2014/main" id="{C2A2A45D-1013-46CC-9BE8-C87DA338C1B2}"/>
                </a:ext>
              </a:extLst>
            </p:cNvPr>
            <p:cNvGrpSpPr/>
            <p:nvPr/>
          </p:nvGrpSpPr>
          <p:grpSpPr>
            <a:xfrm>
              <a:off x="3637530" y="4055057"/>
              <a:ext cx="418773" cy="520154"/>
              <a:chOff x="3637530" y="4055057"/>
              <a:chExt cx="418773" cy="520154"/>
            </a:xfrm>
          </p:grpSpPr>
          <p:sp>
            <p:nvSpPr>
              <p:cNvPr id="76" name="Google Shape;85;p2">
                <a:extLst>
                  <a:ext uri="{FF2B5EF4-FFF2-40B4-BE49-F238E27FC236}">
                    <a16:creationId xmlns:a16="http://schemas.microsoft.com/office/drawing/2014/main" id="{9BEFDE11-15FD-4E8D-A436-F119FB103822}"/>
                  </a:ext>
                </a:extLst>
              </p:cNvPr>
              <p:cNvSpPr/>
              <p:nvPr/>
            </p:nvSpPr>
            <p:spPr>
              <a:xfrm rot="5542319">
                <a:off x="3769303" y="4204066"/>
                <a:ext cx="285154" cy="277283"/>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7" name="Google Shape;86;p2">
                <a:extLst>
                  <a:ext uri="{FF2B5EF4-FFF2-40B4-BE49-F238E27FC236}">
                    <a16:creationId xmlns:a16="http://schemas.microsoft.com/office/drawing/2014/main" id="{FDA24A41-B4F9-4E3A-997E-85B5DAEB1210}"/>
                  </a:ext>
                </a:extLst>
              </p:cNvPr>
              <p:cNvSpPr/>
              <p:nvPr/>
            </p:nvSpPr>
            <p:spPr>
              <a:xfrm rot="9304419">
                <a:off x="3726725" y="4079275"/>
                <a:ext cx="219185" cy="471718"/>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4" name="Google Shape;87;p2">
              <a:extLst>
                <a:ext uri="{FF2B5EF4-FFF2-40B4-BE49-F238E27FC236}">
                  <a16:creationId xmlns:a16="http://schemas.microsoft.com/office/drawing/2014/main" id="{744A2DE7-10E1-4F99-B048-70EE169979E7}"/>
                </a:ext>
              </a:extLst>
            </p:cNvPr>
            <p:cNvSpPr/>
            <p:nvPr/>
          </p:nvSpPr>
          <p:spPr>
            <a:xfrm>
              <a:off x="3033704" y="205770"/>
              <a:ext cx="238646" cy="243555"/>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5" name="Google Shape;88;p2">
              <a:extLst>
                <a:ext uri="{FF2B5EF4-FFF2-40B4-BE49-F238E27FC236}">
                  <a16:creationId xmlns:a16="http://schemas.microsoft.com/office/drawing/2014/main" id="{2AF5F280-BD3E-405D-BEF9-7EC951D2C3B2}"/>
                </a:ext>
              </a:extLst>
            </p:cNvPr>
            <p:cNvSpPr/>
            <p:nvPr/>
          </p:nvSpPr>
          <p:spPr>
            <a:xfrm>
              <a:off x="8737650" y="439219"/>
              <a:ext cx="257856" cy="284838"/>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6" name="Google Shape;89;p2">
              <a:extLst>
                <a:ext uri="{FF2B5EF4-FFF2-40B4-BE49-F238E27FC236}">
                  <a16:creationId xmlns:a16="http://schemas.microsoft.com/office/drawing/2014/main" id="{CD802E64-9278-42FB-B79A-4AC869E37036}"/>
                </a:ext>
              </a:extLst>
            </p:cNvPr>
            <p:cNvSpPr/>
            <p:nvPr/>
          </p:nvSpPr>
          <p:spPr>
            <a:xfrm>
              <a:off x="1334256" y="207258"/>
              <a:ext cx="223503" cy="240600"/>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7" name="Google Shape;90;p2">
              <a:extLst>
                <a:ext uri="{FF2B5EF4-FFF2-40B4-BE49-F238E27FC236}">
                  <a16:creationId xmlns:a16="http://schemas.microsoft.com/office/drawing/2014/main" id="{5F0111DC-8D76-4C1A-8432-67D8400F8F34}"/>
                </a:ext>
              </a:extLst>
            </p:cNvPr>
            <p:cNvSpPr/>
            <p:nvPr/>
          </p:nvSpPr>
          <p:spPr>
            <a:xfrm>
              <a:off x="7053257" y="3763614"/>
              <a:ext cx="204383" cy="27891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8" name="Google Shape;91;p2">
              <a:extLst>
                <a:ext uri="{FF2B5EF4-FFF2-40B4-BE49-F238E27FC236}">
                  <a16:creationId xmlns:a16="http://schemas.microsoft.com/office/drawing/2014/main" id="{04D85F76-A436-4F44-A271-5812B6E37004}"/>
                </a:ext>
              </a:extLst>
            </p:cNvPr>
            <p:cNvSpPr/>
            <p:nvPr/>
          </p:nvSpPr>
          <p:spPr>
            <a:xfrm>
              <a:off x="711508" y="3001159"/>
              <a:ext cx="154433" cy="272786"/>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9" name="Google Shape;92;p2">
              <a:extLst>
                <a:ext uri="{FF2B5EF4-FFF2-40B4-BE49-F238E27FC236}">
                  <a16:creationId xmlns:a16="http://schemas.microsoft.com/office/drawing/2014/main" id="{1BD1C5A8-F98B-423D-96AC-88AEC1AE8FAD}"/>
                </a:ext>
              </a:extLst>
            </p:cNvPr>
            <p:cNvSpPr/>
            <p:nvPr/>
          </p:nvSpPr>
          <p:spPr>
            <a:xfrm>
              <a:off x="8576875" y="2558027"/>
              <a:ext cx="223822" cy="307981"/>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0" name="Google Shape;93;p2">
              <a:extLst>
                <a:ext uri="{FF2B5EF4-FFF2-40B4-BE49-F238E27FC236}">
                  <a16:creationId xmlns:a16="http://schemas.microsoft.com/office/drawing/2014/main" id="{D358510C-7FE3-4EC0-A6FC-0C87AEC9D1BC}"/>
                </a:ext>
              </a:extLst>
            </p:cNvPr>
            <p:cNvSpPr/>
            <p:nvPr/>
          </p:nvSpPr>
          <p:spPr>
            <a:xfrm>
              <a:off x="140852" y="836409"/>
              <a:ext cx="224053" cy="290283"/>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61" name="Google Shape;94;p2">
              <a:extLst>
                <a:ext uri="{FF2B5EF4-FFF2-40B4-BE49-F238E27FC236}">
                  <a16:creationId xmlns:a16="http://schemas.microsoft.com/office/drawing/2014/main" id="{9062A484-71B7-4182-B701-AF300989DB6F}"/>
                </a:ext>
              </a:extLst>
            </p:cNvPr>
            <p:cNvGrpSpPr/>
            <p:nvPr/>
          </p:nvGrpSpPr>
          <p:grpSpPr>
            <a:xfrm>
              <a:off x="6457245" y="4530131"/>
              <a:ext cx="216066" cy="276377"/>
              <a:chOff x="6422295" y="3351500"/>
              <a:chExt cx="252856" cy="323399"/>
            </a:xfrm>
          </p:grpSpPr>
          <p:sp>
            <p:nvSpPr>
              <p:cNvPr id="74" name="Google Shape;95;p2">
                <a:extLst>
                  <a:ext uri="{FF2B5EF4-FFF2-40B4-BE49-F238E27FC236}">
                    <a16:creationId xmlns:a16="http://schemas.microsoft.com/office/drawing/2014/main" id="{D5B2D0E3-2414-483A-A92C-B41C7C2F4383}"/>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5" name="Google Shape;96;p2">
                <a:extLst>
                  <a:ext uri="{FF2B5EF4-FFF2-40B4-BE49-F238E27FC236}">
                    <a16:creationId xmlns:a16="http://schemas.microsoft.com/office/drawing/2014/main" id="{4B02C55D-41F4-4253-8C65-32414270B842}"/>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62" name="Google Shape;97;p2">
              <a:extLst>
                <a:ext uri="{FF2B5EF4-FFF2-40B4-BE49-F238E27FC236}">
                  <a16:creationId xmlns:a16="http://schemas.microsoft.com/office/drawing/2014/main" id="{4B42BFA4-94A2-47FB-884C-087EEABE659B}"/>
                </a:ext>
              </a:extLst>
            </p:cNvPr>
            <p:cNvGrpSpPr/>
            <p:nvPr/>
          </p:nvGrpSpPr>
          <p:grpSpPr>
            <a:xfrm>
              <a:off x="2318449" y="604142"/>
              <a:ext cx="332332" cy="346582"/>
              <a:chOff x="2318449" y="604142"/>
              <a:chExt cx="332332" cy="346582"/>
            </a:xfrm>
          </p:grpSpPr>
          <p:sp>
            <p:nvSpPr>
              <p:cNvPr id="72" name="Google Shape;98;p2">
                <a:extLst>
                  <a:ext uri="{FF2B5EF4-FFF2-40B4-BE49-F238E27FC236}">
                    <a16:creationId xmlns:a16="http://schemas.microsoft.com/office/drawing/2014/main" id="{45BFEA4F-7187-48C0-BE71-F050BBD1D2AC}"/>
                  </a:ext>
                </a:extLst>
              </p:cNvPr>
              <p:cNvSpPr/>
              <p:nvPr/>
            </p:nvSpPr>
            <p:spPr>
              <a:xfrm>
                <a:off x="2361884" y="604142"/>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3" name="Google Shape;99;p2">
                <a:extLst>
                  <a:ext uri="{FF2B5EF4-FFF2-40B4-BE49-F238E27FC236}">
                    <a16:creationId xmlns:a16="http://schemas.microsoft.com/office/drawing/2014/main" id="{5E5C0466-3ECB-4D2F-A47F-B12B99490945}"/>
                  </a:ext>
                </a:extLst>
              </p:cNvPr>
              <p:cNvSpPr/>
              <p:nvPr/>
            </p:nvSpPr>
            <p:spPr>
              <a:xfrm>
                <a:off x="2318449" y="613815"/>
                <a:ext cx="332332" cy="336908"/>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3" name="Google Shape;100;p2">
              <a:extLst>
                <a:ext uri="{FF2B5EF4-FFF2-40B4-BE49-F238E27FC236}">
                  <a16:creationId xmlns:a16="http://schemas.microsoft.com/office/drawing/2014/main" id="{FA513803-C6DB-4A96-B1CD-9E139ADB0FB6}"/>
                </a:ext>
              </a:extLst>
            </p:cNvPr>
            <p:cNvSpPr/>
            <p:nvPr/>
          </p:nvSpPr>
          <p:spPr>
            <a:xfrm>
              <a:off x="6021196" y="137179"/>
              <a:ext cx="265484" cy="205157"/>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64" name="Google Shape;101;p2">
              <a:extLst>
                <a:ext uri="{FF2B5EF4-FFF2-40B4-BE49-F238E27FC236}">
                  <a16:creationId xmlns:a16="http://schemas.microsoft.com/office/drawing/2014/main" id="{B80C4209-0690-4AAC-BF88-3AB881D5F86A}"/>
                </a:ext>
              </a:extLst>
            </p:cNvPr>
            <p:cNvGrpSpPr/>
            <p:nvPr/>
          </p:nvGrpSpPr>
          <p:grpSpPr>
            <a:xfrm>
              <a:off x="1184427" y="4630083"/>
              <a:ext cx="229693" cy="293080"/>
              <a:chOff x="6793660" y="3322411"/>
              <a:chExt cx="268804" cy="342944"/>
            </a:xfrm>
          </p:grpSpPr>
          <p:sp>
            <p:nvSpPr>
              <p:cNvPr id="69" name="Google Shape;102;p2">
                <a:extLst>
                  <a:ext uri="{FF2B5EF4-FFF2-40B4-BE49-F238E27FC236}">
                    <a16:creationId xmlns:a16="http://schemas.microsoft.com/office/drawing/2014/main" id="{B923C977-ADAA-4F71-9F28-0DB582894E5B}"/>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0" name="Google Shape;103;p2">
                <a:extLst>
                  <a:ext uri="{FF2B5EF4-FFF2-40B4-BE49-F238E27FC236}">
                    <a16:creationId xmlns:a16="http://schemas.microsoft.com/office/drawing/2014/main" id="{A15BC7F6-A2A2-4D19-AC66-B91FA8853697}"/>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1" name="Google Shape;104;p2">
                <a:extLst>
                  <a:ext uri="{FF2B5EF4-FFF2-40B4-BE49-F238E27FC236}">
                    <a16:creationId xmlns:a16="http://schemas.microsoft.com/office/drawing/2014/main" id="{9FEC534F-B9AF-47D0-9970-81E5E96067BD}"/>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5" name="Google Shape;105;p2">
              <a:extLst>
                <a:ext uri="{FF2B5EF4-FFF2-40B4-BE49-F238E27FC236}">
                  <a16:creationId xmlns:a16="http://schemas.microsoft.com/office/drawing/2014/main" id="{3C5A8E4E-2D95-42E0-BFF6-55CD715703A5}"/>
                </a:ext>
              </a:extLst>
            </p:cNvPr>
            <p:cNvSpPr/>
            <p:nvPr/>
          </p:nvSpPr>
          <p:spPr>
            <a:xfrm>
              <a:off x="4843337" y="836403"/>
              <a:ext cx="377232" cy="204888"/>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6" name="Google Shape;106;p2">
              <a:extLst>
                <a:ext uri="{FF2B5EF4-FFF2-40B4-BE49-F238E27FC236}">
                  <a16:creationId xmlns:a16="http://schemas.microsoft.com/office/drawing/2014/main" id="{7401099E-BCAB-4984-9156-073D0B5C8ADF}"/>
                </a:ext>
              </a:extLst>
            </p:cNvPr>
            <p:cNvSpPr/>
            <p:nvPr/>
          </p:nvSpPr>
          <p:spPr>
            <a:xfrm rot="-2218186">
              <a:off x="-38492" y="151543"/>
              <a:ext cx="236276" cy="230041"/>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7" name="Google Shape;107;p2">
              <a:extLst>
                <a:ext uri="{FF2B5EF4-FFF2-40B4-BE49-F238E27FC236}">
                  <a16:creationId xmlns:a16="http://schemas.microsoft.com/office/drawing/2014/main" id="{F99A971C-E4E0-4CA7-8E34-DA50FE569F9B}"/>
                </a:ext>
              </a:extLst>
            </p:cNvPr>
            <p:cNvSpPr/>
            <p:nvPr/>
          </p:nvSpPr>
          <p:spPr>
            <a:xfrm rot="1464154">
              <a:off x="4569091" y="-94554"/>
              <a:ext cx="235935" cy="229710"/>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8" name="Google Shape;108;p2">
              <a:extLst>
                <a:ext uri="{FF2B5EF4-FFF2-40B4-BE49-F238E27FC236}">
                  <a16:creationId xmlns:a16="http://schemas.microsoft.com/office/drawing/2014/main" id="{C5971175-E8D4-45D8-BFD0-4CA9D07EEE87}"/>
                </a:ext>
              </a:extLst>
            </p:cNvPr>
            <p:cNvSpPr/>
            <p:nvPr/>
          </p:nvSpPr>
          <p:spPr>
            <a:xfrm rot="-2221343">
              <a:off x="1866371" y="3538528"/>
              <a:ext cx="206347" cy="200902"/>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Tree>
    <p:extLst>
      <p:ext uri="{BB962C8B-B14F-4D97-AF65-F5344CB8AC3E}">
        <p14:creationId xmlns:p14="http://schemas.microsoft.com/office/powerpoint/2010/main" val="22360431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ADF89E-7B46-457A-968E-2EC4E643C292}"/>
              </a:ext>
            </a:extLst>
          </p:cNvPr>
          <p:cNvGraphicFramePr>
            <a:graphicFrameLocks noChangeAspect="1"/>
          </p:cNvGraphicFramePr>
          <p:nvPr userDrawn="1">
            <p:custDataLst>
              <p:tags r:id="rId1"/>
            </p:custDataLst>
            <p:extLst>
              <p:ext uri="{D42A27DB-BD31-4B8C-83A1-F6EECF244321}">
                <p14:modId xmlns:p14="http://schemas.microsoft.com/office/powerpoint/2010/main" val="353762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5BADF89E-7B46-457A-968E-2EC4E643C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endParaRPr lang="da-DK"/>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da-DK" smtClean="0"/>
              <a:pPr/>
              <a:t>19-06-2024</a:t>
            </a:fld>
            <a:endParaRPr lang="da-DK"/>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9907839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181633-8F80-4D7E-B046-3481FFAD6D62}"/>
              </a:ext>
            </a:extLst>
          </p:cNvPr>
          <p:cNvGraphicFramePr>
            <a:graphicFrameLocks noChangeAspect="1"/>
          </p:cNvGraphicFramePr>
          <p:nvPr userDrawn="1">
            <p:custDataLst>
              <p:tags r:id="rId1"/>
            </p:custDataLst>
            <p:extLst>
              <p:ext uri="{D42A27DB-BD31-4B8C-83A1-F6EECF244321}">
                <p14:modId xmlns:p14="http://schemas.microsoft.com/office/powerpoint/2010/main" val="1089424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A3181633-8F80-4D7E-B046-3481FFAD6D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da-DK" smtClean="0"/>
              <a:pPr/>
              <a:t>19-06-2024</a:t>
            </a:fld>
            <a:endParaRPr lang="da-DK"/>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9548526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AAEEF4-43C5-4FEC-A7AB-DEFE097F5DBF}"/>
              </a:ext>
            </a:extLst>
          </p:cNvPr>
          <p:cNvGraphicFramePr>
            <a:graphicFrameLocks noChangeAspect="1"/>
          </p:cNvGraphicFramePr>
          <p:nvPr userDrawn="1">
            <p:custDataLst>
              <p:tags r:id="rId1"/>
            </p:custDataLst>
            <p:extLst>
              <p:ext uri="{D42A27DB-BD31-4B8C-83A1-F6EECF244321}">
                <p14:modId xmlns:p14="http://schemas.microsoft.com/office/powerpoint/2010/main" val="2892288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0FAAEEF4-43C5-4FEC-A7AB-DEFE097F5D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8E8C12B2-0AE5-428E-985F-E18D4DA17AC7}" type="datetime1">
              <a:rPr lang="da-DK" smtClean="0"/>
              <a:pPr/>
              <a:t>19-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360000" y="654050"/>
            <a:ext cx="11471638" cy="938213"/>
          </a:xfrm>
        </p:spPr>
        <p:txBody>
          <a:bodyPr vert="horz" anchor="t" anchorCtr="0"/>
          <a:lstStyle>
            <a:lvl1pPr algn="l" rtl="0">
              <a:defRPr sz="6000">
                <a:solidFill>
                  <a:schemeClr val="bg2"/>
                </a:solidFill>
              </a:defRPr>
            </a:lvl1pPr>
          </a:lstStyle>
          <a:p>
            <a:r>
              <a:rPr lang="da-DK" noProof="0"/>
              <a:t>Click to add </a:t>
            </a:r>
            <a:r>
              <a:rPr lang="da-DK"/>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97425276"/>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E477C6-0E0F-4923-9BE1-6EA202782F14}"/>
              </a:ext>
            </a:extLst>
          </p:cNvPr>
          <p:cNvGraphicFramePr>
            <a:graphicFrameLocks noChangeAspect="1"/>
          </p:cNvGraphicFramePr>
          <p:nvPr userDrawn="1">
            <p:custDataLst>
              <p:tags r:id="rId1"/>
            </p:custDataLst>
            <p:extLst>
              <p:ext uri="{D42A27DB-BD31-4B8C-83A1-F6EECF244321}">
                <p14:modId xmlns:p14="http://schemas.microsoft.com/office/powerpoint/2010/main" val="372322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F6E477C6-0E0F-4923-9BE1-6EA202782F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65259D24-E6A6-4D69-90CB-83073E8387B2}" type="datetime1">
              <a:rPr lang="da-DK" smtClean="0"/>
              <a:pPr/>
              <a:t>19-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42857538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D6712D-8349-4452-83F4-F74B096DC8E1}"/>
              </a:ext>
            </a:extLst>
          </p:cNvPr>
          <p:cNvGraphicFramePr>
            <a:graphicFrameLocks noChangeAspect="1"/>
          </p:cNvGraphicFramePr>
          <p:nvPr userDrawn="1">
            <p:custDataLst>
              <p:tags r:id="rId1"/>
            </p:custDataLst>
            <p:extLst>
              <p:ext uri="{D42A27DB-BD31-4B8C-83A1-F6EECF244321}">
                <p14:modId xmlns:p14="http://schemas.microsoft.com/office/powerpoint/2010/main" val="4174081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F9D6712D-8349-4452-83F4-F74B096DC8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19-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1"/>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3980217615"/>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63C12A-5A0C-47F1-A66E-EB845B95A278}"/>
              </a:ext>
            </a:extLst>
          </p:cNvPr>
          <p:cNvGraphicFramePr>
            <a:graphicFrameLocks noChangeAspect="1"/>
          </p:cNvGraphicFramePr>
          <p:nvPr userDrawn="1">
            <p:custDataLst>
              <p:tags r:id="rId1"/>
            </p:custDataLst>
            <p:extLst>
              <p:ext uri="{D42A27DB-BD31-4B8C-83A1-F6EECF244321}">
                <p14:modId xmlns:p14="http://schemas.microsoft.com/office/powerpoint/2010/main" val="342257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063C12A-5A0C-47F1-A66E-EB845B95A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19-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2"/>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223647738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2FAD87-12DE-4F46-A7FF-9DA753895102}"/>
              </a:ext>
            </a:extLst>
          </p:cNvPr>
          <p:cNvGraphicFramePr>
            <a:graphicFrameLocks noChangeAspect="1"/>
          </p:cNvGraphicFramePr>
          <p:nvPr userDrawn="1">
            <p:custDataLst>
              <p:tags r:id="rId1"/>
            </p:custDataLst>
            <p:extLst>
              <p:ext uri="{D42A27DB-BD31-4B8C-83A1-F6EECF244321}">
                <p14:modId xmlns:p14="http://schemas.microsoft.com/office/powerpoint/2010/main" val="1963756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632FAD87-12DE-4F46-A7FF-9DA7538951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A6F26645-C2A2-4B76-9EB3-5D9CA57B224A}" type="datetime1">
              <a:rPr lang="da-DK" smtClean="0"/>
              <a:pPr/>
              <a:t>19-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84137119"/>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611428-C7C8-414E-980A-EBF482F7239B}"/>
              </a:ext>
            </a:extLst>
          </p:cNvPr>
          <p:cNvGraphicFramePr>
            <a:graphicFrameLocks noChangeAspect="1"/>
          </p:cNvGraphicFramePr>
          <p:nvPr userDrawn="1">
            <p:custDataLst>
              <p:tags r:id="rId1"/>
            </p:custDataLst>
            <p:extLst>
              <p:ext uri="{D42A27DB-BD31-4B8C-83A1-F6EECF244321}">
                <p14:modId xmlns:p14="http://schemas.microsoft.com/office/powerpoint/2010/main" val="2844534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A611428-C7C8-414E-980A-EBF482F723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F25BA43C-8502-4266-A056-72866794E701}" type="datetime1">
              <a:rPr lang="da-DK" smtClean="0"/>
              <a:pPr/>
              <a:t>19-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a:t>
            </a:fld>
            <a:endParaRPr lang="da-DK"/>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952240583"/>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8377B1-4288-46FB-ADCE-D255A6EB9D3D}"/>
              </a:ext>
            </a:extLst>
          </p:cNvPr>
          <p:cNvGraphicFramePr>
            <a:graphicFrameLocks noChangeAspect="1"/>
          </p:cNvGraphicFramePr>
          <p:nvPr userDrawn="1">
            <p:custDataLst>
              <p:tags r:id="rId1"/>
            </p:custDataLst>
            <p:extLst>
              <p:ext uri="{D42A27DB-BD31-4B8C-83A1-F6EECF244321}">
                <p14:modId xmlns:p14="http://schemas.microsoft.com/office/powerpoint/2010/main" val="87699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0D8377B1-4288-46FB-ADCE-D255A6EB9D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5"/>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PICTURES</a:t>
            </a:r>
            <a:br>
              <a:rPr lang="da-DK" sz="900">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Insert corporate picture from Templafy</a:t>
            </a: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rgbClr val="333333"/>
                </a:solidFill>
                <a:latin typeface="+mn-lt"/>
                <a:cs typeface="Verdana" panose="020B0604030504040204" pitchFamily="34" charset="0"/>
              </a:rPr>
              <a:t>1.</a:t>
            </a:r>
            <a:r>
              <a:rPr lang="da-DK" altLang="da-DK" sz="900" b="0" noProof="1">
                <a:solidFill>
                  <a:srgbClr val="333333"/>
                </a:solidFill>
                <a:latin typeface="+mn-lt"/>
                <a:cs typeface="Verdana" panose="020B0604030504040204" pitchFamily="34" charset="0"/>
              </a:rPr>
              <a:t> Click the blue </a:t>
            </a:r>
            <a:r>
              <a:rPr lang="da-DK" altLang="da-DK" sz="900" b="1" baseline="0" noProof="1">
                <a:solidFill>
                  <a:srgbClr val="333333"/>
                </a:solidFill>
                <a:latin typeface="+mn-lt"/>
                <a:cs typeface="Verdana" panose="020B0604030504040204" pitchFamily="34" charset="0"/>
              </a:rPr>
              <a:t>Templafy </a:t>
            </a:r>
            <a:r>
              <a:rPr lang="da-DK"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2. </a:t>
            </a:r>
            <a:r>
              <a:rPr lang="da-DK" altLang="da-DK" sz="900" b="0" baseline="0" noProof="1">
                <a:solidFill>
                  <a:srgbClr val="333333"/>
                </a:solidFill>
                <a:latin typeface="+mn-lt"/>
                <a:cs typeface="Verdana" panose="020B0604030504040204" pitchFamily="34" charset="0"/>
              </a:rPr>
              <a:t>In the dropdown, click </a:t>
            </a:r>
            <a:r>
              <a:rPr lang="da-DK" altLang="da-DK" sz="900" b="1" baseline="0" noProof="1">
                <a:solidFill>
                  <a:srgbClr val="333333"/>
                </a:solidFill>
                <a:latin typeface="+mn-lt"/>
                <a:cs typeface="Verdana" panose="020B0604030504040204" pitchFamily="34" charset="0"/>
              </a:rPr>
              <a:t>Images</a:t>
            </a:r>
            <a:r>
              <a:rPr lang="da-DK" altLang="da-DK" sz="900" b="0" baseline="0" noProof="1">
                <a:solidFill>
                  <a:srgbClr val="333333"/>
                </a:solidFill>
                <a:latin typeface="+mn-lt"/>
                <a:cs typeface="Verdana" panose="020B0604030504040204" pitchFamily="34" charset="0"/>
              </a:rPr>
              <a:t>, or click the </a:t>
            </a:r>
            <a:r>
              <a:rPr lang="da-DK" altLang="da-DK" sz="900" b="1" baseline="0" noProof="1">
                <a:solidFill>
                  <a:srgbClr val="333333"/>
                </a:solidFill>
                <a:latin typeface="+mn-lt"/>
                <a:cs typeface="Verdana" panose="020B0604030504040204" pitchFamily="34" charset="0"/>
              </a:rPr>
              <a:t>Images </a:t>
            </a:r>
            <a:r>
              <a:rPr lang="da-DK" altLang="da-DK" sz="900" b="0" i="0" baseline="0" noProof="1">
                <a:solidFill>
                  <a:srgbClr val="333333"/>
                </a:solidFill>
                <a:latin typeface="+mn-lt"/>
                <a:cs typeface="Verdana" panose="020B0604030504040204" pitchFamily="34" charset="0"/>
              </a:rPr>
              <a:t>button</a:t>
            </a:r>
            <a:r>
              <a:rPr lang="da-DK" altLang="da-DK" sz="900" b="0" baseline="0" noProof="1">
                <a:solidFill>
                  <a:srgbClr val="333333"/>
                </a:solidFill>
                <a:latin typeface="+mn-lt"/>
                <a:cs typeface="Verdana" panose="020B0604030504040204" pitchFamily="34" charset="0"/>
              </a:rPr>
              <a:t> in the Templafy pane on the right side of the screen</a:t>
            </a:r>
            <a:endParaRPr lang="da-DK"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Insert picture</a:t>
            </a:r>
          </a:p>
          <a:p>
            <a:pPr rtl="0" eaLnBrk="1" hangingPunct="1">
              <a:spcAft>
                <a:spcPts val="600"/>
              </a:spcAft>
              <a:defRPr/>
            </a:pPr>
            <a:r>
              <a:rPr lang="da-DK" altLang="da-DK" sz="900" b="0" noProof="1">
                <a:solidFill>
                  <a:srgbClr val="333333"/>
                </a:solidFill>
                <a:latin typeface="+mn-lt"/>
                <a:cs typeface="Verdana" panose="020B0604030504040204" pitchFamily="34" charset="0"/>
              </a:rPr>
              <a:t>On slides with pictureplaceholder, click on the icon and choose </a:t>
            </a:r>
            <a:r>
              <a:rPr lang="da-DK" altLang="da-DK" sz="900" b="1" noProof="1">
                <a:solidFill>
                  <a:srgbClr val="333333"/>
                </a:solidFill>
                <a:latin typeface="+mn-lt"/>
                <a:cs typeface="Verdana" panose="020B0604030504040204" pitchFamily="34" charset="0"/>
              </a:rPr>
              <a:t>Insert</a:t>
            </a:r>
          </a:p>
          <a:p>
            <a:pPr rtl="0" eaLnBrk="1" hangingPunct="1">
              <a:spcBef>
                <a:spcPts val="1200"/>
              </a:spcBef>
              <a:spcAft>
                <a:spcPts val="600"/>
              </a:spcAft>
              <a:defRPr/>
            </a:pPr>
            <a:r>
              <a:rPr lang="da-DK" sz="900" b="1" noProof="1">
                <a:solidFill>
                  <a:srgbClr val="333333"/>
                </a:solidFill>
                <a:latin typeface="+mn-lt"/>
                <a:cs typeface="Verdana" panose="020B0604030504040204" pitchFamily="34" charset="0"/>
              </a:rPr>
              <a:t>Crop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1. </a:t>
            </a: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Crop</a:t>
            </a:r>
            <a:r>
              <a:rPr lang="da-DK" altLang="da-DK" sz="900" b="0" noProof="1">
                <a:solidFill>
                  <a:srgbClr val="333333"/>
                </a:solidFill>
                <a:latin typeface="+mn-lt"/>
                <a:cs typeface="Verdana" panose="020B0604030504040204" pitchFamily="34" charset="0"/>
              </a:rPr>
              <a:t> to change size or focus of the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If you want to scale the picture, hold </a:t>
            </a:r>
            <a:r>
              <a:rPr lang="da-DK" altLang="da-DK" sz="900" b="1" noProof="1">
                <a:solidFill>
                  <a:srgbClr val="333333"/>
                </a:solidFill>
                <a:latin typeface="+mn-lt"/>
                <a:cs typeface="Verdana" panose="020B0604030504040204" pitchFamily="34" charset="0"/>
              </a:rPr>
              <a:t>SHIFT</a:t>
            </a:r>
            <a:r>
              <a:rPr lang="da-DK" altLang="da-DK" sz="900" b="0" noProof="1">
                <a:solidFill>
                  <a:srgbClr val="333333"/>
                </a:solidFill>
                <a:latin typeface="+mn-lt"/>
                <a:cs typeface="Verdana" panose="020B0604030504040204" pitchFamily="34" charset="0"/>
              </a:rPr>
              <a:t>-key down while dragging the corners of the picture</a:t>
            </a:r>
            <a:br>
              <a:rPr lang="da-DK" altLang="da-DK" sz="900" b="0" noProof="1">
                <a:solidFill>
                  <a:srgbClr val="333333"/>
                </a:solidFill>
                <a:latin typeface="+mn-lt"/>
                <a:cs typeface="Verdana" panose="020B0604030504040204" pitchFamily="34" charset="0"/>
              </a:rPr>
            </a:b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t>
            </a:r>
            <a:r>
              <a:rPr lang="da-DK"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da-DK"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GUIDES</a:t>
            </a:r>
            <a:endParaRPr lang="da-DK" sz="1600" b="1"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Click the </a:t>
            </a:r>
            <a:r>
              <a:rPr lang="da-DK" altLang="da-DK" sz="900" b="1" noProof="1">
                <a:solidFill>
                  <a:srgbClr val="333333"/>
                </a:solidFill>
                <a:latin typeface="+mn-lt"/>
                <a:cs typeface="Verdana" panose="020B0604030504040204" pitchFamily="34" charset="0"/>
              </a:rPr>
              <a:t>View</a:t>
            </a:r>
            <a:r>
              <a:rPr lang="da-DK" altLang="da-DK" sz="900" b="0" noProof="1">
                <a:solidFill>
                  <a:srgbClr val="333333"/>
                </a:solidFill>
                <a:latin typeface="+mn-lt"/>
                <a:cs typeface="Verdana" panose="020B0604030504040204" pitchFamily="34" charset="0"/>
              </a:rPr>
              <a:t> tab and set tick mark next to </a:t>
            </a:r>
            <a:r>
              <a:rPr lang="da-DK" altLang="da-DK" sz="900" b="1" noProof="1">
                <a:solidFill>
                  <a:srgbClr val="333333"/>
                </a:solidFill>
                <a:latin typeface="+mn-lt"/>
                <a:cs typeface="Verdana" panose="020B0604030504040204" pitchFamily="34" charset="0"/>
              </a:rPr>
              <a:t>Guides</a:t>
            </a: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lt + F9 </a:t>
            </a:r>
            <a:r>
              <a:rPr lang="da-DK" altLang="da-DK" sz="900" b="0" noProof="1">
                <a:solidFill>
                  <a:srgbClr val="333333"/>
                </a:solidFill>
                <a:latin typeface="+mn-lt"/>
                <a:cs typeface="Verdana" panose="020B0604030504040204" pitchFamily="34" charset="0"/>
              </a:rPr>
              <a:t>for quick view of guides</a:t>
            </a: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Mac: </a:t>
            </a:r>
            <a:r>
              <a:rPr lang="da-DK" sz="900" b="0" i="0">
                <a:solidFill>
                  <a:srgbClr val="333333"/>
                </a:solidFill>
                <a:effectLst/>
                <a:latin typeface="Verdana"/>
              </a:rPr>
              <a:t>⌘ </a:t>
            </a:r>
            <a:r>
              <a:rPr lang="da-DK"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8"/>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HEADER &amp; FOOTER</a:t>
            </a:r>
          </a:p>
          <a:p>
            <a:pPr rtl="0" eaLnBrk="1" hangingPunct="1">
              <a:spcAft>
                <a:spcPts val="600"/>
              </a:spcAft>
              <a:defRPr/>
            </a:pPr>
            <a:r>
              <a:rPr lang="da-DK" altLang="da-DK" sz="900" b="0" noProof="1">
                <a:solidFill>
                  <a:srgbClr val="333333"/>
                </a:solidFill>
                <a:latin typeface="+mn-lt"/>
                <a:cs typeface="Verdana" panose="020B0604030504040204" pitchFamily="34" charset="0"/>
              </a:rPr>
              <a:t>Do this at the very end to apply the changes on all slides</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on </a:t>
            </a:r>
            <a:r>
              <a:rPr lang="da-DK" altLang="da-DK" sz="900" b="1" noProof="1">
                <a:solidFill>
                  <a:srgbClr val="333333"/>
                </a:solidFill>
                <a:latin typeface="+mn-lt"/>
                <a:cs typeface="Verdana" panose="020B0604030504040204" pitchFamily="34" charset="0"/>
              </a:rPr>
              <a:t>Header and Footer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Insert</a:t>
            </a:r>
            <a:r>
              <a:rPr lang="da-DK" altLang="da-DK" sz="9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Apply to All </a:t>
            </a:r>
            <a:r>
              <a:rPr lang="da-DK" altLang="da-DK" sz="900" b="0" noProof="1">
                <a:solidFill>
                  <a:srgbClr val="333333"/>
                </a:solidFill>
                <a:latin typeface="+mn-lt"/>
                <a:cs typeface="Verdana" panose="020B0604030504040204" pitchFamily="34" charset="0"/>
              </a:rPr>
              <a:t>or </a:t>
            </a:r>
            <a:r>
              <a:rPr lang="da-DK" altLang="da-DK" sz="900" b="1" noProof="1">
                <a:solidFill>
                  <a:srgbClr val="333333"/>
                </a:solidFill>
                <a:latin typeface="+mn-lt"/>
                <a:cs typeface="Verdana" panose="020B0604030504040204" pitchFamily="34" charset="0"/>
              </a:rPr>
              <a:t>Apply</a:t>
            </a:r>
            <a:r>
              <a:rPr lang="da-DK" altLang="da-DK" sz="900" b="0" noProof="1">
                <a:solidFill>
                  <a:srgbClr val="333333"/>
                </a:solidFill>
                <a:latin typeface="+mn-lt"/>
                <a:cs typeface="Verdana" panose="020B0604030504040204" pitchFamily="34" charset="0"/>
              </a:rPr>
              <a:t> if only used on one slide</a:t>
            </a: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1600" b="0" noProof="1">
                <a:solidFill>
                  <a:srgbClr val="333333"/>
                </a:solidFill>
                <a:latin typeface="+mn-lt"/>
                <a:cs typeface="Verdana" panose="020B0604030504040204" pitchFamily="34" charset="0"/>
              </a:rPr>
              <a:t>COPY/PASTE CONTENT</a:t>
            </a:r>
          </a:p>
          <a:p>
            <a:pPr rtl="0" eaLnBrk="1" hangingPunct="1">
              <a:spcAft>
                <a:spcPts val="600"/>
              </a:spcAft>
              <a:defRPr/>
            </a:pPr>
            <a:r>
              <a:rPr lang="da-DK" altLang="da-DK" sz="9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600"/>
              </a:spcAft>
              <a:defRPr/>
            </a:pPr>
            <a:r>
              <a:rPr lang="da-DK" altLang="da-DK" sz="900" b="1" noProof="1">
                <a:solidFill>
                  <a:srgbClr val="333333"/>
                </a:solidFill>
                <a:latin typeface="+mn-lt"/>
                <a:cs typeface="Verdana" panose="020B0604030504040204" pitchFamily="34" charset="0"/>
              </a:rPr>
              <a:t>1. Best practice: </a:t>
            </a:r>
            <a:r>
              <a:rPr lang="da-DK" altLang="da-DK" sz="900" b="0" noProof="1">
                <a:solidFill>
                  <a:srgbClr val="333333"/>
                </a:solidFill>
                <a:latin typeface="+mn-lt"/>
                <a:cs typeface="Verdana" panose="020B0604030504040204" pitchFamily="34" charset="0"/>
              </a:rPr>
              <a:t>Create a slide in your new presentation and copy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piece of content at a time (e.g. copy all text from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textbox)</a:t>
            </a:r>
            <a:endParaRPr lang="da-DK" altLang="da-DK" sz="900" b="1" i="0" u="sng"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da-DK" altLang="da-DK" sz="900" b="1" noProof="1">
              <a:solidFill>
                <a:srgbClr val="333333"/>
              </a:solidFill>
              <a:latin typeface="+mn-lt"/>
              <a:cs typeface="Verdana" panose="020B0604030504040204" pitchFamily="34" charset="0"/>
            </a:endParaRP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Insert predefined slides and elements from the Templafy button. Choose </a:t>
            </a:r>
            <a:r>
              <a:rPr lang="da-DK" altLang="da-DK" sz="900" b="1" noProof="1">
                <a:solidFill>
                  <a:srgbClr val="333333"/>
                </a:solidFill>
                <a:latin typeface="+mn-lt"/>
                <a:cs typeface="Verdana" panose="020B0604030504040204" pitchFamily="34" charset="0"/>
              </a:rPr>
              <a:t>Slides</a:t>
            </a:r>
            <a:r>
              <a:rPr lang="da-DK" altLang="da-DK" sz="900" b="0" noProof="1">
                <a:solidFill>
                  <a:srgbClr val="333333"/>
                </a:solidFill>
                <a:latin typeface="+mn-lt"/>
                <a:cs typeface="Verdana" panose="020B0604030504040204" pitchFamily="34" charset="0"/>
              </a:rPr>
              <a:t> and </a:t>
            </a:r>
            <a:r>
              <a:rPr lang="da-DK" altLang="da-DK" sz="900" b="1" noProof="1">
                <a:solidFill>
                  <a:srgbClr val="333333"/>
                </a:solidFill>
                <a:latin typeface="+mn-lt"/>
                <a:cs typeface="Verdana" panose="020B0604030504040204" pitchFamily="34" charset="0"/>
              </a:rPr>
              <a:t>Slide elements </a:t>
            </a:r>
            <a:r>
              <a:rPr lang="da-DK"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da-DK"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pPr rtl="0"/>
            <a:r>
              <a:rPr lang="da-DK"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9"/>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rtl="0">
              <a:defRPr sz="100">
                <a:noFill/>
              </a:defRPr>
            </a:lvl1pPr>
          </a:lstStyle>
          <a:p>
            <a:fld id="{A5B220B3-5DAB-45AB-9B6A-9B7C36B5A57F}" type="datetime1">
              <a:rPr lang="da-DK" smtClean="0"/>
              <a:pPr/>
              <a:t>19-06-2024</a:t>
            </a:fld>
            <a:endParaRPr lang="da-DK"/>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0"/>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TEXT STYLES</a:t>
            </a:r>
            <a:endParaRPr lang="da-DK" altLang="da-DK" sz="1600" b="0"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Use the </a:t>
            </a:r>
            <a:r>
              <a:rPr lang="da-DK" altLang="da-DK" sz="900" b="1" noProof="1">
                <a:solidFill>
                  <a:srgbClr val="333333"/>
                </a:solidFill>
                <a:latin typeface="+mn-lt"/>
                <a:cs typeface="Verdana" panose="020B0604030504040204" pitchFamily="34" charset="0"/>
              </a:rPr>
              <a:t>TAB</a:t>
            </a:r>
            <a:r>
              <a:rPr lang="da-DK" altLang="da-DK" sz="900" b="0" noProof="1">
                <a:solidFill>
                  <a:srgbClr val="333333"/>
                </a:solidFill>
                <a:latin typeface="+mn-lt"/>
                <a:cs typeface="Verdana" panose="020B0604030504040204" pitchFamily="34" charset="0"/>
              </a:rPr>
              <a:t>-key</a:t>
            </a:r>
            <a:r>
              <a:rPr lang="da-DK" altLang="da-DK" sz="900" b="0" baseline="0" noProof="1">
                <a:solidFill>
                  <a:srgbClr val="333333"/>
                </a:solidFill>
                <a:latin typeface="+mn-lt"/>
                <a:cs typeface="Verdana" panose="020B0604030504040204" pitchFamily="34" charset="0"/>
              </a:rPr>
              <a:t> to jump through levels. Click </a:t>
            </a:r>
            <a:r>
              <a:rPr lang="da-DK" altLang="da-DK" sz="900" b="1" baseline="0" noProof="1">
                <a:solidFill>
                  <a:srgbClr val="333333"/>
                </a:solidFill>
                <a:latin typeface="+mn-lt"/>
                <a:cs typeface="Verdana" panose="020B0604030504040204" pitchFamily="34" charset="0"/>
              </a:rPr>
              <a:t>ENTER</a:t>
            </a:r>
            <a:r>
              <a:rPr lang="da-DK" altLang="da-DK" sz="900" b="0" baseline="0" noProof="1">
                <a:solidFill>
                  <a:srgbClr val="333333"/>
                </a:solidFill>
                <a:latin typeface="+mn-lt"/>
                <a:cs typeface="Verdana" panose="020B0604030504040204" pitchFamily="34" charset="0"/>
              </a:rPr>
              <a:t>, then </a:t>
            </a:r>
            <a:r>
              <a:rPr lang="da-DK" altLang="da-DK" sz="900" b="1" baseline="0" noProof="1">
                <a:solidFill>
                  <a:srgbClr val="333333"/>
                </a:solidFill>
                <a:latin typeface="+mn-lt"/>
                <a:cs typeface="Verdana" panose="020B0604030504040204" pitchFamily="34" charset="0"/>
              </a:rPr>
              <a:t>TAB</a:t>
            </a:r>
            <a:r>
              <a:rPr lang="da-DK" altLang="da-DK" sz="900" b="0" baseline="0" noProof="1">
                <a:solidFill>
                  <a:srgbClr val="333333"/>
                </a:solidFill>
                <a:latin typeface="+mn-lt"/>
                <a:cs typeface="Verdana" panose="020B0604030504040204" pitchFamily="34" charset="0"/>
              </a:rPr>
              <a:t> to switch from one level to the next level</a:t>
            </a:r>
          </a:p>
          <a:p>
            <a:pPr rtl="0" eaLnBrk="1" hangingPunct="1">
              <a:spcAft>
                <a:spcPts val="600"/>
              </a:spcAft>
              <a:defRPr/>
            </a:pPr>
            <a:r>
              <a:rPr lang="da-DK" altLang="da-DK" sz="900" b="0" baseline="0" noProof="1">
                <a:solidFill>
                  <a:srgbClr val="333333"/>
                </a:solidFill>
                <a:latin typeface="+mn-lt"/>
                <a:cs typeface="Verdana" panose="020B0604030504040204" pitchFamily="34" charset="0"/>
              </a:rPr>
              <a:t>To go back in levels use </a:t>
            </a:r>
            <a:r>
              <a:rPr lang="da-DK" altLang="da-DK" sz="900" b="1" baseline="0" noProof="1">
                <a:solidFill>
                  <a:srgbClr val="333333"/>
                </a:solidFill>
                <a:latin typeface="+mn-lt"/>
                <a:cs typeface="Verdana" panose="020B0604030504040204" pitchFamily="34" charset="0"/>
              </a:rPr>
              <a:t>SHIFT-TAB</a:t>
            </a:r>
            <a:endParaRPr lang="da-DK" sz="900" b="1" noProof="1">
              <a:solidFill>
                <a:srgbClr val="333333"/>
              </a:solidFill>
              <a:latin typeface="+mn-lt"/>
              <a:cs typeface="Verdana" panose="020B0604030504040204" pitchFamily="34" charset="0"/>
            </a:endParaRPr>
          </a:p>
          <a:p>
            <a:pPr rtl="0" eaLnBrk="1" hangingPunct="1">
              <a:spcAft>
                <a:spcPts val="600"/>
              </a:spcAft>
              <a:defRPr/>
            </a:pPr>
            <a:r>
              <a:rPr lang="da-DK" sz="900" noProof="1">
                <a:solidFill>
                  <a:srgbClr val="333333"/>
                </a:solidFill>
                <a:latin typeface="+mn-lt"/>
                <a:cs typeface="Verdana" panose="020B0604030504040204" pitchFamily="34" charset="0"/>
              </a:rPr>
              <a:t>Alternatively, </a:t>
            </a:r>
            <a:r>
              <a:rPr lang="da-DK" sz="900" b="1" noProof="1">
                <a:solidFill>
                  <a:srgbClr val="333333"/>
                </a:solidFill>
                <a:latin typeface="+mn-lt"/>
                <a:cs typeface="Verdana" panose="020B0604030504040204" pitchFamily="34" charset="0"/>
              </a:rPr>
              <a:t>Increase</a:t>
            </a:r>
            <a:r>
              <a:rPr lang="da-DK" sz="900" baseline="0" noProof="1">
                <a:solidFill>
                  <a:srgbClr val="333333"/>
                </a:solidFill>
                <a:latin typeface="+mn-lt"/>
                <a:cs typeface="Verdana" panose="020B0604030504040204" pitchFamily="34" charset="0"/>
              </a:rPr>
              <a:t> and </a:t>
            </a:r>
            <a:r>
              <a:rPr lang="da-DK" sz="900" b="1" baseline="0" noProof="1">
                <a:solidFill>
                  <a:srgbClr val="333333"/>
                </a:solidFill>
                <a:latin typeface="+mn-lt"/>
                <a:cs typeface="Verdana" panose="020B0604030504040204" pitchFamily="34" charset="0"/>
              </a:rPr>
              <a:t>Decrease </a:t>
            </a:r>
            <a:r>
              <a:rPr lang="da-DK" sz="900" baseline="0" noProof="1">
                <a:solidFill>
                  <a:srgbClr val="333333"/>
                </a:solidFill>
                <a:latin typeface="+mn-lt"/>
                <a:cs typeface="Verdana" panose="020B0604030504040204" pitchFamily="34" charset="0"/>
              </a:rPr>
              <a:t>list level can be used</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noProof="1">
                <a:solidFill>
                  <a:srgbClr val="333333"/>
                </a:solidFill>
                <a:latin typeface="+mn-lt"/>
                <a:cs typeface="Verdana" panose="020B0604030504040204" pitchFamily="34" charset="0"/>
              </a:rPr>
              <a:t>Click the </a:t>
            </a:r>
            <a:r>
              <a:rPr lang="da-DK" altLang="da-DK" sz="900" b="1" baseline="0" noProof="1">
                <a:solidFill>
                  <a:srgbClr val="333333"/>
                </a:solidFill>
                <a:latin typeface="+mn-lt"/>
                <a:cs typeface="Verdana" panose="020B0604030504040204" pitchFamily="34" charset="0"/>
              </a:rPr>
              <a:t>Reset </a:t>
            </a:r>
            <a:r>
              <a:rPr lang="da-DK" altLang="da-DK" sz="900" noProof="1">
                <a:solidFill>
                  <a:srgbClr val="333333"/>
                </a:solidFill>
                <a:latin typeface="+mn-lt"/>
                <a:cs typeface="Verdana" panose="020B0604030504040204" pitchFamily="34" charset="0"/>
              </a:rPr>
              <a:t>menu to reset position, size</a:t>
            </a:r>
            <a:r>
              <a:rPr lang="da-DK"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900" b="0" noProof="1">
                <a:solidFill>
                  <a:srgbClr val="333333"/>
                </a:solidFill>
                <a:latin typeface="+mn-lt"/>
                <a:cs typeface="Verdana" panose="020B0604030504040204" pitchFamily="34" charset="0"/>
              </a:rPr>
            </a:br>
            <a:r>
              <a:rPr lang="da-DK"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Click on the menu </a:t>
            </a:r>
            <a:r>
              <a:rPr lang="da-DK" altLang="da-DK" sz="900" b="1" noProof="1">
                <a:solidFill>
                  <a:srgbClr val="333333"/>
                </a:solidFill>
                <a:latin typeface="+mn-lt"/>
                <a:cs typeface="Verdana" panose="020B0604030504040204" pitchFamily="34" charset="0"/>
              </a:rPr>
              <a:t>New Slide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Home</a:t>
            </a:r>
            <a:r>
              <a:rPr lang="da-DK" altLang="da-DK" sz="900" b="0" noProof="1">
                <a:solidFill>
                  <a:srgbClr val="333333"/>
                </a:solidFill>
                <a:latin typeface="+mn-lt"/>
                <a:cs typeface="Verdana" panose="020B0604030504040204" pitchFamily="34" charset="0"/>
              </a:rPr>
              <a:t> tab to insert a new slide</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Change layout</a:t>
            </a:r>
            <a:endParaRPr lang="da-DK" altLang="da-DK" sz="900" b="0" noProof="1">
              <a:solidFill>
                <a:srgbClr val="333333"/>
              </a:solidFill>
              <a:latin typeface="+mn-lt"/>
              <a:cs typeface="Verdana" panose="020B0604030504040204" pitchFamily="34" charset="0"/>
            </a:endParaRPr>
          </a:p>
          <a:p>
            <a:pPr marL="0" indent="0" rtl="0">
              <a:spcAft>
                <a:spcPts val="600"/>
              </a:spcAft>
              <a:buFont typeface="+mj-lt"/>
              <a:buNone/>
            </a:pPr>
            <a:r>
              <a:rPr lang="da-DK" sz="900" err="1">
                <a:solidFill>
                  <a:srgbClr val="333333"/>
                </a:solidFill>
                <a:latin typeface="+mn-lt"/>
                <a:ea typeface="Verdana" panose="020B0604030504040204" pitchFamily="34" charset="0"/>
              </a:rPr>
              <a:t>Click</a:t>
            </a:r>
            <a:r>
              <a:rPr lang="da-DK" sz="900">
                <a:solidFill>
                  <a:srgbClr val="333333"/>
                </a:solidFill>
                <a:latin typeface="+mn-lt"/>
                <a:ea typeface="Verdana" panose="020B0604030504040204" pitchFamily="34" charset="0"/>
              </a:rPr>
              <a:t> on the </a:t>
            </a:r>
            <a:r>
              <a:rPr lang="da-DK" sz="900" err="1">
                <a:solidFill>
                  <a:srgbClr val="333333"/>
                </a:solidFill>
                <a:latin typeface="+mn-lt"/>
                <a:ea typeface="Verdana" panose="020B0604030504040204" pitchFamily="34" charset="0"/>
              </a:rPr>
              <a:t>arrow</a:t>
            </a:r>
            <a:r>
              <a:rPr lang="da-DK" sz="900">
                <a:solidFill>
                  <a:srgbClr val="333333"/>
                </a:solidFill>
                <a:latin typeface="+mn-lt"/>
                <a:ea typeface="Verdana" panose="020B0604030504040204" pitchFamily="34" charset="0"/>
              </a:rPr>
              <a:t> </a:t>
            </a:r>
            <a:r>
              <a:rPr lang="da-DK" sz="900" err="1">
                <a:solidFill>
                  <a:srgbClr val="333333"/>
                </a:solidFill>
                <a:latin typeface="+mn-lt"/>
                <a:ea typeface="Verdana" panose="020B0604030504040204" pitchFamily="34" charset="0"/>
              </a:rPr>
              <a:t>next</a:t>
            </a:r>
            <a:r>
              <a:rPr lang="da-DK" sz="900">
                <a:solidFill>
                  <a:srgbClr val="333333"/>
                </a:solidFill>
                <a:latin typeface="+mn-lt"/>
                <a:ea typeface="Verdana" panose="020B0604030504040204" pitchFamily="34" charset="0"/>
              </a:rPr>
              <a:t> to </a:t>
            </a:r>
            <a:r>
              <a:rPr lang="da-DK" sz="900" b="1">
                <a:solidFill>
                  <a:srgbClr val="333333"/>
                </a:solidFill>
                <a:latin typeface="+mn-lt"/>
                <a:ea typeface="Verdana" panose="020B0604030504040204" pitchFamily="34" charset="0"/>
              </a:rPr>
              <a:t>Layout </a:t>
            </a:r>
            <a:r>
              <a:rPr lang="da-DK" sz="900">
                <a:solidFill>
                  <a:srgbClr val="333333"/>
                </a:solidFill>
                <a:latin typeface="+mn-lt"/>
                <a:ea typeface="Verdana" panose="020B0604030504040204" pitchFamily="34" charset="0"/>
              </a:rPr>
              <a:t>to view a </a:t>
            </a:r>
            <a:r>
              <a:rPr lang="da-DK" sz="900" err="1">
                <a:solidFill>
                  <a:srgbClr val="333333"/>
                </a:solidFill>
                <a:latin typeface="+mn-lt"/>
                <a:ea typeface="Verdana" panose="020B0604030504040204" pitchFamily="34" charset="0"/>
              </a:rPr>
              <a:t>dropdown</a:t>
            </a:r>
            <a:r>
              <a:rPr lang="da-DK" sz="900">
                <a:solidFill>
                  <a:srgbClr val="333333"/>
                </a:solidFill>
                <a:latin typeface="+mn-lt"/>
                <a:ea typeface="Verdana" panose="020B0604030504040204" pitchFamily="34" charset="0"/>
              </a:rPr>
              <a:t> menu of </a:t>
            </a:r>
            <a:r>
              <a:rPr lang="da-DK" sz="900" err="1">
                <a:solidFill>
                  <a:srgbClr val="333333"/>
                </a:solidFill>
                <a:latin typeface="+mn-lt"/>
                <a:ea typeface="Verdana" panose="020B0604030504040204" pitchFamily="34" charset="0"/>
              </a:rPr>
              <a:t>possible</a:t>
            </a:r>
            <a:r>
              <a:rPr lang="da-DK" sz="900">
                <a:solidFill>
                  <a:srgbClr val="333333"/>
                </a:solidFill>
                <a:latin typeface="+mn-lt"/>
                <a:ea typeface="Verdana" panose="020B0604030504040204" pitchFamily="34" charset="0"/>
              </a:rPr>
              <a:t> slide layouts</a:t>
            </a:r>
          </a:p>
          <a:p>
            <a:pPr marL="0" indent="0" rtl="0">
              <a:spcAft>
                <a:spcPts val="600"/>
              </a:spcAft>
              <a:buFont typeface="+mj-lt"/>
              <a:buNone/>
            </a:pPr>
            <a:endParaRPr lang="da-DK"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err="1">
                <a:solidFill>
                  <a:srgbClr val="333333"/>
                </a:solidFill>
                <a:latin typeface="+mn-lt"/>
                <a:cs typeface="Verdana" panose="020B0604030504040204" pitchFamily="34" charset="0"/>
              </a:rPr>
              <a:t>Color</a:t>
            </a:r>
            <a:endParaRPr lang="da-DK" sz="1600">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Use </a:t>
            </a:r>
            <a:r>
              <a:rPr lang="da-DK" altLang="da-DK" sz="900" b="1" noProof="1">
                <a:solidFill>
                  <a:srgbClr val="333333"/>
                </a:solidFill>
                <a:latin typeface="+mn-lt"/>
                <a:cs typeface="Verdana" panose="020B0604030504040204" pitchFamily="34" charset="0"/>
              </a:rPr>
              <a:t>Custom Colors </a:t>
            </a:r>
            <a:r>
              <a:rPr lang="da-DK" altLang="da-DK" sz="900" b="0" noProof="1">
                <a:solidFill>
                  <a:srgbClr val="333333"/>
                </a:solidFill>
                <a:latin typeface="+mn-lt"/>
                <a:cs typeface="Verdana" panose="020B0604030504040204" pitchFamily="34" charset="0"/>
              </a:rPr>
              <a:t>to change color.</a:t>
            </a:r>
            <a:br>
              <a:rPr lang="da-DK" altLang="da-DK" sz="900" b="0" noProof="1">
                <a:solidFill>
                  <a:srgbClr val="333333"/>
                </a:solidFill>
                <a:latin typeface="+mn-lt"/>
                <a:cs typeface="Verdana" panose="020B0604030504040204" pitchFamily="34" charset="0"/>
              </a:rPr>
            </a:br>
            <a:endParaRPr lang="da-DK"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2"/>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3"/>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4"/>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5"/>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368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E737EA-FF19-401F-A092-0F59822D928A}"/>
              </a:ext>
            </a:extLst>
          </p:cNvPr>
          <p:cNvGraphicFramePr>
            <a:graphicFrameLocks noChangeAspect="1"/>
          </p:cNvGraphicFramePr>
          <p:nvPr userDrawn="1">
            <p:custDataLst>
              <p:tags r:id="rId1"/>
            </p:custDataLst>
            <p:extLst>
              <p:ext uri="{D42A27DB-BD31-4B8C-83A1-F6EECF244321}">
                <p14:modId xmlns:p14="http://schemas.microsoft.com/office/powerpoint/2010/main" val="185704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D3E737EA-FF19-401F-A092-0F59822D92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4000" b="0" noProof="0">
                <a:solidFill>
                  <a:schemeClr val="tx1"/>
                </a:solidFill>
              </a:rPr>
              <a:t>If you see any </a:t>
            </a:r>
            <a:r>
              <a:rPr lang="da-DK" sz="4000" b="1" i="1" noProof="0">
                <a:solidFill>
                  <a:schemeClr val="tx1"/>
                </a:solidFill>
              </a:rPr>
              <a:t>layouts after this </a:t>
            </a:r>
            <a:r>
              <a:rPr lang="da-DK" sz="4000" b="0" i="0" noProof="0">
                <a:solidFill>
                  <a:schemeClr val="tx1"/>
                </a:solidFill>
              </a:rPr>
              <a:t>one</a:t>
            </a:r>
            <a:r>
              <a:rPr lang="da-DK" sz="4000" b="1" i="1" noProof="0">
                <a:solidFill>
                  <a:schemeClr val="tx1"/>
                </a:solidFill>
              </a:rPr>
              <a:t>,</a:t>
            </a:r>
            <a:br>
              <a:rPr lang="da-DK" sz="4000" b="0" i="0" noProof="0">
                <a:solidFill>
                  <a:schemeClr val="tx1"/>
                </a:solidFill>
              </a:rPr>
            </a:br>
            <a:r>
              <a:rPr lang="da-DK" sz="4000" b="0" noProof="0">
                <a:solidFill>
                  <a:schemeClr val="tx1"/>
                </a:solidFill>
              </a:rPr>
              <a:t>do not use them. These layouts </a:t>
            </a:r>
            <a:r>
              <a:rPr lang="da-DK" sz="4000" b="1" i="1" u="none" noProof="0">
                <a:solidFill>
                  <a:schemeClr val="tx1"/>
                </a:solidFill>
              </a:rPr>
              <a:t>are not </a:t>
            </a:r>
            <a:r>
              <a:rPr lang="da-DK" sz="4000" b="0" noProof="0">
                <a:solidFill>
                  <a:schemeClr val="tx1"/>
                </a:solidFill>
              </a:rPr>
              <a:t>part of our corporate template.</a:t>
            </a:r>
            <a:endParaRPr lang="da-DK"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rtl="0"/>
            <a:r>
              <a:rPr lang="da-DK" sz="11500" b="1" i="1" noProof="0">
                <a:solidFill>
                  <a:schemeClr val="tx1"/>
                </a:solidFill>
              </a:rPr>
              <a:t>Do not use </a:t>
            </a:r>
            <a:endParaRPr lang="da-DK"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rtl="0">
              <a:defRPr sz="100">
                <a:noFill/>
              </a:defRPr>
            </a:lvl1pPr>
          </a:lstStyle>
          <a:p>
            <a:fld id="{06357EC7-0D53-4A60-9E41-D75A47B48389}" type="datetime1">
              <a:rPr lang="da-DK" smtClean="0"/>
              <a:pPr/>
              <a:t>19-06-2024</a:t>
            </a:fld>
            <a:endParaRPr lang="da-DK"/>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129834854"/>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989A8E-FDC6-4CFE-9DCA-F8A156018290}"/>
              </a:ext>
            </a:extLst>
          </p:cNvPr>
          <p:cNvGraphicFramePr>
            <a:graphicFrameLocks noChangeAspect="1"/>
          </p:cNvGraphicFramePr>
          <p:nvPr userDrawn="1">
            <p:custDataLst>
              <p:tags r:id="rId1"/>
            </p:custDataLst>
            <p:extLst>
              <p:ext uri="{D42A27DB-BD31-4B8C-83A1-F6EECF244321}">
                <p14:modId xmlns:p14="http://schemas.microsoft.com/office/powerpoint/2010/main" val="3680965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9F989A8E-FDC6-4CFE-9DCA-F8A1560182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D1903C8B-6A03-40C4-AD50-AACDEC5FDA0C}" type="datetime1">
              <a:rPr lang="da-DK" smtClean="0"/>
              <a:pPr/>
              <a:t>19-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vert="horz" anchor="t" anchorCtr="0"/>
          <a:lstStyle>
            <a:lvl1pPr algn="l" rtl="0">
              <a:lnSpc>
                <a:spcPct val="91000"/>
              </a:lnSpc>
              <a:defRPr sz="3600">
                <a:solidFill>
                  <a:schemeClr val="bg1"/>
                </a:solidFill>
              </a:defRPr>
            </a:lvl1pPr>
          </a:lstStyle>
          <a:p>
            <a:r>
              <a:rPr lang="da-DK"/>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36226679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54B3C9-F00B-4DA0-A35A-016D662582F0}"/>
              </a:ext>
            </a:extLst>
          </p:cNvPr>
          <p:cNvGraphicFramePr>
            <a:graphicFrameLocks noChangeAspect="1"/>
          </p:cNvGraphicFramePr>
          <p:nvPr userDrawn="1">
            <p:custDataLst>
              <p:tags r:id="rId1"/>
            </p:custDataLst>
            <p:extLst>
              <p:ext uri="{D42A27DB-BD31-4B8C-83A1-F6EECF244321}">
                <p14:modId xmlns:p14="http://schemas.microsoft.com/office/powerpoint/2010/main" val="325896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954B3C9-F00B-4DA0-A35A-016D662582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1B42BF88-9EAB-4FF1-8C7D-3D1A57D94546}" type="datetime1">
              <a:rPr lang="da-DK" smtClean="0"/>
              <a:pPr/>
              <a:t>19-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5804923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1BF513-A764-4213-B6C8-45BD92F0582C}"/>
              </a:ext>
            </a:extLst>
          </p:cNvPr>
          <p:cNvGraphicFramePr>
            <a:graphicFrameLocks noChangeAspect="1"/>
          </p:cNvGraphicFramePr>
          <p:nvPr userDrawn="1">
            <p:custDataLst>
              <p:tags r:id="rId1"/>
            </p:custDataLst>
            <p:extLst>
              <p:ext uri="{D42A27DB-BD31-4B8C-83A1-F6EECF244321}">
                <p14:modId xmlns:p14="http://schemas.microsoft.com/office/powerpoint/2010/main" val="3382865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A11BF513-A764-4213-B6C8-45BD92F058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ED06D66A-00D9-479B-9856-27577BF36107}" type="datetime1">
              <a:rPr lang="da-DK" smtClean="0"/>
              <a:pPr/>
              <a:t>19-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vert="horz" anchor="t" anchorCtr="0"/>
          <a:lstStyle>
            <a:lvl1pPr algn="l" rtl="0">
              <a:lnSpc>
                <a:spcPct val="91000"/>
              </a:lnSpc>
              <a:defRPr sz="4100">
                <a:solidFill>
                  <a:schemeClr val="bg1"/>
                </a:solidFill>
              </a:defRPr>
            </a:lvl1pPr>
          </a:lstStyle>
          <a:p>
            <a:r>
              <a:rPr lang="da-DK"/>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648110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615D26-BD1B-485E-81BA-C5A949306F15}"/>
              </a:ext>
            </a:extLst>
          </p:cNvPr>
          <p:cNvGraphicFramePr>
            <a:graphicFrameLocks noChangeAspect="1"/>
          </p:cNvGraphicFramePr>
          <p:nvPr userDrawn="1">
            <p:custDataLst>
              <p:tags r:id="rId1"/>
            </p:custDataLst>
            <p:extLst>
              <p:ext uri="{D42A27DB-BD31-4B8C-83A1-F6EECF244321}">
                <p14:modId xmlns:p14="http://schemas.microsoft.com/office/powerpoint/2010/main" val="1005215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2615D26-BD1B-485E-81BA-C5A949306F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2D3E1E10-4E6B-4C9C-B68B-DC96BC56ABFC}" type="datetime1">
              <a:rPr lang="da-DK" smtClean="0"/>
              <a:pPr/>
              <a:t>19-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4273168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BC63DC-A6D8-4792-9CE7-E2B23129BCEA}"/>
              </a:ext>
            </a:extLst>
          </p:cNvPr>
          <p:cNvGraphicFramePr>
            <a:graphicFrameLocks noChangeAspect="1"/>
          </p:cNvGraphicFramePr>
          <p:nvPr userDrawn="1">
            <p:custDataLst>
              <p:tags r:id="rId1"/>
            </p:custDataLst>
            <p:extLst>
              <p:ext uri="{D42A27DB-BD31-4B8C-83A1-F6EECF244321}">
                <p14:modId xmlns:p14="http://schemas.microsoft.com/office/powerpoint/2010/main" val="41172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4EBC63DC-A6D8-4792-9CE7-E2B23129BC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9BED15FA-6EE8-4B82-A537-F53ACAF84CA4}" type="datetime1">
              <a:rPr lang="da-DK" smtClean="0"/>
              <a:pPr/>
              <a:t>19-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402351870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31A58-417A-4039-81B5-5CA2D8C6DE57}"/>
              </a:ext>
            </a:extLst>
          </p:cNvPr>
          <p:cNvGraphicFramePr>
            <a:graphicFrameLocks noChangeAspect="1"/>
          </p:cNvGraphicFramePr>
          <p:nvPr userDrawn="1">
            <p:custDataLst>
              <p:tags r:id="rId1"/>
            </p:custDataLst>
            <p:extLst>
              <p:ext uri="{D42A27DB-BD31-4B8C-83A1-F6EECF244321}">
                <p14:modId xmlns:p14="http://schemas.microsoft.com/office/powerpoint/2010/main" val="3309084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BFF31A58-417A-4039-81B5-5CA2D8C6DE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65259D24-E6A6-4D69-90CB-83073E8387B2}" type="datetime1">
              <a:rPr lang="da-DK" smtClean="0"/>
              <a:pPr/>
              <a:t>19-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77915639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A0870D-5A09-40C3-AAD2-3D3CB85D2C6E}"/>
              </a:ext>
            </a:extLst>
          </p:cNvPr>
          <p:cNvGraphicFramePr>
            <a:graphicFrameLocks noChangeAspect="1"/>
          </p:cNvGraphicFramePr>
          <p:nvPr userDrawn="1">
            <p:custDataLst>
              <p:tags r:id="rId1"/>
            </p:custDataLst>
            <p:extLst>
              <p:ext uri="{D42A27DB-BD31-4B8C-83A1-F6EECF244321}">
                <p14:modId xmlns:p14="http://schemas.microsoft.com/office/powerpoint/2010/main" val="1569275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7A0870D-5A09-40C3-AAD2-3D3CB85D2C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9BED15FA-6EE8-4B82-A537-F53ACAF84CA4}" type="datetime1">
              <a:rPr lang="da-DK" smtClean="0"/>
              <a:pPr/>
              <a:t>19-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314733826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03D91C-9A9E-4990-9C51-5CD1A2754652}"/>
              </a:ext>
            </a:extLst>
          </p:cNvPr>
          <p:cNvGraphicFramePr>
            <a:graphicFrameLocks noChangeAspect="1"/>
          </p:cNvGraphicFramePr>
          <p:nvPr userDrawn="1">
            <p:custDataLst>
              <p:tags r:id="rId1"/>
            </p:custDataLst>
            <p:extLst>
              <p:ext uri="{D42A27DB-BD31-4B8C-83A1-F6EECF244321}">
                <p14:modId xmlns:p14="http://schemas.microsoft.com/office/powerpoint/2010/main" val="1993942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B03D91C-9A9E-4990-9C51-5CD1A27546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4C6B010D-12BA-4529-B692-206652452F2C}" type="datetime1">
              <a:rPr lang="da-DK" smtClean="0"/>
              <a:pPr/>
              <a:t>19-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ctrTitle" hasCustomPrompt="1"/>
          </p:nvPr>
        </p:nvSpPr>
        <p:spPr>
          <a:xfrm>
            <a:off x="360000" y="654049"/>
            <a:ext cx="10485800" cy="804214"/>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4095149692"/>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F60166C-2A4A-473E-AEFC-94CF443D054F}"/>
              </a:ext>
            </a:extLst>
          </p:cNvPr>
          <p:cNvGraphicFramePr>
            <a:graphicFrameLocks noChangeAspect="1"/>
          </p:cNvGraphicFramePr>
          <p:nvPr userDrawn="1">
            <p:custDataLst>
              <p:tags r:id="rId1"/>
            </p:custDataLst>
            <p:extLst>
              <p:ext uri="{D42A27DB-BD31-4B8C-83A1-F6EECF244321}">
                <p14:modId xmlns:p14="http://schemas.microsoft.com/office/powerpoint/2010/main" val="160935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8F60166C-2A4A-473E-AEFC-94CF443D05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59998" y="654050"/>
            <a:ext cx="3583351" cy="1175446"/>
          </a:xfrm>
        </p:spPr>
        <p:txBody>
          <a:bodyPr vert="horz"/>
          <a:lstStyle>
            <a:lvl1pPr rtl="0">
              <a:defRPr sz="4100"/>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rtl="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rtl="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rtl="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rtl="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da-DK" smtClean="0"/>
              <a:pPr/>
              <a:t>19-06-2024</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13002442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46F85BC-C716-4553-BD5C-090299A90C86}"/>
              </a:ext>
            </a:extLst>
          </p:cNvPr>
          <p:cNvGraphicFramePr>
            <a:graphicFrameLocks noChangeAspect="1"/>
          </p:cNvGraphicFramePr>
          <p:nvPr userDrawn="1">
            <p:custDataLst>
              <p:tags r:id="rId1"/>
            </p:custDataLst>
            <p:extLst>
              <p:ext uri="{D42A27DB-BD31-4B8C-83A1-F6EECF244321}">
                <p14:modId xmlns:p14="http://schemas.microsoft.com/office/powerpoint/2010/main" val="1407088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46F85BC-C716-4553-BD5C-090299A90C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title" hasCustomPrompt="1"/>
          </p:nvPr>
        </p:nvSpPr>
        <p:spPr>
          <a:xfrm>
            <a:off x="359998" y="654050"/>
            <a:ext cx="3583351" cy="1175446"/>
          </a:xfrm>
        </p:spPr>
        <p:txBody>
          <a:bodyPr vert="horz"/>
          <a:lstStyle>
            <a:lvl1pPr rtl="0">
              <a:defRPr sz="4100">
                <a:solidFill>
                  <a:schemeClr val="tx1"/>
                </a:solidFill>
              </a:defRPr>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rtl="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rtl="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rtl="0">
              <a:lnSpc>
                <a:spcPct val="100000"/>
              </a:lnSpc>
              <a:spcBef>
                <a:spcPts val="0"/>
              </a:spcBef>
              <a:spcAft>
                <a:spcPts val="3000"/>
              </a:spcAft>
              <a:buClrTx/>
              <a:buFont typeface="+mj-lt"/>
              <a:buAutoNum type="arabicPeriod"/>
              <a:defRPr sz="1600" b="0">
                <a:solidFill>
                  <a:schemeClr val="tx1"/>
                </a:solidFill>
              </a:defRPr>
            </a:lvl4pPr>
            <a:lvl5pPr marL="342900" indent="-342900" rtl="0">
              <a:lnSpc>
                <a:spcPct val="100000"/>
              </a:lnSpc>
              <a:spcBef>
                <a:spcPts val="0"/>
              </a:spcBef>
              <a:spcAft>
                <a:spcPts val="3000"/>
              </a:spcAft>
              <a:buClrTx/>
              <a:buFont typeface="+mj-lt"/>
              <a:buAutoNum type="arabicPeriod"/>
              <a:defRPr sz="1600" b="0">
                <a:solidFill>
                  <a:schemeClr val="tx1"/>
                </a:solidFill>
              </a:defRPr>
            </a:lvl5pPr>
            <a:lvl6pPr marL="342900" indent="-342900" rtl="0">
              <a:lnSpc>
                <a:spcPct val="100000"/>
              </a:lnSpc>
              <a:spcBef>
                <a:spcPts val="0"/>
              </a:spcBef>
              <a:spcAft>
                <a:spcPts val="3000"/>
              </a:spcAft>
              <a:buClrTx/>
              <a:buFont typeface="+mj-lt"/>
              <a:buAutoNum type="arabicPeriod"/>
              <a:defRPr sz="1600" b="0">
                <a:solidFill>
                  <a:schemeClr val="tx1"/>
                </a:solidFill>
              </a:defRPr>
            </a:lvl6pPr>
            <a:lvl7pPr marL="342900" indent="-342900" rtl="0">
              <a:lnSpc>
                <a:spcPct val="100000"/>
              </a:lnSpc>
              <a:spcBef>
                <a:spcPts val="0"/>
              </a:spcBef>
              <a:spcAft>
                <a:spcPts val="3000"/>
              </a:spcAft>
              <a:buClrTx/>
              <a:buFont typeface="+mj-lt"/>
              <a:buAutoNum type="arabicPeriod"/>
              <a:defRPr sz="1600" b="0">
                <a:solidFill>
                  <a:schemeClr val="tx1"/>
                </a:solidFill>
              </a:defRPr>
            </a:lvl7pPr>
            <a:lvl8pPr marL="342900" indent="-342900" rtl="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rtl="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da-DK" smtClean="0"/>
              <a:pPr/>
              <a:t>19-06-2024</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da-DK" smtClean="0"/>
              <a:pPr/>
              <a:t>‹#›</a:t>
            </a:fld>
            <a:endParaRPr lang="da-DK"/>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7623730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F084EF-E6C0-49F9-A75B-12C06FBE4633}"/>
              </a:ext>
            </a:extLst>
          </p:cNvPr>
          <p:cNvGraphicFramePr>
            <a:graphicFrameLocks noChangeAspect="1"/>
          </p:cNvGraphicFramePr>
          <p:nvPr userDrawn="1">
            <p:custDataLst>
              <p:tags r:id="rId1"/>
            </p:custDataLst>
            <p:extLst>
              <p:ext uri="{D42A27DB-BD31-4B8C-83A1-F6EECF244321}">
                <p14:modId xmlns:p14="http://schemas.microsoft.com/office/powerpoint/2010/main" val="1508846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18F084EF-E6C0-49F9-A75B-12C06FBE46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lvl1pPr rtl="0">
              <a:defRPr/>
            </a:lvl1pPr>
          </a:lstStyle>
          <a:p>
            <a:fld id="{4DE8F052-B495-40BE-9682-094846479C8E}" type="datetime1">
              <a:rPr lang="da-DK" smtClean="0"/>
              <a:pPr/>
              <a:t>19-06-2024</a:t>
            </a:fld>
            <a:endParaRPr lang="da-DK"/>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40918565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3C26FF-5B65-4D3E-A76B-DEB2248706A7}"/>
              </a:ext>
            </a:extLst>
          </p:cNvPr>
          <p:cNvGraphicFramePr>
            <a:graphicFrameLocks noChangeAspect="1"/>
          </p:cNvGraphicFramePr>
          <p:nvPr userDrawn="1">
            <p:custDataLst>
              <p:tags r:id="rId1"/>
            </p:custDataLst>
            <p:extLst>
              <p:ext uri="{D42A27DB-BD31-4B8C-83A1-F6EECF244321}">
                <p14:modId xmlns:p14="http://schemas.microsoft.com/office/powerpoint/2010/main" val="503016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793C26FF-5B65-4D3E-A76B-DEB2248706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da-DK" smtClean="0"/>
              <a:pPr/>
              <a:t>19-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5172631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4EBE56-DC86-44DA-9707-F66B26C382B3}"/>
              </a:ext>
            </a:extLst>
          </p:cNvPr>
          <p:cNvGraphicFramePr>
            <a:graphicFrameLocks noChangeAspect="1"/>
          </p:cNvGraphicFramePr>
          <p:nvPr userDrawn="1">
            <p:custDataLst>
              <p:tags r:id="rId1"/>
            </p:custDataLst>
            <p:extLst>
              <p:ext uri="{D42A27DB-BD31-4B8C-83A1-F6EECF244321}">
                <p14:modId xmlns:p14="http://schemas.microsoft.com/office/powerpoint/2010/main" val="16901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24EBE56-DC86-44DA-9707-F66B26C382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da-DK" smtClean="0"/>
              <a:pPr/>
              <a:t>19-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64673440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A4F71C-9CE1-44CF-B35F-7CF6E5D864E4}"/>
              </a:ext>
            </a:extLst>
          </p:cNvPr>
          <p:cNvGraphicFramePr>
            <a:graphicFrameLocks noChangeAspect="1"/>
          </p:cNvGraphicFramePr>
          <p:nvPr userDrawn="1">
            <p:custDataLst>
              <p:tags r:id="rId1"/>
            </p:custDataLst>
            <p:extLst>
              <p:ext uri="{D42A27DB-BD31-4B8C-83A1-F6EECF244321}">
                <p14:modId xmlns:p14="http://schemas.microsoft.com/office/powerpoint/2010/main" val="332935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4A4F71C-9CE1-44CF-B35F-7CF6E5D864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da-DK" smtClean="0"/>
              <a:pPr/>
              <a:t>19-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016322553"/>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9EF37A4-B44F-4C89-A073-242167466BED}"/>
              </a:ext>
            </a:extLst>
          </p:cNvPr>
          <p:cNvGraphicFramePr>
            <a:graphicFrameLocks noChangeAspect="1"/>
          </p:cNvGraphicFramePr>
          <p:nvPr userDrawn="1">
            <p:custDataLst>
              <p:tags r:id="rId1"/>
            </p:custDataLst>
            <p:extLst>
              <p:ext uri="{D42A27DB-BD31-4B8C-83A1-F6EECF244321}">
                <p14:modId xmlns:p14="http://schemas.microsoft.com/office/powerpoint/2010/main" val="4199143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9EF37A4-B44F-4C89-A073-242167466B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da-DK" smtClean="0"/>
              <a:pPr/>
              <a:t>19-06-2024</a:t>
            </a:fld>
            <a:endParaRPr lang="da-DK"/>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54835265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E83CFD-9F74-4EF8-975F-FD81488A8E17}"/>
              </a:ext>
            </a:extLst>
          </p:cNvPr>
          <p:cNvGraphicFramePr>
            <a:graphicFrameLocks noChangeAspect="1"/>
          </p:cNvGraphicFramePr>
          <p:nvPr userDrawn="1">
            <p:custDataLst>
              <p:tags r:id="rId1"/>
            </p:custDataLst>
            <p:extLst>
              <p:ext uri="{D42A27DB-BD31-4B8C-83A1-F6EECF244321}">
                <p14:modId xmlns:p14="http://schemas.microsoft.com/office/powerpoint/2010/main" val="384047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0E83CFD-9F74-4EF8-975F-FD81488A8E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4C6B010D-12BA-4529-B692-206652452F2C}" type="datetime1">
              <a:rPr lang="da-DK" smtClean="0"/>
              <a:pPr/>
              <a:t>19-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ctrTitle" hasCustomPrompt="1"/>
          </p:nvPr>
        </p:nvSpPr>
        <p:spPr>
          <a:xfrm>
            <a:off x="360000" y="654049"/>
            <a:ext cx="10485800" cy="804214"/>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09881713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28212BF-18A5-4D9F-9F2F-E8FBAAE91B57}"/>
              </a:ext>
            </a:extLst>
          </p:cNvPr>
          <p:cNvGraphicFramePr>
            <a:graphicFrameLocks noChangeAspect="1"/>
          </p:cNvGraphicFramePr>
          <p:nvPr userDrawn="1">
            <p:custDataLst>
              <p:tags r:id="rId1"/>
            </p:custDataLst>
            <p:extLst>
              <p:ext uri="{D42A27DB-BD31-4B8C-83A1-F6EECF244321}">
                <p14:modId xmlns:p14="http://schemas.microsoft.com/office/powerpoint/2010/main" val="1916633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28212BF-18A5-4D9F-9F2F-E8FBAAE91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da-DK" smtClean="0"/>
              <a:pPr/>
              <a:t>19-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192639167"/>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5434468-572D-4FA6-B8CB-CCC382820344}"/>
              </a:ext>
            </a:extLst>
          </p:cNvPr>
          <p:cNvGraphicFramePr>
            <a:graphicFrameLocks noChangeAspect="1"/>
          </p:cNvGraphicFramePr>
          <p:nvPr userDrawn="1">
            <p:custDataLst>
              <p:tags r:id="rId1"/>
            </p:custDataLst>
            <p:extLst>
              <p:ext uri="{D42A27DB-BD31-4B8C-83A1-F6EECF244321}">
                <p14:modId xmlns:p14="http://schemas.microsoft.com/office/powerpoint/2010/main" val="141573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5434468-572D-4FA6-B8CB-CCC382820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da-DK" smtClean="0"/>
              <a:pPr/>
              <a:t>19-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195743645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18C53D-E677-40EE-86B6-983CF3FD7F9D}"/>
              </a:ext>
            </a:extLst>
          </p:cNvPr>
          <p:cNvGraphicFramePr>
            <a:graphicFrameLocks noChangeAspect="1"/>
          </p:cNvGraphicFramePr>
          <p:nvPr userDrawn="1">
            <p:custDataLst>
              <p:tags r:id="rId1"/>
            </p:custDataLst>
            <p:extLst>
              <p:ext uri="{D42A27DB-BD31-4B8C-83A1-F6EECF244321}">
                <p14:modId xmlns:p14="http://schemas.microsoft.com/office/powerpoint/2010/main" val="2659025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EF18C53D-E677-40EE-86B6-983CF3FD7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da-DK" smtClean="0"/>
              <a:pPr/>
              <a:t>19-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74571785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B16CCA-52A6-4838-8AB3-3C27A8B4A198}"/>
              </a:ext>
            </a:extLst>
          </p:cNvPr>
          <p:cNvGraphicFramePr>
            <a:graphicFrameLocks noChangeAspect="1"/>
          </p:cNvGraphicFramePr>
          <p:nvPr userDrawn="1">
            <p:custDataLst>
              <p:tags r:id="rId1"/>
            </p:custDataLst>
            <p:extLst>
              <p:ext uri="{D42A27DB-BD31-4B8C-83A1-F6EECF244321}">
                <p14:modId xmlns:p14="http://schemas.microsoft.com/office/powerpoint/2010/main" val="298815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6B16CCA-52A6-4838-8AB3-3C27A8B4A1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da-DK" smtClean="0"/>
              <a:pPr/>
              <a:t>19-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682504136"/>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FA7D48-E59B-4B43-ABFB-2EB79E90E58B}"/>
              </a:ext>
            </a:extLst>
          </p:cNvPr>
          <p:cNvGraphicFramePr>
            <a:graphicFrameLocks noChangeAspect="1"/>
          </p:cNvGraphicFramePr>
          <p:nvPr userDrawn="1">
            <p:custDataLst>
              <p:tags r:id="rId1"/>
            </p:custDataLst>
            <p:extLst>
              <p:ext uri="{D42A27DB-BD31-4B8C-83A1-F6EECF244321}">
                <p14:modId xmlns:p14="http://schemas.microsoft.com/office/powerpoint/2010/main" val="1853528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2FA7D48-E59B-4B43-ABFB-2EB79E90E5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da-DK" smtClean="0"/>
              <a:pPr/>
              <a:t>19-06-2024</a:t>
            </a:fld>
            <a:endParaRPr lang="da-DK"/>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1549390637"/>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5E9166-697A-4756-9084-4D43AA6266AC}"/>
              </a:ext>
            </a:extLst>
          </p:cNvPr>
          <p:cNvGraphicFramePr>
            <a:graphicFrameLocks noChangeAspect="1"/>
          </p:cNvGraphicFramePr>
          <p:nvPr userDrawn="1">
            <p:custDataLst>
              <p:tags r:id="rId1"/>
            </p:custDataLst>
            <p:extLst>
              <p:ext uri="{D42A27DB-BD31-4B8C-83A1-F6EECF244321}">
                <p14:modId xmlns:p14="http://schemas.microsoft.com/office/powerpoint/2010/main" val="2037424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25E9166-697A-4756-9084-4D43AA6266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19-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580882032"/>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A4339A-E44E-4EA2-8821-B9FBBFDDE819}"/>
              </a:ext>
            </a:extLst>
          </p:cNvPr>
          <p:cNvGraphicFramePr>
            <a:graphicFrameLocks noChangeAspect="1"/>
          </p:cNvGraphicFramePr>
          <p:nvPr userDrawn="1">
            <p:custDataLst>
              <p:tags r:id="rId1"/>
            </p:custDataLst>
            <p:extLst>
              <p:ext uri="{D42A27DB-BD31-4B8C-83A1-F6EECF244321}">
                <p14:modId xmlns:p14="http://schemas.microsoft.com/office/powerpoint/2010/main" val="983239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A6A4339A-E44E-4EA2-8821-B9FBBFDDE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302000"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da-DK" smtClean="0"/>
              <a:pPr/>
              <a:t>19-06-2024</a:t>
            </a:fld>
            <a:endParaRPr lang="da-DK"/>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lvl1pPr rtl="0">
              <a:defRPr/>
            </a:lvl1pPr>
          </a:lstStyle>
          <a:p>
            <a:endParaRPr lang="da-DK"/>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171416610"/>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9F33474-6E8E-4C5B-A4E6-42EC87473E96}"/>
              </a:ext>
            </a:extLst>
          </p:cNvPr>
          <p:cNvGraphicFramePr>
            <a:graphicFrameLocks noChangeAspect="1"/>
          </p:cNvGraphicFramePr>
          <p:nvPr userDrawn="1">
            <p:custDataLst>
              <p:tags r:id="rId1"/>
            </p:custDataLst>
            <p:extLst>
              <p:ext uri="{D42A27DB-BD31-4B8C-83A1-F6EECF244321}">
                <p14:modId xmlns:p14="http://schemas.microsoft.com/office/powerpoint/2010/main" val="260453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39F33474-6E8E-4C5B-A4E6-42EC87473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da-DK" smtClean="0"/>
              <a:pPr/>
              <a:t>19-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86701539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557DDF1-B341-4A50-9F0A-CE72A4EDBC28}"/>
              </a:ext>
            </a:extLst>
          </p:cNvPr>
          <p:cNvGraphicFramePr>
            <a:graphicFrameLocks noChangeAspect="1"/>
          </p:cNvGraphicFramePr>
          <p:nvPr userDrawn="1">
            <p:custDataLst>
              <p:tags r:id="rId1"/>
            </p:custDataLst>
            <p:extLst>
              <p:ext uri="{D42A27DB-BD31-4B8C-83A1-F6EECF244321}">
                <p14:modId xmlns:p14="http://schemas.microsoft.com/office/powerpoint/2010/main" val="2352957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4557DDF1-B341-4A50-9F0A-CE72A4EDBC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da-DK" smtClean="0"/>
              <a:pPr/>
              <a:t>19-06-2024</a:t>
            </a:fld>
            <a:endParaRPr lang="da-DK"/>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492367252"/>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F51A2E8-EAA6-46ED-9053-DD5D6AD76EF7}"/>
              </a:ext>
            </a:extLst>
          </p:cNvPr>
          <p:cNvGraphicFramePr>
            <a:graphicFrameLocks noChangeAspect="1"/>
          </p:cNvGraphicFramePr>
          <p:nvPr userDrawn="1">
            <p:custDataLst>
              <p:tags r:id="rId1"/>
            </p:custDataLst>
            <p:extLst>
              <p:ext uri="{D42A27DB-BD31-4B8C-83A1-F6EECF244321}">
                <p14:modId xmlns:p14="http://schemas.microsoft.com/office/powerpoint/2010/main" val="191480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F51A2E8-EAA6-46ED-9053-DD5D6AD76E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da-DK" smtClean="0"/>
              <a:pPr/>
              <a:t>19-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371200853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B3AC83-153D-43B4-BBB3-9DC474C78DBD}"/>
              </a:ext>
            </a:extLst>
          </p:cNvPr>
          <p:cNvGraphicFramePr>
            <a:graphicFrameLocks noChangeAspect="1"/>
          </p:cNvGraphicFramePr>
          <p:nvPr userDrawn="1">
            <p:custDataLst>
              <p:tags r:id="rId1"/>
            </p:custDataLst>
            <p:extLst>
              <p:ext uri="{D42A27DB-BD31-4B8C-83A1-F6EECF244321}">
                <p14:modId xmlns:p14="http://schemas.microsoft.com/office/powerpoint/2010/main" val="2779528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9EB3AC83-153D-43B4-BBB3-9DC474C78D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59998" y="654050"/>
            <a:ext cx="3583351" cy="1175446"/>
          </a:xfrm>
        </p:spPr>
        <p:txBody>
          <a:bodyPr vert="horz"/>
          <a:lstStyle>
            <a:lvl1pPr rtl="0">
              <a:defRPr sz="4100"/>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rtl="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rtl="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rtl="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rtl="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da-DK" smtClean="0"/>
              <a:pPr/>
              <a:t>19-06-2024</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94702549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AE60287-0DD4-4D01-A53A-5899BF340758}"/>
              </a:ext>
            </a:extLst>
          </p:cNvPr>
          <p:cNvGraphicFramePr>
            <a:graphicFrameLocks noChangeAspect="1"/>
          </p:cNvGraphicFramePr>
          <p:nvPr userDrawn="1">
            <p:custDataLst>
              <p:tags r:id="rId1"/>
            </p:custDataLst>
            <p:extLst>
              <p:ext uri="{D42A27DB-BD31-4B8C-83A1-F6EECF244321}">
                <p14:modId xmlns:p14="http://schemas.microsoft.com/office/powerpoint/2010/main" val="1320407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BAE60287-0DD4-4D01-A53A-5899BF3407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da-DK" smtClean="0"/>
              <a:pPr/>
              <a:t>19-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090430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FDAE5E-5EB6-4945-AF41-2EC218E4C572}"/>
              </a:ext>
            </a:extLst>
          </p:cNvPr>
          <p:cNvGraphicFramePr>
            <a:graphicFrameLocks noChangeAspect="1"/>
          </p:cNvGraphicFramePr>
          <p:nvPr userDrawn="1">
            <p:custDataLst>
              <p:tags r:id="rId1"/>
            </p:custDataLst>
            <p:extLst>
              <p:ext uri="{D42A27DB-BD31-4B8C-83A1-F6EECF244321}">
                <p14:modId xmlns:p14="http://schemas.microsoft.com/office/powerpoint/2010/main" val="627160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1FDAE5E-5EB6-4945-AF41-2EC218E4C5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da-DK" smtClean="0"/>
              <a:pPr/>
              <a:t>19-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877688799"/>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DC1A67D-15B4-4A31-BCD6-E4373097286D}"/>
              </a:ext>
            </a:extLst>
          </p:cNvPr>
          <p:cNvGraphicFramePr>
            <a:graphicFrameLocks noChangeAspect="1"/>
          </p:cNvGraphicFramePr>
          <p:nvPr userDrawn="1">
            <p:custDataLst>
              <p:tags r:id="rId1"/>
            </p:custDataLst>
            <p:extLst>
              <p:ext uri="{D42A27DB-BD31-4B8C-83A1-F6EECF244321}">
                <p14:modId xmlns:p14="http://schemas.microsoft.com/office/powerpoint/2010/main" val="3053914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FDC1A67D-15B4-4A31-BCD6-E437309728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da-DK" smtClean="0"/>
              <a:pPr/>
              <a:t>19-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a:t>
            </a:fld>
            <a:endParaRPr lang="da-DK"/>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486080"/>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F09C2E-31C1-4F9B-9740-71B6014FE194}"/>
              </a:ext>
            </a:extLst>
          </p:cNvPr>
          <p:cNvGraphicFramePr>
            <a:graphicFrameLocks noChangeAspect="1"/>
          </p:cNvGraphicFramePr>
          <p:nvPr userDrawn="1">
            <p:custDataLst>
              <p:tags r:id="rId1"/>
            </p:custDataLst>
            <p:extLst>
              <p:ext uri="{D42A27DB-BD31-4B8C-83A1-F6EECF244321}">
                <p14:modId xmlns:p14="http://schemas.microsoft.com/office/powerpoint/2010/main" val="2595208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4BF09C2E-31C1-4F9B-9740-71B6014FE1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rtl="0">
              <a:defRPr sz="100">
                <a:noFill/>
              </a:defRPr>
            </a:lvl1pPr>
          </a:lstStyle>
          <a:p>
            <a:fld id="{C4B04AE4-03BB-4174-AD21-7567A4C959F4}" type="datetime1">
              <a:rPr lang="da-DK" smtClean="0"/>
              <a:pPr/>
              <a:t>19-06-2024</a:t>
            </a:fld>
            <a:endParaRPr lang="da-DK"/>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lvl1pPr rtl="0">
              <a:defRPr/>
            </a:lvl1pPr>
          </a:lstStyle>
          <a:p>
            <a:endParaRPr lang="da-DK"/>
          </a:p>
        </p:txBody>
      </p:sp>
    </p:spTree>
    <p:extLst>
      <p:ext uri="{BB962C8B-B14F-4D97-AF65-F5344CB8AC3E}">
        <p14:creationId xmlns:p14="http://schemas.microsoft.com/office/powerpoint/2010/main" val="2247901837"/>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8FEC5D-208A-45E5-B6AE-C5854E801034}"/>
              </a:ext>
            </a:extLst>
          </p:cNvPr>
          <p:cNvGraphicFramePr>
            <a:graphicFrameLocks noChangeAspect="1"/>
          </p:cNvGraphicFramePr>
          <p:nvPr userDrawn="1">
            <p:custDataLst>
              <p:tags r:id="rId1"/>
            </p:custDataLst>
            <p:extLst>
              <p:ext uri="{D42A27DB-BD31-4B8C-83A1-F6EECF244321}">
                <p14:modId xmlns:p14="http://schemas.microsoft.com/office/powerpoint/2010/main" val="189040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218FEC5D-208A-45E5-B6AE-C5854E8010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da-DK" smtClean="0"/>
              <a:pPr/>
              <a:t>19-06-2024</a:t>
            </a:fld>
            <a:endParaRPr lang="da-DK"/>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630868409"/>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42EF20-83FC-47CD-9A6B-22CA8EBF2AB1}"/>
              </a:ext>
            </a:extLst>
          </p:cNvPr>
          <p:cNvGraphicFramePr>
            <a:graphicFrameLocks noChangeAspect="1"/>
          </p:cNvGraphicFramePr>
          <p:nvPr userDrawn="1">
            <p:custDataLst>
              <p:tags r:id="rId1"/>
            </p:custDataLst>
            <p:extLst>
              <p:ext uri="{D42A27DB-BD31-4B8C-83A1-F6EECF244321}">
                <p14:modId xmlns:p14="http://schemas.microsoft.com/office/powerpoint/2010/main" val="2746990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242EF20-83FC-47CD-9A6B-22CA8EBF2A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rtl="0">
              <a:defRPr sz="100">
                <a:noFill/>
              </a:defRPr>
            </a:lvl1pPr>
          </a:lstStyle>
          <a:p>
            <a:fld id="{F6C1ADEE-7B52-423A-9878-0398FEFAF71F}" type="datetime1">
              <a:rPr lang="da-DK" smtClean="0"/>
              <a:pPr/>
              <a:t>19-06-2024</a:t>
            </a:fld>
            <a:endParaRPr lang="da-DK"/>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lvl1pPr rtl="0">
              <a:defRPr/>
            </a:lvl1pPr>
          </a:lstStyle>
          <a:p>
            <a:endParaRPr lang="da-DK"/>
          </a:p>
        </p:txBody>
      </p:sp>
    </p:spTree>
    <p:extLst>
      <p:ext uri="{BB962C8B-B14F-4D97-AF65-F5344CB8AC3E}">
        <p14:creationId xmlns:p14="http://schemas.microsoft.com/office/powerpoint/2010/main" val="4138849815"/>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8740DD9-43CE-4C3E-97A1-ADF13214434B}"/>
              </a:ext>
            </a:extLst>
          </p:cNvPr>
          <p:cNvGraphicFramePr>
            <a:graphicFrameLocks noChangeAspect="1"/>
          </p:cNvGraphicFramePr>
          <p:nvPr userDrawn="1">
            <p:custDataLst>
              <p:tags r:id="rId1"/>
            </p:custDataLst>
            <p:extLst>
              <p:ext uri="{D42A27DB-BD31-4B8C-83A1-F6EECF244321}">
                <p14:modId xmlns:p14="http://schemas.microsoft.com/office/powerpoint/2010/main" val="133398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8740DD9-43CE-4C3E-97A1-ADF1321443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da-DK" smtClean="0"/>
              <a:pPr/>
              <a:t>19-06-2024</a:t>
            </a:fld>
            <a:endParaRPr lang="da-DK"/>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683894057"/>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F2636-3EAA-407B-9D55-00604C9AAD76}"/>
              </a:ext>
            </a:extLst>
          </p:cNvPr>
          <p:cNvGraphicFramePr>
            <a:graphicFrameLocks noChangeAspect="1"/>
          </p:cNvGraphicFramePr>
          <p:nvPr userDrawn="1">
            <p:custDataLst>
              <p:tags r:id="rId1"/>
            </p:custDataLst>
            <p:extLst>
              <p:ext uri="{D42A27DB-BD31-4B8C-83A1-F6EECF244321}">
                <p14:modId xmlns:p14="http://schemas.microsoft.com/office/powerpoint/2010/main" val="3252173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A92F2636-3EAA-407B-9D55-00604C9AAD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rtl="0">
              <a:defRPr sz="100">
                <a:noFill/>
              </a:defRPr>
            </a:lvl1pPr>
          </a:lstStyle>
          <a:p>
            <a:fld id="{791AE312-9C38-4B88-A1BD-03872F0FCB4A}" type="datetime1">
              <a:rPr lang="da-DK" smtClean="0"/>
              <a:pPr/>
              <a:t>19-06-2024</a:t>
            </a:fld>
            <a:endParaRPr lang="da-DK"/>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rtl="0">
              <a:defRPr>
                <a:solidFill>
                  <a:schemeClr val="bg1"/>
                </a:solidFill>
              </a:defRPr>
            </a:lvl1pPr>
          </a:lstStyle>
          <a:p>
            <a:endParaRPr lang="da-DK"/>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1272824847"/>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A56E38-FDDE-433A-BAF6-AC8D12AFC6FC}"/>
              </a:ext>
            </a:extLst>
          </p:cNvPr>
          <p:cNvGraphicFramePr>
            <a:graphicFrameLocks noChangeAspect="1"/>
          </p:cNvGraphicFramePr>
          <p:nvPr userDrawn="1">
            <p:custDataLst>
              <p:tags r:id="rId1"/>
            </p:custDataLst>
            <p:extLst>
              <p:ext uri="{D42A27DB-BD31-4B8C-83A1-F6EECF244321}">
                <p14:modId xmlns:p14="http://schemas.microsoft.com/office/powerpoint/2010/main" val="377707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A1A56E38-FDDE-433A-BAF6-AC8D12AFC6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50802"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da-DK" smtClean="0"/>
              <a:pPr/>
              <a:t>19-06-2024</a:t>
            </a:fld>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706099923"/>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A58D2D-009C-477A-A7E8-6CBFB3E4C3BD}"/>
              </a:ext>
            </a:extLst>
          </p:cNvPr>
          <p:cNvGraphicFramePr>
            <a:graphicFrameLocks noChangeAspect="1"/>
          </p:cNvGraphicFramePr>
          <p:nvPr userDrawn="1">
            <p:custDataLst>
              <p:tags r:id="rId1"/>
            </p:custDataLst>
            <p:extLst>
              <p:ext uri="{D42A27DB-BD31-4B8C-83A1-F6EECF244321}">
                <p14:modId xmlns:p14="http://schemas.microsoft.com/office/powerpoint/2010/main" val="791056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2A58D2D-009C-477A-A7E8-6CBFB3E4C3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58225" y="654051"/>
            <a:ext cx="4563272"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da-DK" smtClean="0"/>
              <a:pPr/>
              <a:t>19-06-2024</a:t>
            </a:fld>
            <a:endParaRPr lang="da-DK"/>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rtl="0">
              <a:defRPr>
                <a:solidFill>
                  <a:schemeClr val="bg1"/>
                </a:solidFill>
              </a:defRPr>
            </a:lvl1pPr>
          </a:lstStyle>
          <a:p>
            <a:endParaRPr lang="da-DK"/>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287586255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EFBBF1-C009-481F-880D-B72DF8BA5B5C}"/>
              </a:ext>
            </a:extLst>
          </p:cNvPr>
          <p:cNvGraphicFramePr>
            <a:graphicFrameLocks noChangeAspect="1"/>
          </p:cNvGraphicFramePr>
          <p:nvPr userDrawn="1">
            <p:custDataLst>
              <p:tags r:id="rId1"/>
            </p:custDataLst>
            <p:extLst>
              <p:ext uri="{D42A27DB-BD31-4B8C-83A1-F6EECF244321}">
                <p14:modId xmlns:p14="http://schemas.microsoft.com/office/powerpoint/2010/main" val="3622667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E1EFBBF1-C009-481F-880D-B72DF8BA5B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title" hasCustomPrompt="1"/>
          </p:nvPr>
        </p:nvSpPr>
        <p:spPr>
          <a:xfrm>
            <a:off x="359998" y="654050"/>
            <a:ext cx="3583351" cy="1175446"/>
          </a:xfrm>
        </p:spPr>
        <p:txBody>
          <a:bodyPr vert="horz"/>
          <a:lstStyle>
            <a:lvl1pPr rtl="0">
              <a:defRPr sz="4100">
                <a:solidFill>
                  <a:schemeClr val="tx1"/>
                </a:solidFill>
              </a:defRPr>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rtl="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rtl="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rtl="0">
              <a:lnSpc>
                <a:spcPct val="100000"/>
              </a:lnSpc>
              <a:spcBef>
                <a:spcPts val="0"/>
              </a:spcBef>
              <a:spcAft>
                <a:spcPts val="3000"/>
              </a:spcAft>
              <a:buClrTx/>
              <a:buFont typeface="+mj-lt"/>
              <a:buAutoNum type="arabicPeriod"/>
              <a:defRPr sz="1600" b="0">
                <a:solidFill>
                  <a:schemeClr val="tx1"/>
                </a:solidFill>
              </a:defRPr>
            </a:lvl4pPr>
            <a:lvl5pPr marL="342900" indent="-342900" rtl="0">
              <a:lnSpc>
                <a:spcPct val="100000"/>
              </a:lnSpc>
              <a:spcBef>
                <a:spcPts val="0"/>
              </a:spcBef>
              <a:spcAft>
                <a:spcPts val="3000"/>
              </a:spcAft>
              <a:buClrTx/>
              <a:buFont typeface="+mj-lt"/>
              <a:buAutoNum type="arabicPeriod"/>
              <a:defRPr sz="1600" b="0">
                <a:solidFill>
                  <a:schemeClr val="tx1"/>
                </a:solidFill>
              </a:defRPr>
            </a:lvl5pPr>
            <a:lvl6pPr marL="342900" indent="-342900" rtl="0">
              <a:lnSpc>
                <a:spcPct val="100000"/>
              </a:lnSpc>
              <a:spcBef>
                <a:spcPts val="0"/>
              </a:spcBef>
              <a:spcAft>
                <a:spcPts val="3000"/>
              </a:spcAft>
              <a:buClrTx/>
              <a:buFont typeface="+mj-lt"/>
              <a:buAutoNum type="arabicPeriod"/>
              <a:defRPr sz="1600" b="0">
                <a:solidFill>
                  <a:schemeClr val="tx1"/>
                </a:solidFill>
              </a:defRPr>
            </a:lvl6pPr>
            <a:lvl7pPr marL="342900" indent="-342900" rtl="0">
              <a:lnSpc>
                <a:spcPct val="100000"/>
              </a:lnSpc>
              <a:spcBef>
                <a:spcPts val="0"/>
              </a:spcBef>
              <a:spcAft>
                <a:spcPts val="3000"/>
              </a:spcAft>
              <a:buClrTx/>
              <a:buFont typeface="+mj-lt"/>
              <a:buAutoNum type="arabicPeriod"/>
              <a:defRPr sz="1600" b="0">
                <a:solidFill>
                  <a:schemeClr val="tx1"/>
                </a:solidFill>
              </a:defRPr>
            </a:lvl7pPr>
            <a:lvl8pPr marL="342900" indent="-342900" rtl="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rtl="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da-DK" smtClean="0"/>
              <a:pPr/>
              <a:t>19-06-2024</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da-DK" smtClean="0"/>
              <a:pPr/>
              <a:t>‹#›</a:t>
            </a:fld>
            <a:endParaRPr lang="da-DK"/>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1811271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BFD55A-4F3D-4A85-8475-178D9DF5C530}"/>
              </a:ext>
            </a:extLst>
          </p:cNvPr>
          <p:cNvGraphicFramePr>
            <a:graphicFrameLocks noChangeAspect="1"/>
          </p:cNvGraphicFramePr>
          <p:nvPr userDrawn="1">
            <p:custDataLst>
              <p:tags r:id="rId1"/>
            </p:custDataLst>
            <p:extLst>
              <p:ext uri="{D42A27DB-BD31-4B8C-83A1-F6EECF244321}">
                <p14:modId xmlns:p14="http://schemas.microsoft.com/office/powerpoint/2010/main" val="336243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EDBFD55A-4F3D-4A85-8475-178D9DF5C5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da-DK" smtClean="0"/>
              <a:pPr/>
              <a:t>19-06-2024</a:t>
            </a:fld>
            <a:endParaRPr lang="da-DK"/>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68513201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670840-F4BC-4F38-8592-0661A8253093}"/>
              </a:ext>
            </a:extLst>
          </p:cNvPr>
          <p:cNvGraphicFramePr>
            <a:graphicFrameLocks noChangeAspect="1"/>
          </p:cNvGraphicFramePr>
          <p:nvPr userDrawn="1">
            <p:custDataLst>
              <p:tags r:id="rId1"/>
            </p:custDataLst>
            <p:extLst>
              <p:ext uri="{D42A27DB-BD31-4B8C-83A1-F6EECF244321}">
                <p14:modId xmlns:p14="http://schemas.microsoft.com/office/powerpoint/2010/main" val="2594851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FE670840-F4BC-4F38-8592-0661A82530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48399" y="654050"/>
            <a:ext cx="6184800" cy="2349449"/>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da-DK" smtClean="0"/>
              <a:pPr/>
              <a:t>19-06-2024</a:t>
            </a:fld>
            <a:endParaRPr lang="da-DK"/>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lvl1pPr rtl="0">
              <a:defRPr/>
            </a:lvl1pPr>
          </a:lstStyle>
          <a:p>
            <a:endParaRPr lang="da-DK"/>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343135904"/>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D0B381F-A21F-43A5-AF52-1A2745AC1B2D}"/>
              </a:ext>
            </a:extLst>
          </p:cNvPr>
          <p:cNvGraphicFramePr>
            <a:graphicFrameLocks noChangeAspect="1"/>
          </p:cNvGraphicFramePr>
          <p:nvPr userDrawn="1">
            <p:custDataLst>
              <p:tags r:id="rId1"/>
            </p:custDataLst>
            <p:extLst>
              <p:ext uri="{D42A27DB-BD31-4B8C-83A1-F6EECF244321}">
                <p14:modId xmlns:p14="http://schemas.microsoft.com/office/powerpoint/2010/main" val="236967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D0B381F-A21F-43A5-AF52-1A2745AC1B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da-DK" smtClean="0"/>
              <a:pPr/>
              <a:t>19-06-2024</a:t>
            </a:fld>
            <a:endParaRPr lang="da-DK"/>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4246638903"/>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E53B51C-6617-44DF-A9BD-BD3480363F5B}"/>
              </a:ext>
            </a:extLst>
          </p:cNvPr>
          <p:cNvGraphicFramePr>
            <a:graphicFrameLocks noChangeAspect="1"/>
          </p:cNvGraphicFramePr>
          <p:nvPr userDrawn="1">
            <p:custDataLst>
              <p:tags r:id="rId1"/>
            </p:custDataLst>
            <p:extLst>
              <p:ext uri="{D42A27DB-BD31-4B8C-83A1-F6EECF244321}">
                <p14:modId xmlns:p14="http://schemas.microsoft.com/office/powerpoint/2010/main" val="28439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FE53B51C-6617-44DF-A9BD-BD3480363F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7260312" y="654051"/>
            <a:ext cx="4575290" cy="2349448"/>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da-DK" smtClean="0"/>
              <a:pPr/>
              <a:t>19-06-2024</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7888237"/>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DCC80B-CA1B-42C1-925B-B49AB5DE3F9F}"/>
              </a:ext>
            </a:extLst>
          </p:cNvPr>
          <p:cNvGraphicFramePr>
            <a:graphicFrameLocks noChangeAspect="1"/>
          </p:cNvGraphicFramePr>
          <p:nvPr userDrawn="1">
            <p:custDataLst>
              <p:tags r:id="rId1"/>
            </p:custDataLst>
            <p:extLst>
              <p:ext uri="{D42A27DB-BD31-4B8C-83A1-F6EECF244321}">
                <p14:modId xmlns:p14="http://schemas.microsoft.com/office/powerpoint/2010/main" val="1439938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4DCC80B-CA1B-42C1-925B-B49AB5DE3F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360000" y="654051"/>
            <a:ext cx="3584974" cy="2136774"/>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da-DK" smtClean="0"/>
              <a:pPr/>
              <a:t>19-06-2024</a:t>
            </a:fld>
            <a:endParaRPr lang="da-DK"/>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2638929647"/>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3FE8520-24A3-48D5-A339-BF98E17D9B81}"/>
              </a:ext>
            </a:extLst>
          </p:cNvPr>
          <p:cNvGraphicFramePr>
            <a:graphicFrameLocks noChangeAspect="1"/>
          </p:cNvGraphicFramePr>
          <p:nvPr userDrawn="1">
            <p:custDataLst>
              <p:tags r:id="rId1"/>
            </p:custDataLst>
            <p:extLst>
              <p:ext uri="{D42A27DB-BD31-4B8C-83A1-F6EECF244321}">
                <p14:modId xmlns:p14="http://schemas.microsoft.com/office/powerpoint/2010/main" val="2319248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3FE8520-24A3-48D5-A339-BF98E17D9B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60312" y="654051"/>
            <a:ext cx="4575290" cy="2349448"/>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da-DK" smtClean="0"/>
              <a:pPr/>
              <a:t>19-06-2024</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rtl="0">
              <a:defRPr>
                <a:solidFill>
                  <a:schemeClr val="accent2"/>
                </a:solidFill>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259937643"/>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F232F3-17CC-4766-B05D-DCD55CD707FA}"/>
              </a:ext>
            </a:extLst>
          </p:cNvPr>
          <p:cNvGraphicFramePr>
            <a:graphicFrameLocks noChangeAspect="1"/>
          </p:cNvGraphicFramePr>
          <p:nvPr userDrawn="1">
            <p:custDataLst>
              <p:tags r:id="rId1"/>
            </p:custDataLst>
            <p:extLst>
              <p:ext uri="{D42A27DB-BD31-4B8C-83A1-F6EECF244321}">
                <p14:modId xmlns:p14="http://schemas.microsoft.com/office/powerpoint/2010/main" val="1196212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8F232F3-17CC-4766-B05D-DCD55CD707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1"/>
            <a:ext cx="3584974" cy="2136774"/>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da-DK" smtClean="0"/>
              <a:pPr/>
              <a:t>19-06-2024</a:t>
            </a:fld>
            <a:endParaRPr lang="da-DK"/>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da-DK" smtClean="0"/>
              <a:pPr/>
              <a:t>‹#›</a:t>
            </a:fld>
            <a:endParaRPr lang="da-DK"/>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2993582613"/>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0CD2189-9650-477A-85BC-7A51E3A993E7}"/>
              </a:ext>
            </a:extLst>
          </p:cNvPr>
          <p:cNvGraphicFramePr>
            <a:graphicFrameLocks noChangeAspect="1"/>
          </p:cNvGraphicFramePr>
          <p:nvPr userDrawn="1">
            <p:custDataLst>
              <p:tags r:id="rId1"/>
            </p:custDataLst>
            <p:extLst>
              <p:ext uri="{D42A27DB-BD31-4B8C-83A1-F6EECF244321}">
                <p14:modId xmlns:p14="http://schemas.microsoft.com/office/powerpoint/2010/main" val="183900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A0CD2189-9650-477A-85BC-7A51E3A993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rtl="0">
              <a:defRPr sz="100">
                <a:noFill/>
              </a:defRPr>
            </a:lvl1pPr>
          </a:lstStyle>
          <a:p>
            <a:fld id="{87CEE0B2-D606-4C87-BD16-18AC95AF549F}" type="datetime1">
              <a:rPr lang="da-DK" smtClean="0"/>
              <a:pPr/>
              <a:t>19-06-2024</a:t>
            </a:fld>
            <a:endParaRPr lang="da-DK"/>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a:t>
            </a:fld>
            <a:endParaRPr lang="da-DK"/>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da-DK" noProof="0"/>
              <a:t>Click to add title</a:t>
            </a:r>
          </a:p>
        </p:txBody>
      </p:sp>
    </p:spTree>
    <p:extLst>
      <p:ext uri="{BB962C8B-B14F-4D97-AF65-F5344CB8AC3E}">
        <p14:creationId xmlns:p14="http://schemas.microsoft.com/office/powerpoint/2010/main" val="25274109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F2A449F-63F0-4261-AFD8-ACCA8BD05C33}"/>
              </a:ext>
            </a:extLst>
          </p:cNvPr>
          <p:cNvGraphicFramePr>
            <a:graphicFrameLocks noChangeAspect="1"/>
          </p:cNvGraphicFramePr>
          <p:nvPr userDrawn="1">
            <p:custDataLst>
              <p:tags r:id="rId1"/>
            </p:custDataLst>
            <p:extLst>
              <p:ext uri="{D42A27DB-BD31-4B8C-83A1-F6EECF244321}">
                <p14:modId xmlns:p14="http://schemas.microsoft.com/office/powerpoint/2010/main" val="643237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CF2A449F-63F0-4261-AFD8-ACCA8BD05C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bg2"/>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da-DK" smtClean="0"/>
              <a:pPr/>
              <a:t>19-06-2024</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da-DK" smtClean="0"/>
              <a:pPr/>
              <a:t>‹#›</a:t>
            </a:fld>
            <a:endParaRPr lang="da-DK"/>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2"/>
                </a:solidFill>
              </a:rPr>
              <a:t>Ramboll</a:t>
            </a:r>
          </a:p>
        </p:txBody>
      </p:sp>
    </p:spTree>
    <p:extLst>
      <p:ext uri="{BB962C8B-B14F-4D97-AF65-F5344CB8AC3E}">
        <p14:creationId xmlns:p14="http://schemas.microsoft.com/office/powerpoint/2010/main" val="969793231"/>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AF7C25-4370-4339-B323-813EDFF5383A}"/>
              </a:ext>
            </a:extLst>
          </p:cNvPr>
          <p:cNvGraphicFramePr>
            <a:graphicFrameLocks noChangeAspect="1"/>
          </p:cNvGraphicFramePr>
          <p:nvPr userDrawn="1">
            <p:custDataLst>
              <p:tags r:id="rId1"/>
            </p:custDataLst>
            <p:extLst>
              <p:ext uri="{D42A27DB-BD31-4B8C-83A1-F6EECF244321}">
                <p14:modId xmlns:p14="http://schemas.microsoft.com/office/powerpoint/2010/main" val="184906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49AF7C25-4370-4339-B323-813EDFF538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tx1"/>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tx1"/>
                </a:solidFill>
              </a:defRPr>
            </a:lvl1pPr>
          </a:lstStyle>
          <a:p>
            <a:fld id="{F24941B2-5F7F-4165-B2DE-D010B7A4A5F5}" type="datetime1">
              <a:rPr lang="da-DK" smtClean="0"/>
              <a:pPr/>
              <a:t>19-06-2024</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tx1"/>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tx1"/>
                </a:solidFill>
              </a:defRPr>
            </a:lvl1pPr>
          </a:lstStyle>
          <a:p>
            <a:fld id="{23AA811B-2EBD-4900-905E-5BE206449611}" type="slidenum">
              <a:rPr lang="da-DK" smtClean="0"/>
              <a:pPr/>
              <a:t>‹#›</a:t>
            </a:fld>
            <a:endParaRPr lang="da-DK"/>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4030931373"/>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slideLayout" Target="../slideLayouts/slideLayout94.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50" Type="http://schemas.openxmlformats.org/officeDocument/2006/relationships/slideLayout" Target="../slideLayouts/slideLayout105.xml"/><Relationship Id="rId55" Type="http://schemas.openxmlformats.org/officeDocument/2006/relationships/slideLayout" Target="../slideLayouts/slideLayout110.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59" Type="http://schemas.openxmlformats.org/officeDocument/2006/relationships/image" Target="../media/image1.emf"/><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slideLayout" Target="../slideLayouts/slideLayout84.xml"/><Relationship Id="rId41" Type="http://schemas.openxmlformats.org/officeDocument/2006/relationships/slideLayout" Target="../slideLayouts/slideLayout96.xml"/><Relationship Id="rId54" Type="http://schemas.openxmlformats.org/officeDocument/2006/relationships/slideLayout" Target="../slideLayouts/slideLayout109.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53" Type="http://schemas.openxmlformats.org/officeDocument/2006/relationships/slideLayout" Target="../slideLayouts/slideLayout108.xml"/><Relationship Id="rId58" Type="http://schemas.openxmlformats.org/officeDocument/2006/relationships/oleObject" Target="../embeddings/oleObject57.bin"/><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slideLayout" Target="../slideLayouts/slideLayout104.xml"/><Relationship Id="rId57" Type="http://schemas.openxmlformats.org/officeDocument/2006/relationships/tags" Target="../tags/tag58.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52" Type="http://schemas.openxmlformats.org/officeDocument/2006/relationships/slideLayout" Target="../slideLayouts/slideLayout107.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slideLayout" Target="../slideLayouts/slideLayout103.xml"/><Relationship Id="rId56" Type="http://schemas.openxmlformats.org/officeDocument/2006/relationships/theme" Target="../theme/theme2.xml"/><Relationship Id="rId8" Type="http://schemas.openxmlformats.org/officeDocument/2006/relationships/slideLayout" Target="../slideLayouts/slideLayout63.xml"/><Relationship Id="rId51" Type="http://schemas.openxmlformats.org/officeDocument/2006/relationships/slideLayout" Target="../slideLayouts/slideLayout106.xml"/><Relationship Id="rId3"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9" Type="http://schemas.openxmlformats.org/officeDocument/2006/relationships/slideLayout" Target="../slideLayouts/slideLayout149.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34" Type="http://schemas.openxmlformats.org/officeDocument/2006/relationships/slideLayout" Target="../slideLayouts/slideLayout144.xml"/><Relationship Id="rId42" Type="http://schemas.openxmlformats.org/officeDocument/2006/relationships/oleObject" Target="../embeddings/oleObject113.bin"/><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slideLayout" Target="../slideLayouts/slideLayout143.xml"/><Relationship Id="rId38" Type="http://schemas.openxmlformats.org/officeDocument/2006/relationships/slideLayout" Target="../slideLayouts/slideLayout148.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41" Type="http://schemas.openxmlformats.org/officeDocument/2006/relationships/tags" Target="../tags/tag114.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37" Type="http://schemas.openxmlformats.org/officeDocument/2006/relationships/slideLayout" Target="../slideLayouts/slideLayout147.xml"/><Relationship Id="rId40" Type="http://schemas.openxmlformats.org/officeDocument/2006/relationships/theme" Target="../theme/theme3.xml"/><Relationship Id="rId45" Type="http://schemas.openxmlformats.org/officeDocument/2006/relationships/image" Target="../media/image21.png"/><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36" Type="http://schemas.openxmlformats.org/officeDocument/2006/relationships/slideLayout" Target="../slideLayouts/slideLayout146.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slideLayout" Target="../slideLayouts/slideLayout141.xml"/><Relationship Id="rId44" Type="http://schemas.openxmlformats.org/officeDocument/2006/relationships/image" Target="../media/image20.png"/><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slideLayout" Target="../slideLayouts/slideLayout145.xml"/><Relationship Id="rId43" Type="http://schemas.openxmlformats.org/officeDocument/2006/relationships/image" Target="../media/image19.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5A3CF6-4343-4A8B-9C19-D343D6B48BAA}"/>
              </a:ext>
            </a:extLst>
          </p:cNvPr>
          <p:cNvGraphicFramePr>
            <a:graphicFrameLocks noChangeAspect="1"/>
          </p:cNvGraphicFramePr>
          <p:nvPr userDrawn="1">
            <p:custDataLst>
              <p:tags r:id="rId57"/>
            </p:custDataLst>
            <p:extLst>
              <p:ext uri="{D42A27DB-BD31-4B8C-83A1-F6EECF244321}">
                <p14:modId xmlns:p14="http://schemas.microsoft.com/office/powerpoint/2010/main" val="2721697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08" imgH="408" progId="TCLayout.ActiveDocument.1">
                  <p:embed/>
                </p:oleObj>
              </mc:Choice>
              <mc:Fallback>
                <p:oleObj name="think-cell Slide" r:id="rId58" imgW="408" imgH="408" progId="TCLayout.ActiveDocument.1">
                  <p:embed/>
                  <p:pic>
                    <p:nvPicPr>
                      <p:cNvPr id="6" name="Object 5" hidden="1">
                        <a:extLst>
                          <a:ext uri="{FF2B5EF4-FFF2-40B4-BE49-F238E27FC236}">
                            <a16:creationId xmlns:a16="http://schemas.microsoft.com/office/drawing/2014/main" id="{445A3CF6-4343-4A8B-9C19-D343D6B48BAA}"/>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pPr rtl="0"/>
            <a:r>
              <a:rPr lang="da-DK"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da-DK"/>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da-DK" noProof="0"/>
              <a:t>Level 1 (Enter+TAB for next text level, SHIFT+TAB to go back in levels)</a:t>
            </a:r>
          </a:p>
          <a:p>
            <a:pPr lvl="1"/>
            <a:r>
              <a:rPr lang="da-DK" noProof="0"/>
              <a:t>Level 2</a:t>
            </a:r>
          </a:p>
          <a:p>
            <a:pPr lvl="2"/>
            <a:r>
              <a:rPr lang="da-DK" noProof="0"/>
              <a:t>Level 3</a:t>
            </a:r>
          </a:p>
          <a:p>
            <a:pPr lvl="3"/>
            <a:r>
              <a:rPr lang="da-DK" noProof="0"/>
              <a:t>Level 4</a:t>
            </a:r>
          </a:p>
          <a:p>
            <a:pPr lvl="4"/>
            <a:r>
              <a:rPr lang="da-DK" noProof="0"/>
              <a:t>Level 5</a:t>
            </a:r>
          </a:p>
          <a:p>
            <a:pPr lvl="5"/>
            <a:r>
              <a:rPr lang="da-DK" noProof="0"/>
              <a:t>Level 6</a:t>
            </a:r>
          </a:p>
          <a:p>
            <a:pPr lvl="6"/>
            <a:r>
              <a:rPr lang="da-DK" noProof="0"/>
              <a:t>Level 7</a:t>
            </a:r>
          </a:p>
          <a:p>
            <a:pPr lvl="7"/>
            <a:r>
              <a:rPr lang="da-DK" noProof="0"/>
              <a:t>Level 8</a:t>
            </a:r>
          </a:p>
          <a:p>
            <a:pPr lvl="8"/>
            <a:r>
              <a:rPr lang="da-DK"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rtl="0">
              <a:defRPr sz="700">
                <a:solidFill>
                  <a:schemeClr val="tx2"/>
                </a:solidFill>
              </a:defRPr>
            </a:lvl1pPr>
          </a:lstStyle>
          <a:p>
            <a:fld id="{D7C7A626-396F-47CE-9599-33B16A849820}" type="datetime1">
              <a:rPr lang="da-DK" smtClean="0"/>
              <a:pPr/>
              <a:t>19-06-2024</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rtl="0">
              <a:defRPr sz="700">
                <a:solidFill>
                  <a:schemeClr val="tx2"/>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rtl="0">
              <a:defRPr sz="700">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userDrawn="1">
          <p15:clr>
            <a:srgbClr val="A4A3A4"/>
          </p15:clr>
        </p15:guide>
        <p15:guide id="2" pos="847" userDrawn="1">
          <p15:clr>
            <a:srgbClr val="A4A3A4"/>
          </p15:clr>
        </p15:guide>
        <p15:guide id="3" orient="horz" pos="410" userDrawn="1">
          <p15:clr>
            <a:srgbClr val="F26B43"/>
          </p15:clr>
        </p15:guide>
        <p15:guide id="4" orient="horz" pos="4135" userDrawn="1">
          <p15:clr>
            <a:srgbClr val="A4A3A4"/>
          </p15:clr>
        </p15:guide>
        <p15:guide id="5" pos="226" userDrawn="1">
          <p15:clr>
            <a:srgbClr val="F26B43"/>
          </p15:clr>
        </p15:guide>
        <p15:guide id="6" pos="7453" userDrawn="1">
          <p15:clr>
            <a:srgbClr val="F26B43"/>
          </p15:clr>
        </p15:guide>
        <p15:guide id="7" orient="horz" pos="1152" userDrawn="1">
          <p15:clr>
            <a:srgbClr val="F26B43"/>
          </p15:clr>
        </p15:guide>
        <p15:guide id="8" pos="1242" userDrawn="1">
          <p15:clr>
            <a:srgbClr val="A4A3A4"/>
          </p15:clr>
        </p15:guide>
        <p15:guide id="9" pos="1468" userDrawn="1">
          <p15:clr>
            <a:srgbClr val="A4A3A4"/>
          </p15:clr>
        </p15:guide>
        <p15:guide id="10" pos="1863" userDrawn="1">
          <p15:clr>
            <a:srgbClr val="A4A3A4"/>
          </p15:clr>
        </p15:guide>
        <p15:guide id="11" pos="2090" userDrawn="1">
          <p15:clr>
            <a:srgbClr val="A4A3A4"/>
          </p15:clr>
        </p15:guide>
        <p15:guide id="12" pos="2484" userDrawn="1">
          <p15:clr>
            <a:srgbClr val="A4A3A4"/>
          </p15:clr>
        </p15:guide>
        <p15:guide id="13" pos="2711" userDrawn="1">
          <p15:clr>
            <a:srgbClr val="A4A3A4"/>
          </p15:clr>
        </p15:guide>
        <p15:guide id="14" pos="3105" userDrawn="1">
          <p15:clr>
            <a:srgbClr val="A4A3A4"/>
          </p15:clr>
        </p15:guide>
        <p15:guide id="15" pos="3332" userDrawn="1">
          <p15:clr>
            <a:srgbClr val="A4A3A4"/>
          </p15:clr>
        </p15:guide>
        <p15:guide id="16" pos="3726" userDrawn="1">
          <p15:clr>
            <a:srgbClr val="A4A3A4"/>
          </p15:clr>
        </p15:guide>
        <p15:guide id="17" pos="3953" userDrawn="1">
          <p15:clr>
            <a:srgbClr val="A4A3A4"/>
          </p15:clr>
        </p15:guide>
        <p15:guide id="18" pos="4347" userDrawn="1">
          <p15:clr>
            <a:srgbClr val="A4A3A4"/>
          </p15:clr>
        </p15:guide>
        <p15:guide id="19" pos="4574" userDrawn="1">
          <p15:clr>
            <a:srgbClr val="A4A3A4"/>
          </p15:clr>
        </p15:guide>
        <p15:guide id="20" pos="4968" userDrawn="1">
          <p15:clr>
            <a:srgbClr val="A4A3A4"/>
          </p15:clr>
        </p15:guide>
        <p15:guide id="21" pos="5195" userDrawn="1">
          <p15:clr>
            <a:srgbClr val="A4A3A4"/>
          </p15:clr>
        </p15:guide>
        <p15:guide id="22" pos="5589" userDrawn="1">
          <p15:clr>
            <a:srgbClr val="A4A3A4"/>
          </p15:clr>
        </p15:guide>
        <p15:guide id="23" pos="5816" userDrawn="1">
          <p15:clr>
            <a:srgbClr val="A4A3A4"/>
          </p15:clr>
        </p15:guide>
        <p15:guide id="24" pos="6211" userDrawn="1">
          <p15:clr>
            <a:srgbClr val="A4A3A4"/>
          </p15:clr>
        </p15:guide>
        <p15:guide id="25" pos="6437" userDrawn="1">
          <p15:clr>
            <a:srgbClr val="A4A3A4"/>
          </p15:clr>
        </p15:guide>
        <p15:guide id="26" pos="6832" userDrawn="1">
          <p15:clr>
            <a:srgbClr val="A4A3A4"/>
          </p15:clr>
        </p15:guide>
        <p15:guide id="27" pos="7058" userDrawn="1">
          <p15:clr>
            <a:srgbClr val="A4A3A4"/>
          </p15:clr>
        </p15:guide>
        <p15:guide id="28" orient="horz" pos="385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AE5F9C-F329-47C6-8F94-5BCE2A7C40CE}"/>
              </a:ext>
            </a:extLst>
          </p:cNvPr>
          <p:cNvGraphicFramePr>
            <a:graphicFrameLocks noChangeAspect="1"/>
          </p:cNvGraphicFramePr>
          <p:nvPr userDrawn="1">
            <p:custDataLst>
              <p:tags r:id="rId57"/>
            </p:custDataLst>
            <p:extLst>
              <p:ext uri="{D42A27DB-BD31-4B8C-83A1-F6EECF244321}">
                <p14:modId xmlns:p14="http://schemas.microsoft.com/office/powerpoint/2010/main" val="1952553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08" imgH="408" progId="TCLayout.ActiveDocument.1">
                  <p:embed/>
                </p:oleObj>
              </mc:Choice>
              <mc:Fallback>
                <p:oleObj name="think-cell Slide" r:id="rId58" imgW="408" imgH="408" progId="TCLayout.ActiveDocument.1">
                  <p:embed/>
                  <p:pic>
                    <p:nvPicPr>
                      <p:cNvPr id="6" name="Object 5" hidden="1">
                        <a:extLst>
                          <a:ext uri="{FF2B5EF4-FFF2-40B4-BE49-F238E27FC236}">
                            <a16:creationId xmlns:a16="http://schemas.microsoft.com/office/drawing/2014/main" id="{F9AE5F9C-F329-47C6-8F94-5BCE2A7C40CE}"/>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pPr rtl="0"/>
            <a:r>
              <a:rPr lang="da-DK"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da-DK"/>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da-DK" noProof="0"/>
              <a:t>Level 1 (Enter+TAB for next text level, SHIFT+TAB to go back in levels)</a:t>
            </a:r>
          </a:p>
          <a:p>
            <a:pPr lvl="1"/>
            <a:r>
              <a:rPr lang="da-DK" noProof="0"/>
              <a:t>Level 2</a:t>
            </a:r>
          </a:p>
          <a:p>
            <a:pPr lvl="2"/>
            <a:r>
              <a:rPr lang="da-DK" noProof="0"/>
              <a:t>Level 3</a:t>
            </a:r>
          </a:p>
          <a:p>
            <a:pPr lvl="3"/>
            <a:r>
              <a:rPr lang="da-DK" noProof="0"/>
              <a:t>Level 4</a:t>
            </a:r>
          </a:p>
          <a:p>
            <a:pPr lvl="4"/>
            <a:r>
              <a:rPr lang="da-DK" noProof="0"/>
              <a:t>Level 5</a:t>
            </a:r>
          </a:p>
          <a:p>
            <a:pPr lvl="5"/>
            <a:r>
              <a:rPr lang="da-DK" noProof="0"/>
              <a:t>Level 6</a:t>
            </a:r>
          </a:p>
          <a:p>
            <a:pPr lvl="6"/>
            <a:r>
              <a:rPr lang="da-DK" noProof="0"/>
              <a:t>Level 7</a:t>
            </a:r>
          </a:p>
          <a:p>
            <a:pPr lvl="7"/>
            <a:r>
              <a:rPr lang="da-DK" noProof="0"/>
              <a:t>Level 8</a:t>
            </a:r>
          </a:p>
          <a:p>
            <a:pPr lvl="8"/>
            <a:r>
              <a:rPr lang="da-DK"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rtl="0">
              <a:defRPr sz="700">
                <a:solidFill>
                  <a:schemeClr val="tx2"/>
                </a:solidFill>
              </a:defRPr>
            </a:lvl1pPr>
          </a:lstStyle>
          <a:p>
            <a:fld id="{D7C7A626-396F-47CE-9599-33B16A849820}" type="datetime1">
              <a:rPr lang="da-DK" smtClean="0"/>
              <a:pPr/>
              <a:t>19-06-2024</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rtl="0">
              <a:defRPr sz="700">
                <a:solidFill>
                  <a:schemeClr val="tx2"/>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rtl="0">
              <a:defRPr sz="700">
                <a:solidFill>
                  <a:schemeClr val="tx2"/>
                </a:solidFill>
              </a:defRPr>
            </a:lvl1pPr>
          </a:lstStyle>
          <a:p>
            <a:fld id="{23AA811B-2EBD-4900-905E-5BE206449611}" type="slidenum">
              <a:rPr lang="da-DK" smtClean="0"/>
              <a:pPr/>
              <a:t>‹#›</a:t>
            </a:fld>
            <a:endParaRPr lang="da-DK"/>
          </a:p>
        </p:txBody>
      </p:sp>
    </p:spTree>
    <p:extLst>
      <p:ext uri="{BB962C8B-B14F-4D97-AF65-F5344CB8AC3E}">
        <p14:creationId xmlns:p14="http://schemas.microsoft.com/office/powerpoint/2010/main" val="24388508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 id="2147483752" r:id="rId48"/>
    <p:sldLayoutId id="2147483753" r:id="rId49"/>
    <p:sldLayoutId id="2147483754" r:id="rId50"/>
    <p:sldLayoutId id="2147483755" r:id="rId51"/>
    <p:sldLayoutId id="2147483756" r:id="rId52"/>
    <p:sldLayoutId id="2147483757" r:id="rId53"/>
    <p:sldLayoutId id="2147483758" r:id="rId54"/>
    <p:sldLayoutId id="2147483759"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44D64F4-2353-C4B0-8C1C-C9B403747EDF}"/>
              </a:ext>
            </a:extLst>
          </p:cNvPr>
          <p:cNvGraphicFramePr>
            <a:graphicFrameLocks noChangeAspect="1"/>
          </p:cNvGraphicFramePr>
          <p:nvPr userDrawn="1">
            <p:custDataLst>
              <p:tags r:id="rId41"/>
            </p:custDataLst>
            <p:extLst>
              <p:ext uri="{D42A27DB-BD31-4B8C-83A1-F6EECF244321}">
                <p14:modId xmlns:p14="http://schemas.microsoft.com/office/powerpoint/2010/main" val="261273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622" imgH="623" progId="TCLayout.ActiveDocument.1">
                  <p:embed/>
                </p:oleObj>
              </mc:Choice>
              <mc:Fallback>
                <p:oleObj name="think-cell Slide" r:id="rId42" imgW="622" imgH="623" progId="TCLayout.ActiveDocument.1">
                  <p:embed/>
                  <p:pic>
                    <p:nvPicPr>
                      <p:cNvPr id="4" name="think-cell data - do not delete" hidden="1">
                        <a:extLst>
                          <a:ext uri="{FF2B5EF4-FFF2-40B4-BE49-F238E27FC236}">
                            <a16:creationId xmlns:a16="http://schemas.microsoft.com/office/drawing/2014/main" id="{744D64F4-2353-C4B0-8C1C-C9B403747EDF}"/>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auto">
          <a:xfrm>
            <a:off x="798618" y="312768"/>
            <a:ext cx="10590003" cy="748626"/>
          </a:xfrm>
          <a:prstGeom prst="rect">
            <a:avLst/>
          </a:prstGeom>
          <a:noFill/>
          <a:ln w="9525">
            <a:noFill/>
            <a:miter lim="800000"/>
            <a:headEnd/>
            <a:tailEnd/>
          </a:ln>
        </p:spPr>
        <p:txBody>
          <a:bodyPr vert="horz" wrap="square" lIns="0" tIns="18000" rIns="0" bIns="0" numCol="1" anchor="t" anchorCtr="0" compatLnSpc="1">
            <a:prstTxWarp prst="textNoShape">
              <a:avLst/>
            </a:prstTxWarp>
            <a:noAutofit/>
          </a:bodyPr>
          <a:lstStyle/>
          <a:p>
            <a:pPr lvl="0"/>
            <a:r>
              <a:rPr lang="en-GB" noProof="0"/>
              <a:t>Presentation title</a:t>
            </a:r>
            <a:br>
              <a:rPr lang="en-GB" noProof="0"/>
            </a:br>
            <a:r>
              <a:rPr lang="en-GB" noProof="0"/>
              <a:t>(in cyan)</a:t>
            </a:r>
          </a:p>
        </p:txBody>
      </p:sp>
      <p:sp>
        <p:nvSpPr>
          <p:cNvPr id="6" name="Slide Number Placeholder 5"/>
          <p:cNvSpPr>
            <a:spLocks noGrp="1"/>
          </p:cNvSpPr>
          <p:nvPr>
            <p:ph type="sldNum" sz="quarter" idx="4"/>
          </p:nvPr>
        </p:nvSpPr>
        <p:spPr>
          <a:xfrm>
            <a:off x="10908620" y="6280547"/>
            <a:ext cx="480001" cy="155575"/>
          </a:xfrm>
          <a:prstGeom prst="rect">
            <a:avLst/>
          </a:prstGeom>
        </p:spPr>
        <p:txBody>
          <a:bodyPr vert="horz" wrap="square" lIns="0" tIns="0" rIns="0" bIns="0" numCol="1" anchor="ctr" anchorCtr="0" compatLnSpc="1">
            <a:prstTxWarp prst="textNoShape">
              <a:avLst/>
            </a:prstTxWarp>
          </a:bodyPr>
          <a:lstStyle>
            <a:lvl1pPr algn="r">
              <a:defRPr sz="257" b="0" baseline="0"/>
            </a:lvl1pPr>
          </a:lstStyle>
          <a:p>
            <a:fld id="{31421AFA-3AE7-4CEA-BC9B-447859BED57B}" type="slidenum">
              <a:rPr lang="en-GB" smtClean="0"/>
              <a:pPr/>
              <a:t>‹#›</a:t>
            </a:fld>
            <a:endParaRPr lang="en-GB"/>
          </a:p>
        </p:txBody>
      </p:sp>
      <p:sp>
        <p:nvSpPr>
          <p:cNvPr id="1031" name="Rectangle 7"/>
          <p:cNvSpPr>
            <a:spLocks noGrp="1" noChangeArrowheads="1"/>
          </p:cNvSpPr>
          <p:nvPr>
            <p:ph type="body" idx="1"/>
          </p:nvPr>
        </p:nvSpPr>
        <p:spPr bwMode="auto">
          <a:xfrm>
            <a:off x="798617" y="1647827"/>
            <a:ext cx="10590003" cy="405923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4 No bullet text 18</a:t>
            </a:r>
          </a:p>
          <a:p>
            <a:pPr lvl="4"/>
            <a:r>
              <a:rPr lang="en-GB" noProof="0"/>
              <a:t>5 </a:t>
            </a:r>
            <a:r>
              <a:rPr lang="en-GB" noProof="0" err="1"/>
              <a:t>Megaheader</a:t>
            </a:r>
            <a:r>
              <a:rPr lang="en-GB" noProof="0"/>
              <a:t> caps 48</a:t>
            </a:r>
          </a:p>
          <a:p>
            <a:pPr lvl="5"/>
            <a:r>
              <a:rPr lang="en-GB" noProof="0"/>
              <a:t>6 Header caps 18</a:t>
            </a:r>
          </a:p>
          <a:p>
            <a:pPr lvl="6"/>
            <a:r>
              <a:rPr lang="en-GB" noProof="0"/>
              <a:t>7 Text 18</a:t>
            </a:r>
          </a:p>
          <a:p>
            <a:pPr lvl="7"/>
            <a:r>
              <a:rPr lang="en-GB" noProof="0"/>
              <a:t>8 Number 16</a:t>
            </a:r>
          </a:p>
          <a:p>
            <a:pPr lvl="8"/>
            <a:r>
              <a:rPr lang="en-GB" noProof="0"/>
              <a:t>9 Letter 16</a:t>
            </a:r>
          </a:p>
          <a:p>
            <a:pPr lvl="8"/>
            <a:endParaRPr lang="en-GB" noProof="0"/>
          </a:p>
        </p:txBody>
      </p:sp>
      <p:sp>
        <p:nvSpPr>
          <p:cNvPr id="5" name="Footer Placeholder 4">
            <a:extLst>
              <a:ext uri="{FF2B5EF4-FFF2-40B4-BE49-F238E27FC236}">
                <a16:creationId xmlns:a16="http://schemas.microsoft.com/office/drawing/2014/main" id="{1D9E4955-7821-481C-9AF7-C7D93767559E}"/>
              </a:ext>
            </a:extLst>
          </p:cNvPr>
          <p:cNvSpPr>
            <a:spLocks noGrp="1"/>
          </p:cNvSpPr>
          <p:nvPr>
            <p:ph type="ftr" sz="quarter" idx="3"/>
          </p:nvPr>
        </p:nvSpPr>
        <p:spPr>
          <a:xfrm>
            <a:off x="4056591" y="6280502"/>
            <a:ext cx="6515949"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0" name="Date_DateCustomA">
            <a:extLst>
              <a:ext uri="{FF2B5EF4-FFF2-40B4-BE49-F238E27FC236}">
                <a16:creationId xmlns:a16="http://schemas.microsoft.com/office/drawing/2014/main" id="{ADC3E656-DC3F-4718-B1B2-E5B4B66615C6}"/>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E8A079D-0F01-4087-8466-404AA9697848}" type="datetime1">
              <a:rPr lang="da-DK" smtClean="0"/>
              <a:t>19-06-2024</a:t>
            </a:fld>
            <a:endParaRPr lang="da-DK"/>
          </a:p>
        </p:txBody>
      </p:sp>
      <p:grpSp>
        <p:nvGrpSpPr>
          <p:cNvPr id="7" name="Group 6">
            <a:extLst>
              <a:ext uri="{FF2B5EF4-FFF2-40B4-BE49-F238E27FC236}">
                <a16:creationId xmlns:a16="http://schemas.microsoft.com/office/drawing/2014/main" id="{A135459E-96A0-4D48-B1D9-A034EE07E024}"/>
              </a:ext>
            </a:extLst>
          </p:cNvPr>
          <p:cNvGrpSpPr/>
          <p:nvPr userDrawn="1"/>
        </p:nvGrpSpPr>
        <p:grpSpPr>
          <a:xfrm>
            <a:off x="-1972350" y="1633992"/>
            <a:ext cx="1797025" cy="2906915"/>
            <a:chOff x="-1899137" y="-1"/>
            <a:chExt cx="1796791" cy="2907588"/>
          </a:xfrm>
        </p:grpSpPr>
        <p:grpSp>
          <p:nvGrpSpPr>
            <p:cNvPr id="11" name="Group 10">
              <a:extLst>
                <a:ext uri="{FF2B5EF4-FFF2-40B4-BE49-F238E27FC236}">
                  <a16:creationId xmlns:a16="http://schemas.microsoft.com/office/drawing/2014/main" id="{7DF113FF-8BE3-4207-A5C6-F4579EED1B78}"/>
                </a:ext>
              </a:extLst>
            </p:cNvPr>
            <p:cNvGrpSpPr/>
            <p:nvPr userDrawn="1"/>
          </p:nvGrpSpPr>
          <p:grpSpPr>
            <a:xfrm>
              <a:off x="-1899137" y="-1"/>
              <a:ext cx="1796791" cy="2907588"/>
              <a:chOff x="9009867" y="1645032"/>
              <a:chExt cx="2365739" cy="3828268"/>
            </a:xfrm>
          </p:grpSpPr>
          <p:pic>
            <p:nvPicPr>
              <p:cNvPr id="12" name="Picture 11">
                <a:extLst>
                  <a:ext uri="{FF2B5EF4-FFF2-40B4-BE49-F238E27FC236}">
                    <a16:creationId xmlns:a16="http://schemas.microsoft.com/office/drawing/2014/main" id="{5359A05F-1860-4448-A740-55E89B668802}"/>
                  </a:ext>
                </a:extLst>
              </p:cNvPr>
              <p:cNvPicPr>
                <a:picLocks noChangeAspect="1"/>
              </p:cNvPicPr>
              <p:nvPr/>
            </p:nvPicPr>
            <p:blipFill>
              <a:blip r:embed="rId44"/>
              <a:stretch>
                <a:fillRect/>
              </a:stretch>
            </p:blipFill>
            <p:spPr>
              <a:xfrm>
                <a:off x="9182748" y="1852126"/>
                <a:ext cx="599367" cy="280555"/>
              </a:xfrm>
              <a:prstGeom prst="rect">
                <a:avLst/>
              </a:prstGeom>
            </p:spPr>
          </p:pic>
          <p:sp>
            <p:nvSpPr>
              <p:cNvPr id="13" name="TextBox 12">
                <a:extLst>
                  <a:ext uri="{FF2B5EF4-FFF2-40B4-BE49-F238E27FC236}">
                    <a16:creationId xmlns:a16="http://schemas.microsoft.com/office/drawing/2014/main" id="{18399B32-2EE3-49AE-80A0-6797B01E89E6}"/>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14" name="Rectangle: Rounded Corners 13">
                <a:extLst>
                  <a:ext uri="{FF2B5EF4-FFF2-40B4-BE49-F238E27FC236}">
                    <a16:creationId xmlns:a16="http://schemas.microsoft.com/office/drawing/2014/main" id="{6A251040-79B2-4E75-B580-29B9D6CC1B9D}"/>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pic>
          <p:nvPicPr>
            <p:cNvPr id="15" name="Picture 14">
              <a:extLst>
                <a:ext uri="{FF2B5EF4-FFF2-40B4-BE49-F238E27FC236}">
                  <a16:creationId xmlns:a16="http://schemas.microsoft.com/office/drawing/2014/main" id="{225B3411-6214-4AE2-A1EF-BEE63EC00B0E}"/>
                </a:ext>
              </a:extLst>
            </p:cNvPr>
            <p:cNvPicPr>
              <a:picLocks noChangeAspect="1"/>
            </p:cNvPicPr>
            <p:nvPr userDrawn="1"/>
          </p:nvPicPr>
          <p:blipFill>
            <a:blip r:embed="rId45"/>
            <a:stretch>
              <a:fillRect/>
            </a:stretch>
          </p:blipFill>
          <p:spPr>
            <a:xfrm>
              <a:off x="-1884053" y="1200637"/>
              <a:ext cx="1418614" cy="1444137"/>
            </a:xfrm>
            <a:prstGeom prst="rect">
              <a:avLst/>
            </a:prstGeom>
          </p:spPr>
        </p:pic>
      </p:grpSp>
      <p:sp>
        <p:nvSpPr>
          <p:cNvPr id="23" name="Rectangle 22">
            <a:extLst>
              <a:ext uri="{FF2B5EF4-FFF2-40B4-BE49-F238E27FC236}">
                <a16:creationId xmlns:a16="http://schemas.microsoft.com/office/drawing/2014/main" id="{6515BF35-693E-4749-821E-5148CED147C8}"/>
              </a:ext>
            </a:extLst>
          </p:cNvPr>
          <p:cNvSpPr/>
          <p:nvPr userDrawn="1"/>
        </p:nvSpPr>
        <p:spPr>
          <a:xfrm>
            <a:off x="2052092" y="6141510"/>
            <a:ext cx="1573351" cy="27220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77"/>
          </a:p>
        </p:txBody>
      </p:sp>
    </p:spTree>
    <p:extLst>
      <p:ext uri="{BB962C8B-B14F-4D97-AF65-F5344CB8AC3E}">
        <p14:creationId xmlns:p14="http://schemas.microsoft.com/office/powerpoint/2010/main" val="3607171491"/>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796" r:id="rId36"/>
    <p:sldLayoutId id="2147483797" r:id="rId37"/>
    <p:sldLayoutId id="2147483798" r:id="rId38"/>
    <p:sldLayoutId id="2147483799" r:id="rId39"/>
  </p:sldLayoutIdLst>
  <p:hf sldNum="0" hdr="0" ftr="0" dt="0"/>
  <p:txStyles>
    <p:titleStyle>
      <a:lvl1pPr algn="l" defTabSz="146618" rtl="0" eaLnBrk="1" fontAlgn="base" hangingPunct="1">
        <a:spcBef>
          <a:spcPct val="0"/>
        </a:spcBef>
        <a:spcAft>
          <a:spcPct val="0"/>
        </a:spcAft>
        <a:defRPr sz="770" b="1" kern="1200" cap="all" spc="-16" baseline="0">
          <a:solidFill>
            <a:schemeClr val="tx2"/>
          </a:solidFill>
          <a:latin typeface="Verdana"/>
          <a:ea typeface="Verdana" pitchFamily="34" charset="0"/>
          <a:cs typeface="Verdana" pitchFamily="34" charset="0"/>
        </a:defRPr>
      </a:lvl1pPr>
      <a:lvl2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2pPr>
      <a:lvl3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3pPr>
      <a:lvl4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4pPr>
      <a:lvl5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5pPr>
      <a:lvl6pPr marL="146618"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6pPr>
      <a:lvl7pPr marL="293235"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7pPr>
      <a:lvl8pPr marL="439852"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8pPr>
      <a:lvl9pPr marL="586470"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9pPr>
    </p:titleStyle>
    <p:bodyStyle>
      <a:lvl1pPr marL="80815" indent="-80815" algn="l" defTabSz="146618" rtl="0" eaLnBrk="1" fontAlgn="base" hangingPunct="1">
        <a:lnSpc>
          <a:spcPct val="100000"/>
        </a:lnSpc>
        <a:spcBef>
          <a:spcPct val="0"/>
        </a:spcBef>
        <a:spcAft>
          <a:spcPts val="385"/>
        </a:spcAft>
        <a:buFont typeface="Verdana" pitchFamily="34" charset="0"/>
        <a:buChar char="•"/>
        <a:defRPr kern="1200" spc="-16" baseline="0">
          <a:solidFill>
            <a:schemeClr val="tx1"/>
          </a:solidFill>
          <a:latin typeface="Verdana"/>
          <a:ea typeface="Verdana" pitchFamily="34" charset="0"/>
          <a:cs typeface="Verdana" pitchFamily="34" charset="0"/>
        </a:defRPr>
      </a:lvl1pPr>
      <a:lvl2pPr marL="207809" indent="-80815" algn="l" defTabSz="146618" rtl="0" eaLnBrk="1" fontAlgn="base" hangingPunct="1">
        <a:lnSpc>
          <a:spcPct val="100000"/>
        </a:lnSpc>
        <a:spcBef>
          <a:spcPct val="0"/>
        </a:spcBef>
        <a:spcAft>
          <a:spcPts val="385"/>
        </a:spcAft>
        <a:buFont typeface="Verdana" pitchFamily="34" charset="0"/>
        <a:buChar char="•"/>
        <a:defRPr sz="513" kern="1200" spc="-16" baseline="0">
          <a:solidFill>
            <a:schemeClr val="tx1"/>
          </a:solidFill>
          <a:latin typeface="Verdana"/>
          <a:ea typeface="Verdana" pitchFamily="34" charset="0"/>
          <a:cs typeface="+mn-cs"/>
        </a:defRPr>
      </a:lvl2pPr>
      <a:lvl3pPr marL="314023" indent="-80815" algn="l" defTabSz="146618" rtl="0" eaLnBrk="1" fontAlgn="base" hangingPunct="1">
        <a:lnSpc>
          <a:spcPct val="100000"/>
        </a:lnSpc>
        <a:spcBef>
          <a:spcPct val="0"/>
        </a:spcBef>
        <a:spcAft>
          <a:spcPts val="385"/>
        </a:spcAft>
        <a:buFont typeface="Verdana" pitchFamily="34" charset="0"/>
        <a:buChar char="•"/>
        <a:defRPr sz="449" kern="1200" spc="-16" baseline="0">
          <a:solidFill>
            <a:schemeClr val="tx1"/>
          </a:solidFill>
          <a:latin typeface="Verdana"/>
          <a:ea typeface="Verdana" pitchFamily="34" charset="0"/>
          <a:cs typeface="+mn-cs"/>
        </a:defRPr>
      </a:lvl3pPr>
      <a:lvl4pPr marL="0" indent="0" algn="l" defTabSz="146618" rtl="0" eaLnBrk="1" fontAlgn="base" hangingPunct="1">
        <a:lnSpc>
          <a:spcPct val="100000"/>
        </a:lnSpc>
        <a:spcBef>
          <a:spcPct val="0"/>
        </a:spcBef>
        <a:spcAft>
          <a:spcPts val="385"/>
        </a:spcAft>
        <a:buFont typeface="Arial" panose="020B0604020202020204" pitchFamily="34" charset="0"/>
        <a:buChar char="​"/>
        <a:defRPr sz="577" kern="1200" spc="-16" baseline="0">
          <a:solidFill>
            <a:schemeClr val="tx1"/>
          </a:solidFill>
          <a:latin typeface="Verdana"/>
          <a:ea typeface="Verdana" pitchFamily="34" charset="0"/>
          <a:cs typeface="+mn-cs"/>
        </a:defRPr>
      </a:lvl4pPr>
      <a:lvl5pPr marL="0" indent="0" algn="l" defTabSz="146618" rtl="0" eaLnBrk="1" fontAlgn="base" hangingPunct="1">
        <a:lnSpc>
          <a:spcPct val="80000"/>
        </a:lnSpc>
        <a:spcBef>
          <a:spcPct val="0"/>
        </a:spcBef>
        <a:spcAft>
          <a:spcPts val="385"/>
        </a:spcAft>
        <a:buFont typeface="Arial" panose="020B0604020202020204" pitchFamily="34" charset="0"/>
        <a:buChar char="​"/>
        <a:defRPr sz="1539" b="1" kern="1200" cap="all" spc="-32" baseline="0">
          <a:solidFill>
            <a:schemeClr val="tx1"/>
          </a:solidFill>
          <a:latin typeface="Verdana"/>
          <a:ea typeface="Verdana" pitchFamily="34" charset="0"/>
          <a:cs typeface="+mn-cs"/>
        </a:defRPr>
      </a:lvl5pPr>
      <a:lvl6pPr marL="0" indent="0" algn="l" defTabSz="146618" rtl="0" eaLnBrk="1" latinLnBrk="0" hangingPunct="1">
        <a:spcBef>
          <a:spcPts val="0"/>
        </a:spcBef>
        <a:spcAft>
          <a:spcPts val="192"/>
        </a:spcAft>
        <a:buClr>
          <a:schemeClr val="tx2"/>
        </a:buClr>
        <a:buFont typeface="Arial" panose="020B0604020202020204" pitchFamily="34" charset="0"/>
        <a:buChar char="​"/>
        <a:defRPr sz="577" b="1" kern="1200" cap="all" spc="-16" baseline="0">
          <a:solidFill>
            <a:schemeClr val="tx2"/>
          </a:solidFill>
          <a:latin typeface="+mn-lt"/>
          <a:ea typeface="+mn-ea"/>
          <a:cs typeface="+mn-cs"/>
        </a:defRPr>
      </a:lvl6pPr>
      <a:lvl7pPr marL="0" indent="0" algn="l" defTabSz="146618" rtl="0" eaLnBrk="1" latinLnBrk="0" hangingPunct="1">
        <a:spcBef>
          <a:spcPts val="0"/>
        </a:spcBef>
        <a:spcAft>
          <a:spcPts val="385"/>
        </a:spcAft>
        <a:buFont typeface="Arial" panose="020B0604020202020204" pitchFamily="34" charset="0"/>
        <a:buChar char="​"/>
        <a:defRPr sz="577" i="0" kern="1200" spc="-16">
          <a:solidFill>
            <a:schemeClr val="bg2"/>
          </a:solidFill>
          <a:latin typeface="+mn-lt"/>
          <a:ea typeface="+mn-ea"/>
          <a:cs typeface="+mn-cs"/>
        </a:defRPr>
      </a:lvl7pPr>
      <a:lvl8pPr marL="207809" indent="-80815" algn="l" defTabSz="146618" rtl="0" eaLnBrk="1" latinLnBrk="0" hangingPunct="1">
        <a:spcBef>
          <a:spcPts val="0"/>
        </a:spcBef>
        <a:spcAft>
          <a:spcPts val="385"/>
        </a:spcAft>
        <a:buClr>
          <a:schemeClr val="bg2"/>
        </a:buClr>
        <a:buFont typeface="+mj-lt"/>
        <a:buAutoNum type="arabicPeriod"/>
        <a:defRPr sz="513" kern="1200" spc="-16">
          <a:solidFill>
            <a:schemeClr val="tx1"/>
          </a:solidFill>
          <a:latin typeface="+mn-lt"/>
          <a:ea typeface="+mn-ea"/>
          <a:cs typeface="+mn-cs"/>
        </a:defRPr>
      </a:lvl8pPr>
      <a:lvl9pPr marL="207809" indent="-80815" algn="l" defTabSz="146618" rtl="0" eaLnBrk="1" latinLnBrk="0" hangingPunct="1">
        <a:spcBef>
          <a:spcPts val="0"/>
        </a:spcBef>
        <a:spcAft>
          <a:spcPts val="385"/>
        </a:spcAft>
        <a:buClr>
          <a:schemeClr val="bg2"/>
        </a:buClr>
        <a:buFont typeface="+mj-lt"/>
        <a:buAutoNum type="alphaUcPeriod"/>
        <a:defRPr sz="513" kern="1200" spc="-16">
          <a:solidFill>
            <a:schemeClr val="tx1"/>
          </a:solidFill>
          <a:latin typeface="+mn-lt"/>
          <a:ea typeface="+mn-ea"/>
          <a:cs typeface="+mn-cs"/>
        </a:defRPr>
      </a:lvl9pPr>
    </p:bodyStyle>
    <p:otherStyle>
      <a:defPPr>
        <a:defRPr lang="en-US"/>
      </a:defPPr>
      <a:lvl1pPr marL="0" algn="l" defTabSz="146618" rtl="0" eaLnBrk="1" latinLnBrk="0" hangingPunct="1">
        <a:defRPr sz="609" kern="1200">
          <a:solidFill>
            <a:schemeClr val="tx1"/>
          </a:solidFill>
          <a:latin typeface="+mn-lt"/>
          <a:ea typeface="+mn-ea"/>
          <a:cs typeface="+mn-cs"/>
        </a:defRPr>
      </a:lvl1pPr>
      <a:lvl2pPr marL="146618" algn="l" defTabSz="146618" rtl="0" eaLnBrk="1" latinLnBrk="0" hangingPunct="1">
        <a:defRPr sz="609" kern="1200">
          <a:solidFill>
            <a:schemeClr val="tx1"/>
          </a:solidFill>
          <a:latin typeface="+mn-lt"/>
          <a:ea typeface="+mn-ea"/>
          <a:cs typeface="+mn-cs"/>
        </a:defRPr>
      </a:lvl2pPr>
      <a:lvl3pPr marL="293235" algn="l" defTabSz="146618" rtl="0" eaLnBrk="1" latinLnBrk="0" hangingPunct="1">
        <a:defRPr sz="609" kern="1200">
          <a:solidFill>
            <a:schemeClr val="tx1"/>
          </a:solidFill>
          <a:latin typeface="+mn-lt"/>
          <a:ea typeface="+mn-ea"/>
          <a:cs typeface="+mn-cs"/>
        </a:defRPr>
      </a:lvl3pPr>
      <a:lvl4pPr marL="439852" algn="l" defTabSz="146618" rtl="0" eaLnBrk="1" latinLnBrk="0" hangingPunct="1">
        <a:defRPr sz="609" kern="1200">
          <a:solidFill>
            <a:schemeClr val="tx1"/>
          </a:solidFill>
          <a:latin typeface="+mn-lt"/>
          <a:ea typeface="+mn-ea"/>
          <a:cs typeface="+mn-cs"/>
        </a:defRPr>
      </a:lvl4pPr>
      <a:lvl5pPr marL="586470" algn="l" defTabSz="146618" rtl="0" eaLnBrk="1" latinLnBrk="0" hangingPunct="1">
        <a:defRPr sz="609" kern="1200">
          <a:solidFill>
            <a:schemeClr val="tx1"/>
          </a:solidFill>
          <a:latin typeface="+mn-lt"/>
          <a:ea typeface="+mn-ea"/>
          <a:cs typeface="+mn-cs"/>
        </a:defRPr>
      </a:lvl5pPr>
      <a:lvl6pPr marL="733087" algn="l" defTabSz="146618" rtl="0" eaLnBrk="1" latinLnBrk="0" hangingPunct="1">
        <a:defRPr sz="609" kern="1200">
          <a:solidFill>
            <a:schemeClr val="tx1"/>
          </a:solidFill>
          <a:latin typeface="+mn-lt"/>
          <a:ea typeface="+mn-ea"/>
          <a:cs typeface="+mn-cs"/>
        </a:defRPr>
      </a:lvl6pPr>
      <a:lvl7pPr marL="879704" algn="l" defTabSz="146618" rtl="0" eaLnBrk="1" latinLnBrk="0" hangingPunct="1">
        <a:defRPr sz="609" kern="1200">
          <a:solidFill>
            <a:schemeClr val="tx1"/>
          </a:solidFill>
          <a:latin typeface="+mn-lt"/>
          <a:ea typeface="+mn-ea"/>
          <a:cs typeface="+mn-cs"/>
        </a:defRPr>
      </a:lvl7pPr>
      <a:lvl8pPr marL="1026321" algn="l" defTabSz="146618" rtl="0" eaLnBrk="1" latinLnBrk="0" hangingPunct="1">
        <a:defRPr sz="609" kern="1200">
          <a:solidFill>
            <a:schemeClr val="tx1"/>
          </a:solidFill>
          <a:latin typeface="+mn-lt"/>
          <a:ea typeface="+mn-ea"/>
          <a:cs typeface="+mn-cs"/>
        </a:defRPr>
      </a:lvl8pPr>
      <a:lvl9pPr marL="1172939" algn="l" defTabSz="146618" rtl="0" eaLnBrk="1" latinLnBrk="0" hangingPunct="1">
        <a:defRPr sz="60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6538">
          <p15:clr>
            <a:srgbClr val="F26B43"/>
          </p15:clr>
        </p15:guide>
        <p15:guide id="2" pos="17814">
          <p15:clr>
            <a:srgbClr val="F26B43"/>
          </p15:clr>
        </p15:guide>
        <p15:guide id="3" orient="horz" pos="3230">
          <p15:clr>
            <a:srgbClr val="F26B43"/>
          </p15:clr>
        </p15:guide>
        <p15:guide id="4" orient="horz" pos="11207">
          <p15:clr>
            <a:srgbClr val="F26B43"/>
          </p15:clr>
        </p15:guide>
        <p15:guide id="5" pos="15264">
          <p15:clr>
            <a:srgbClr val="F26B43"/>
          </p15:clr>
        </p15:guide>
        <p15:guide id="6" pos="13990">
          <p15:clr>
            <a:srgbClr val="F26B43"/>
          </p15:clr>
        </p15:guide>
        <p15:guide id="7" pos="12715">
          <p15:clr>
            <a:srgbClr val="F26B43"/>
          </p15:clr>
        </p15:guide>
        <p15:guide id="8" pos="11443">
          <p15:clr>
            <a:srgbClr val="F26B43"/>
          </p15:clr>
        </p15:guide>
        <p15:guide id="9" pos="10168">
          <p15:clr>
            <a:srgbClr val="F26B43"/>
          </p15:clr>
        </p15:guide>
        <p15:guide id="10" pos="8894">
          <p15:clr>
            <a:srgbClr val="F26B43"/>
          </p15:clr>
        </p15:guide>
        <p15:guide id="11" pos="7618">
          <p15:clr>
            <a:srgbClr val="F26B43"/>
          </p15:clr>
        </p15:guide>
        <p15:guide id="12" pos="6346">
          <p15:clr>
            <a:srgbClr val="F26B43"/>
          </p15:clr>
        </p15:guide>
        <p15:guide id="13" pos="5071">
          <p15:clr>
            <a:srgbClr val="F26B43"/>
          </p15:clr>
        </p15:guide>
        <p15:guide id="14" pos="3797">
          <p15:clr>
            <a:srgbClr val="F26B43"/>
          </p15:clr>
        </p15:guide>
        <p15:guide id="15" pos="2523">
          <p15:clr>
            <a:srgbClr val="F26B43"/>
          </p15:clr>
        </p15:guide>
        <p15:guide id="16" pos="12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11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6.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12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oleObject" Target="../embeddings/oleObject12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47.svg"/><Relationship Id="rId2" Type="http://schemas.openxmlformats.org/officeDocument/2006/relationships/slideLayout" Target="../slideLayouts/slideLayout44.xml"/><Relationship Id="rId1" Type="http://schemas.openxmlformats.org/officeDocument/2006/relationships/tags" Target="../tags/tag125.x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12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12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oleObject" Target="../embeddings/oleObject126.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12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49.svg"/><Relationship Id="rId2" Type="http://schemas.openxmlformats.org/officeDocument/2006/relationships/slideLayout" Target="../slideLayouts/slideLayout44.xml"/><Relationship Id="rId1" Type="http://schemas.openxmlformats.org/officeDocument/2006/relationships/tags" Target="../tags/tag129.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12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51.svg"/><Relationship Id="rId2" Type="http://schemas.openxmlformats.org/officeDocument/2006/relationships/slideLayout" Target="../slideLayouts/slideLayout10.xml"/><Relationship Id="rId1" Type="http://schemas.openxmlformats.org/officeDocument/2006/relationships/tags" Target="../tags/tag131.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130.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6.xml"/><Relationship Id="rId1" Type="http://schemas.openxmlformats.org/officeDocument/2006/relationships/tags" Target="../tags/tag116.xml"/><Relationship Id="rId5" Type="http://schemas.openxmlformats.org/officeDocument/2006/relationships/image" Target="../media/image1.emf"/><Relationship Id="rId4" Type="http://schemas.openxmlformats.org/officeDocument/2006/relationships/oleObject" Target="../embeddings/oleObject115.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49.svg"/><Relationship Id="rId2" Type="http://schemas.openxmlformats.org/officeDocument/2006/relationships/slideLayout" Target="../slideLayouts/slideLayout44.xml"/><Relationship Id="rId1" Type="http://schemas.openxmlformats.org/officeDocument/2006/relationships/tags" Target="../tags/tag132.xml"/><Relationship Id="rId6" Type="http://schemas.openxmlformats.org/officeDocument/2006/relationships/image" Target="../media/image48.png"/><Relationship Id="rId5" Type="http://schemas.openxmlformats.org/officeDocument/2006/relationships/image" Target="../media/image1.emf"/><Relationship Id="rId4" Type="http://schemas.openxmlformats.org/officeDocument/2006/relationships/oleObject" Target="../embeddings/oleObject13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6.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132.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0.xml"/><Relationship Id="rId1" Type="http://schemas.openxmlformats.org/officeDocument/2006/relationships/tags" Target="../tags/tag134.xml"/><Relationship Id="rId5" Type="http://schemas.openxmlformats.org/officeDocument/2006/relationships/image" Target="../media/image1.emf"/><Relationship Id="rId4" Type="http://schemas.openxmlformats.org/officeDocument/2006/relationships/oleObject" Target="../embeddings/oleObject13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53.svg"/><Relationship Id="rId2" Type="http://schemas.openxmlformats.org/officeDocument/2006/relationships/slideLayout" Target="../slideLayouts/slideLayout44.xml"/><Relationship Id="rId1" Type="http://schemas.openxmlformats.org/officeDocument/2006/relationships/tags" Target="../tags/tag135.x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13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0.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13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0.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13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53.svg"/><Relationship Id="rId2" Type="http://schemas.openxmlformats.org/officeDocument/2006/relationships/slideLayout" Target="../slideLayouts/slideLayout44.xml"/><Relationship Id="rId1" Type="http://schemas.openxmlformats.org/officeDocument/2006/relationships/tags" Target="../tags/tag138.x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137.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18" Type="http://schemas.openxmlformats.org/officeDocument/2006/relationships/image" Target="../media/image38.png"/><Relationship Id="rId3" Type="http://schemas.openxmlformats.org/officeDocument/2006/relationships/notesSlide" Target="../notesSlides/notesSlide4.xml"/><Relationship Id="rId7" Type="http://schemas.openxmlformats.org/officeDocument/2006/relationships/image" Target="../media/image27.svg"/><Relationship Id="rId12" Type="http://schemas.openxmlformats.org/officeDocument/2006/relationships/image" Target="../media/image32.png"/><Relationship Id="rId17" Type="http://schemas.openxmlformats.org/officeDocument/2006/relationships/image" Target="../media/image37.svg"/><Relationship Id="rId2" Type="http://schemas.openxmlformats.org/officeDocument/2006/relationships/slideLayout" Target="../slideLayouts/slideLayout10.xml"/><Relationship Id="rId16" Type="http://schemas.openxmlformats.org/officeDocument/2006/relationships/image" Target="../media/image36.png"/><Relationship Id="rId1" Type="http://schemas.openxmlformats.org/officeDocument/2006/relationships/tags" Target="../tags/tag117.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1.emf"/><Relationship Id="rId15" Type="http://schemas.openxmlformats.org/officeDocument/2006/relationships/image" Target="../media/image35.svg"/><Relationship Id="rId10" Type="http://schemas.openxmlformats.org/officeDocument/2006/relationships/image" Target="../media/image30.png"/><Relationship Id="rId19" Type="http://schemas.openxmlformats.org/officeDocument/2006/relationships/image" Target="../media/image39.svg"/><Relationship Id="rId4" Type="http://schemas.openxmlformats.org/officeDocument/2006/relationships/oleObject" Target="../embeddings/oleObject116.bin"/><Relationship Id="rId9" Type="http://schemas.openxmlformats.org/officeDocument/2006/relationships/image" Target="../media/image29.svg"/><Relationship Id="rId14" Type="http://schemas.openxmlformats.org/officeDocument/2006/relationships/image" Target="../media/image34.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11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6.xml"/><Relationship Id="rId1" Type="http://schemas.openxmlformats.org/officeDocument/2006/relationships/tags" Target="../tags/tag119.xml"/><Relationship Id="rId5" Type="http://schemas.openxmlformats.org/officeDocument/2006/relationships/image" Target="../media/image1.emf"/><Relationship Id="rId4" Type="http://schemas.openxmlformats.org/officeDocument/2006/relationships/oleObject" Target="../embeddings/oleObject11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41.svg"/><Relationship Id="rId2" Type="http://schemas.openxmlformats.org/officeDocument/2006/relationships/slideLayout" Target="../slideLayouts/slideLayout10.xml"/><Relationship Id="rId1" Type="http://schemas.openxmlformats.org/officeDocument/2006/relationships/tags" Target="../tags/tag120.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11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43.svg"/><Relationship Id="rId2" Type="http://schemas.openxmlformats.org/officeDocument/2006/relationships/slideLayout" Target="../slideLayouts/slideLayout10.xml"/><Relationship Id="rId1" Type="http://schemas.openxmlformats.org/officeDocument/2006/relationships/tags" Target="../tags/tag121.xml"/><Relationship Id="rId6" Type="http://schemas.openxmlformats.org/officeDocument/2006/relationships/image" Target="../media/image42.png"/><Relationship Id="rId5" Type="http://schemas.openxmlformats.org/officeDocument/2006/relationships/image" Target="../media/image1.emf"/><Relationship Id="rId4" Type="http://schemas.openxmlformats.org/officeDocument/2006/relationships/oleObject" Target="../embeddings/oleObject12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45.svg"/><Relationship Id="rId2" Type="http://schemas.openxmlformats.org/officeDocument/2006/relationships/slideLayout" Target="../slideLayouts/slideLayout10.xml"/><Relationship Id="rId1" Type="http://schemas.openxmlformats.org/officeDocument/2006/relationships/tags" Target="../tags/tag122.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121.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pSp>
        <p:nvGrpSpPr>
          <p:cNvPr id="2" name="Google Shape;437;p8">
            <a:extLst>
              <a:ext uri="{FF2B5EF4-FFF2-40B4-BE49-F238E27FC236}">
                <a16:creationId xmlns:a16="http://schemas.microsoft.com/office/drawing/2014/main" id="{736F1108-49BC-3E51-A9ED-FA0E5328A7F4}"/>
              </a:ext>
            </a:extLst>
          </p:cNvPr>
          <p:cNvGrpSpPr/>
          <p:nvPr/>
        </p:nvGrpSpPr>
        <p:grpSpPr>
          <a:xfrm>
            <a:off x="-73611" y="71279"/>
            <a:ext cx="12215916" cy="1107752"/>
            <a:chOff x="27613" y="470447"/>
            <a:chExt cx="9161944" cy="830814"/>
          </a:xfrm>
        </p:grpSpPr>
        <p:sp>
          <p:nvSpPr>
            <p:cNvPr id="6" name="Google Shape;438;p8">
              <a:extLst>
                <a:ext uri="{FF2B5EF4-FFF2-40B4-BE49-F238E27FC236}">
                  <a16:creationId xmlns:a16="http://schemas.microsoft.com/office/drawing/2014/main" id="{8B5E1545-F89E-B9AC-122F-4763CA034473}"/>
                </a:ext>
              </a:extLst>
            </p:cNvPr>
            <p:cNvSpPr/>
            <p:nvPr/>
          </p:nvSpPr>
          <p:spPr>
            <a:xfrm>
              <a:off x="2176354" y="708034"/>
              <a:ext cx="281779" cy="397462"/>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8" name="Google Shape;439;p8">
              <a:extLst>
                <a:ext uri="{FF2B5EF4-FFF2-40B4-BE49-F238E27FC236}">
                  <a16:creationId xmlns:a16="http://schemas.microsoft.com/office/drawing/2014/main" id="{746074B1-6433-0719-E367-B8A1527CEE1A}"/>
                </a:ext>
              </a:extLst>
            </p:cNvPr>
            <p:cNvSpPr/>
            <p:nvPr/>
          </p:nvSpPr>
          <p:spPr>
            <a:xfrm>
              <a:off x="552323" y="912340"/>
              <a:ext cx="339086" cy="309912"/>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9" name="Google Shape;440;p8">
              <a:extLst>
                <a:ext uri="{FF2B5EF4-FFF2-40B4-BE49-F238E27FC236}">
                  <a16:creationId xmlns:a16="http://schemas.microsoft.com/office/drawing/2014/main" id="{22C8BB42-0EDA-5A99-FAEC-036EFBB1FC3A}"/>
                </a:ext>
              </a:extLst>
            </p:cNvPr>
            <p:cNvSpPr/>
            <p:nvPr/>
          </p:nvSpPr>
          <p:spPr>
            <a:xfrm rot="-2700000">
              <a:off x="4913658" y="470447"/>
              <a:ext cx="181249" cy="400170"/>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1" name="Google Shape;441;p8">
              <a:extLst>
                <a:ext uri="{FF2B5EF4-FFF2-40B4-BE49-F238E27FC236}">
                  <a16:creationId xmlns:a16="http://schemas.microsoft.com/office/drawing/2014/main" id="{94DFC4DA-D23F-BE38-8449-32C1D763F0EB}"/>
                </a:ext>
              </a:extLst>
            </p:cNvPr>
            <p:cNvSpPr/>
            <p:nvPr/>
          </p:nvSpPr>
          <p:spPr>
            <a:xfrm rot="-1967309">
              <a:off x="27613" y="549243"/>
              <a:ext cx="142154" cy="312221"/>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2" name="Google Shape;442;p8">
              <a:extLst>
                <a:ext uri="{FF2B5EF4-FFF2-40B4-BE49-F238E27FC236}">
                  <a16:creationId xmlns:a16="http://schemas.microsoft.com/office/drawing/2014/main" id="{BB609EFC-C731-AF12-E9C5-EB6C61D339F0}"/>
                </a:ext>
              </a:extLst>
            </p:cNvPr>
            <p:cNvSpPr/>
            <p:nvPr/>
          </p:nvSpPr>
          <p:spPr>
            <a:xfrm>
              <a:off x="6508977" y="1054156"/>
              <a:ext cx="212880" cy="143991"/>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4" name="Google Shape;443;p8">
              <a:extLst>
                <a:ext uri="{FF2B5EF4-FFF2-40B4-BE49-F238E27FC236}">
                  <a16:creationId xmlns:a16="http://schemas.microsoft.com/office/drawing/2014/main" id="{2B91B282-B92E-2F4E-0F6F-956FDE5A5220}"/>
                </a:ext>
              </a:extLst>
            </p:cNvPr>
            <p:cNvSpPr/>
            <p:nvPr/>
          </p:nvSpPr>
          <p:spPr>
            <a:xfrm>
              <a:off x="4683118" y="1001445"/>
              <a:ext cx="272854" cy="185024"/>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5" name="Google Shape;444;p8">
              <a:extLst>
                <a:ext uri="{FF2B5EF4-FFF2-40B4-BE49-F238E27FC236}">
                  <a16:creationId xmlns:a16="http://schemas.microsoft.com/office/drawing/2014/main" id="{4561FB7E-EA00-4479-D064-0E492D302D53}"/>
                </a:ext>
              </a:extLst>
            </p:cNvPr>
            <p:cNvSpPr/>
            <p:nvPr/>
          </p:nvSpPr>
          <p:spPr>
            <a:xfrm rot="3663599">
              <a:off x="5966469" y="976075"/>
              <a:ext cx="204754" cy="377157"/>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6" name="Google Shape;445;p8">
              <a:extLst>
                <a:ext uri="{FF2B5EF4-FFF2-40B4-BE49-F238E27FC236}">
                  <a16:creationId xmlns:a16="http://schemas.microsoft.com/office/drawing/2014/main" id="{3B47059F-2486-89F3-DFCC-61E97E83AECB}"/>
                </a:ext>
              </a:extLst>
            </p:cNvPr>
            <p:cNvSpPr/>
            <p:nvPr/>
          </p:nvSpPr>
          <p:spPr>
            <a:xfrm rot="-3368760">
              <a:off x="5437768" y="638636"/>
              <a:ext cx="351278" cy="93987"/>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7" name="Google Shape;446;p8">
              <a:extLst>
                <a:ext uri="{FF2B5EF4-FFF2-40B4-BE49-F238E27FC236}">
                  <a16:creationId xmlns:a16="http://schemas.microsoft.com/office/drawing/2014/main" id="{768D560C-990D-0E28-D209-0A20C3A842DB}"/>
                </a:ext>
              </a:extLst>
            </p:cNvPr>
            <p:cNvSpPr/>
            <p:nvPr/>
          </p:nvSpPr>
          <p:spPr>
            <a:xfrm rot="3013936">
              <a:off x="1856192" y="906044"/>
              <a:ext cx="112704" cy="289910"/>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8" name="Google Shape;447;p8">
              <a:extLst>
                <a:ext uri="{FF2B5EF4-FFF2-40B4-BE49-F238E27FC236}">
                  <a16:creationId xmlns:a16="http://schemas.microsoft.com/office/drawing/2014/main" id="{B3AEF440-E329-181C-4F6C-194776C5731D}"/>
                </a:ext>
              </a:extLst>
            </p:cNvPr>
            <p:cNvSpPr/>
            <p:nvPr/>
          </p:nvSpPr>
          <p:spPr>
            <a:xfrm rot="2198047">
              <a:off x="3510054" y="793341"/>
              <a:ext cx="140231" cy="36705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9" name="Google Shape;448;p8">
              <a:extLst>
                <a:ext uri="{FF2B5EF4-FFF2-40B4-BE49-F238E27FC236}">
                  <a16:creationId xmlns:a16="http://schemas.microsoft.com/office/drawing/2014/main" id="{EA8D5DE9-AF42-D7F7-6E39-3598C6211B94}"/>
                </a:ext>
              </a:extLst>
            </p:cNvPr>
            <p:cNvSpPr/>
            <p:nvPr/>
          </p:nvSpPr>
          <p:spPr>
            <a:xfrm rot="9906392">
              <a:off x="7295836" y="1033664"/>
              <a:ext cx="191420" cy="182909"/>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0" name="Google Shape;449;p8">
              <a:extLst>
                <a:ext uri="{FF2B5EF4-FFF2-40B4-BE49-F238E27FC236}">
                  <a16:creationId xmlns:a16="http://schemas.microsoft.com/office/drawing/2014/main" id="{86CBCA0D-2D0E-5A1A-1187-66A737FFFF97}"/>
                </a:ext>
              </a:extLst>
            </p:cNvPr>
            <p:cNvSpPr/>
            <p:nvPr/>
          </p:nvSpPr>
          <p:spPr>
            <a:xfrm>
              <a:off x="301831" y="611168"/>
              <a:ext cx="314135" cy="349552"/>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1" name="Google Shape;450;p8">
              <a:extLst>
                <a:ext uri="{FF2B5EF4-FFF2-40B4-BE49-F238E27FC236}">
                  <a16:creationId xmlns:a16="http://schemas.microsoft.com/office/drawing/2014/main" id="{825F3D7B-AA92-A34F-3964-4AED60197E0B}"/>
                </a:ext>
              </a:extLst>
            </p:cNvPr>
            <p:cNvSpPr/>
            <p:nvPr/>
          </p:nvSpPr>
          <p:spPr>
            <a:xfrm>
              <a:off x="5200465" y="821938"/>
              <a:ext cx="313748" cy="356086"/>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3" name="Google Shape;451;p8">
              <a:extLst>
                <a:ext uri="{FF2B5EF4-FFF2-40B4-BE49-F238E27FC236}">
                  <a16:creationId xmlns:a16="http://schemas.microsoft.com/office/drawing/2014/main" id="{4D4B06CB-76BC-F6E1-F9DF-B4F737F7A106}"/>
                </a:ext>
              </a:extLst>
            </p:cNvPr>
            <p:cNvSpPr/>
            <p:nvPr/>
          </p:nvSpPr>
          <p:spPr>
            <a:xfrm rot="-988374">
              <a:off x="8793699" y="981136"/>
              <a:ext cx="395858" cy="320125"/>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4" name="Google Shape;452;p8">
              <a:extLst>
                <a:ext uri="{FF2B5EF4-FFF2-40B4-BE49-F238E27FC236}">
                  <a16:creationId xmlns:a16="http://schemas.microsoft.com/office/drawing/2014/main" id="{B84E5714-A108-B7C2-0BED-31F03E786332}"/>
                </a:ext>
              </a:extLst>
            </p:cNvPr>
            <p:cNvSpPr/>
            <p:nvPr/>
          </p:nvSpPr>
          <p:spPr>
            <a:xfrm rot="1179229">
              <a:off x="6978602" y="547675"/>
              <a:ext cx="347146" cy="378286"/>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5" name="Google Shape;453;p8">
              <a:extLst>
                <a:ext uri="{FF2B5EF4-FFF2-40B4-BE49-F238E27FC236}">
                  <a16:creationId xmlns:a16="http://schemas.microsoft.com/office/drawing/2014/main" id="{32AB0F23-3FF9-4D16-B8AA-47B09224A7FF}"/>
                </a:ext>
              </a:extLst>
            </p:cNvPr>
            <p:cNvSpPr/>
            <p:nvPr/>
          </p:nvSpPr>
          <p:spPr>
            <a:xfrm>
              <a:off x="980841" y="910413"/>
              <a:ext cx="326644" cy="367792"/>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6" name="Google Shape;454;p8">
              <a:extLst>
                <a:ext uri="{FF2B5EF4-FFF2-40B4-BE49-F238E27FC236}">
                  <a16:creationId xmlns:a16="http://schemas.microsoft.com/office/drawing/2014/main" id="{035EA3FB-BCE8-31FA-120B-21AA122720EB}"/>
                </a:ext>
              </a:extLst>
            </p:cNvPr>
            <p:cNvSpPr/>
            <p:nvPr/>
          </p:nvSpPr>
          <p:spPr>
            <a:xfrm>
              <a:off x="8699186" y="523462"/>
              <a:ext cx="403969" cy="323646"/>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7" name="Google Shape;455;p8">
              <a:extLst>
                <a:ext uri="{FF2B5EF4-FFF2-40B4-BE49-F238E27FC236}">
                  <a16:creationId xmlns:a16="http://schemas.microsoft.com/office/drawing/2014/main" id="{CF76B1C8-4C7C-E6EB-AD31-5B32BF64B9FD}"/>
                </a:ext>
              </a:extLst>
            </p:cNvPr>
            <p:cNvSpPr/>
            <p:nvPr/>
          </p:nvSpPr>
          <p:spPr>
            <a:xfrm>
              <a:off x="6870722" y="1009504"/>
              <a:ext cx="256151" cy="229019"/>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8" name="Google Shape;456;p8">
              <a:extLst>
                <a:ext uri="{FF2B5EF4-FFF2-40B4-BE49-F238E27FC236}">
                  <a16:creationId xmlns:a16="http://schemas.microsoft.com/office/drawing/2014/main" id="{72033037-55B3-5167-7511-2A1043022C3E}"/>
                </a:ext>
              </a:extLst>
            </p:cNvPr>
            <p:cNvSpPr/>
            <p:nvPr/>
          </p:nvSpPr>
          <p:spPr>
            <a:xfrm rot="-2424567">
              <a:off x="1204048" y="475241"/>
              <a:ext cx="211213" cy="278694"/>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9" name="Google Shape;457;p8">
              <a:extLst>
                <a:ext uri="{FF2B5EF4-FFF2-40B4-BE49-F238E27FC236}">
                  <a16:creationId xmlns:a16="http://schemas.microsoft.com/office/drawing/2014/main" id="{90845802-E71B-775E-0EE6-6F6A20A8EA8E}"/>
                </a:ext>
              </a:extLst>
            </p:cNvPr>
            <p:cNvSpPr/>
            <p:nvPr/>
          </p:nvSpPr>
          <p:spPr>
            <a:xfrm>
              <a:off x="7556769" y="607048"/>
              <a:ext cx="402022" cy="236475"/>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31" name="Google Shape;458;p8">
              <a:extLst>
                <a:ext uri="{FF2B5EF4-FFF2-40B4-BE49-F238E27FC236}">
                  <a16:creationId xmlns:a16="http://schemas.microsoft.com/office/drawing/2014/main" id="{1E2245E5-1C0E-B442-F948-DF3FD3650500}"/>
                </a:ext>
              </a:extLst>
            </p:cNvPr>
            <p:cNvGrpSpPr/>
            <p:nvPr/>
          </p:nvGrpSpPr>
          <p:grpSpPr>
            <a:xfrm rot="890855">
              <a:off x="3181660" y="515636"/>
              <a:ext cx="370663" cy="217580"/>
              <a:chOff x="1429156" y="1387535"/>
              <a:chExt cx="657769" cy="386112"/>
            </a:xfrm>
          </p:grpSpPr>
          <p:sp>
            <p:nvSpPr>
              <p:cNvPr id="68" name="Google Shape;459;p8">
                <a:extLst>
                  <a:ext uri="{FF2B5EF4-FFF2-40B4-BE49-F238E27FC236}">
                    <a16:creationId xmlns:a16="http://schemas.microsoft.com/office/drawing/2014/main" id="{461E8954-CC4F-3669-394B-F8F4ECD21E0B}"/>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9" name="Google Shape;460;p8">
                <a:extLst>
                  <a:ext uri="{FF2B5EF4-FFF2-40B4-BE49-F238E27FC236}">
                    <a16:creationId xmlns:a16="http://schemas.microsoft.com/office/drawing/2014/main" id="{79174660-2893-2F40-042B-30B653976A8C}"/>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32" name="Google Shape;461;p8">
              <a:extLst>
                <a:ext uri="{FF2B5EF4-FFF2-40B4-BE49-F238E27FC236}">
                  <a16:creationId xmlns:a16="http://schemas.microsoft.com/office/drawing/2014/main" id="{931588A4-5A8F-F366-0921-71D8B6B77DEB}"/>
                </a:ext>
              </a:extLst>
            </p:cNvPr>
            <p:cNvSpPr/>
            <p:nvPr/>
          </p:nvSpPr>
          <p:spPr>
            <a:xfrm rot="-2499483">
              <a:off x="4165391" y="919169"/>
              <a:ext cx="428994" cy="113072"/>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3" name="Google Shape;462;p8">
              <a:extLst>
                <a:ext uri="{FF2B5EF4-FFF2-40B4-BE49-F238E27FC236}">
                  <a16:creationId xmlns:a16="http://schemas.microsoft.com/office/drawing/2014/main" id="{4885F102-3501-B493-01A2-16A63A43491B}"/>
                </a:ext>
              </a:extLst>
            </p:cNvPr>
            <p:cNvSpPr/>
            <p:nvPr/>
          </p:nvSpPr>
          <p:spPr>
            <a:xfrm>
              <a:off x="674582" y="523294"/>
              <a:ext cx="375105" cy="294447"/>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34" name="Google Shape;463;p8">
              <a:extLst>
                <a:ext uri="{FF2B5EF4-FFF2-40B4-BE49-F238E27FC236}">
                  <a16:creationId xmlns:a16="http://schemas.microsoft.com/office/drawing/2014/main" id="{ED058847-E9F0-84D1-90DE-54519BF8FA63}"/>
                </a:ext>
              </a:extLst>
            </p:cNvPr>
            <p:cNvGrpSpPr/>
            <p:nvPr/>
          </p:nvGrpSpPr>
          <p:grpSpPr>
            <a:xfrm>
              <a:off x="3707787" y="505390"/>
              <a:ext cx="212392" cy="256778"/>
              <a:chOff x="1010452" y="1144365"/>
              <a:chExt cx="376916" cy="455685"/>
            </a:xfrm>
          </p:grpSpPr>
          <p:sp>
            <p:nvSpPr>
              <p:cNvPr id="66" name="Google Shape;464;p8">
                <a:extLst>
                  <a:ext uri="{FF2B5EF4-FFF2-40B4-BE49-F238E27FC236}">
                    <a16:creationId xmlns:a16="http://schemas.microsoft.com/office/drawing/2014/main" id="{829B75EE-17B5-E844-1DAD-1AFBD8763864}"/>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7" name="Google Shape;465;p8">
                <a:extLst>
                  <a:ext uri="{FF2B5EF4-FFF2-40B4-BE49-F238E27FC236}">
                    <a16:creationId xmlns:a16="http://schemas.microsoft.com/office/drawing/2014/main" id="{2CE87C1F-F561-0299-4708-6D8D87A1F33B}"/>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35" name="Google Shape;466;p8">
              <a:extLst>
                <a:ext uri="{FF2B5EF4-FFF2-40B4-BE49-F238E27FC236}">
                  <a16:creationId xmlns:a16="http://schemas.microsoft.com/office/drawing/2014/main" id="{6060BA1A-FEAF-52DB-097D-0B044ECB09FA}"/>
                </a:ext>
              </a:extLst>
            </p:cNvPr>
            <p:cNvSpPr/>
            <p:nvPr/>
          </p:nvSpPr>
          <p:spPr>
            <a:xfrm rot="-1100489">
              <a:off x="8420309" y="672386"/>
              <a:ext cx="223722" cy="226855"/>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6" name="Google Shape;467;p8">
              <a:extLst>
                <a:ext uri="{FF2B5EF4-FFF2-40B4-BE49-F238E27FC236}">
                  <a16:creationId xmlns:a16="http://schemas.microsoft.com/office/drawing/2014/main" id="{E328C474-73DB-CFBC-529C-7E1F52296823}"/>
                </a:ext>
              </a:extLst>
            </p:cNvPr>
            <p:cNvSpPr/>
            <p:nvPr/>
          </p:nvSpPr>
          <p:spPr>
            <a:xfrm>
              <a:off x="3572521" y="981550"/>
              <a:ext cx="255529" cy="288428"/>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7" name="Google Shape;468;p8">
              <a:extLst>
                <a:ext uri="{FF2B5EF4-FFF2-40B4-BE49-F238E27FC236}">
                  <a16:creationId xmlns:a16="http://schemas.microsoft.com/office/drawing/2014/main" id="{6A9AEF88-FDE4-22A8-D742-05237F3752AB}"/>
                </a:ext>
              </a:extLst>
            </p:cNvPr>
            <p:cNvSpPr/>
            <p:nvPr/>
          </p:nvSpPr>
          <p:spPr>
            <a:xfrm rot="1800079">
              <a:off x="8229930" y="1002016"/>
              <a:ext cx="198020" cy="248076"/>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8" name="Google Shape;469;p8">
              <a:extLst>
                <a:ext uri="{FF2B5EF4-FFF2-40B4-BE49-F238E27FC236}">
                  <a16:creationId xmlns:a16="http://schemas.microsoft.com/office/drawing/2014/main" id="{BAAF229B-9B71-4E61-8579-ED65061C4580}"/>
                </a:ext>
              </a:extLst>
            </p:cNvPr>
            <p:cNvSpPr/>
            <p:nvPr/>
          </p:nvSpPr>
          <p:spPr>
            <a:xfrm>
              <a:off x="3943429" y="927518"/>
              <a:ext cx="163399" cy="25729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9" name="Google Shape;470;p8">
              <a:extLst>
                <a:ext uri="{FF2B5EF4-FFF2-40B4-BE49-F238E27FC236}">
                  <a16:creationId xmlns:a16="http://schemas.microsoft.com/office/drawing/2014/main" id="{9BD9E621-2F07-90E6-D2B1-3E08D948CE6E}"/>
                </a:ext>
              </a:extLst>
            </p:cNvPr>
            <p:cNvSpPr/>
            <p:nvPr/>
          </p:nvSpPr>
          <p:spPr>
            <a:xfrm>
              <a:off x="4038156" y="505004"/>
              <a:ext cx="340006" cy="361563"/>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0" name="Google Shape;471;p8">
              <a:extLst>
                <a:ext uri="{FF2B5EF4-FFF2-40B4-BE49-F238E27FC236}">
                  <a16:creationId xmlns:a16="http://schemas.microsoft.com/office/drawing/2014/main" id="{27AAF84B-D1D6-7D9A-330C-1F6CC7FA1E6C}"/>
                </a:ext>
              </a:extLst>
            </p:cNvPr>
            <p:cNvSpPr/>
            <p:nvPr/>
          </p:nvSpPr>
          <p:spPr>
            <a:xfrm>
              <a:off x="2854633" y="688547"/>
              <a:ext cx="416637" cy="259709"/>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1" name="Google Shape;472;p8">
              <a:extLst>
                <a:ext uri="{FF2B5EF4-FFF2-40B4-BE49-F238E27FC236}">
                  <a16:creationId xmlns:a16="http://schemas.microsoft.com/office/drawing/2014/main" id="{83F753A7-F20D-A772-FC7B-480BC7C8344A}"/>
                </a:ext>
              </a:extLst>
            </p:cNvPr>
            <p:cNvSpPr/>
            <p:nvPr/>
          </p:nvSpPr>
          <p:spPr>
            <a:xfrm rot="-1252057">
              <a:off x="6497159" y="534061"/>
              <a:ext cx="204722" cy="302187"/>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2" name="Google Shape;473;p8">
              <a:extLst>
                <a:ext uri="{FF2B5EF4-FFF2-40B4-BE49-F238E27FC236}">
                  <a16:creationId xmlns:a16="http://schemas.microsoft.com/office/drawing/2014/main" id="{6211C545-A10A-D548-9B30-B61DC8087837}"/>
                </a:ext>
              </a:extLst>
            </p:cNvPr>
            <p:cNvSpPr/>
            <p:nvPr/>
          </p:nvSpPr>
          <p:spPr>
            <a:xfrm>
              <a:off x="2537776" y="539860"/>
              <a:ext cx="230803" cy="290180"/>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3" name="Google Shape;474;p8">
              <a:extLst>
                <a:ext uri="{FF2B5EF4-FFF2-40B4-BE49-F238E27FC236}">
                  <a16:creationId xmlns:a16="http://schemas.microsoft.com/office/drawing/2014/main" id="{B6DAB5D5-FA90-53BB-CE13-A028EB9CA889}"/>
                </a:ext>
              </a:extLst>
            </p:cNvPr>
            <p:cNvSpPr/>
            <p:nvPr/>
          </p:nvSpPr>
          <p:spPr>
            <a:xfrm>
              <a:off x="5713194" y="743996"/>
              <a:ext cx="256984" cy="24403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4" name="Google Shape;475;p8">
              <a:extLst>
                <a:ext uri="{FF2B5EF4-FFF2-40B4-BE49-F238E27FC236}">
                  <a16:creationId xmlns:a16="http://schemas.microsoft.com/office/drawing/2014/main" id="{59BAAAEB-DE29-EA2C-8403-FA647E29422A}"/>
                </a:ext>
              </a:extLst>
            </p:cNvPr>
            <p:cNvSpPr/>
            <p:nvPr/>
          </p:nvSpPr>
          <p:spPr>
            <a:xfrm>
              <a:off x="2507283" y="945803"/>
              <a:ext cx="99390" cy="211075"/>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5" name="Google Shape;476;p8">
              <a:extLst>
                <a:ext uri="{FF2B5EF4-FFF2-40B4-BE49-F238E27FC236}">
                  <a16:creationId xmlns:a16="http://schemas.microsoft.com/office/drawing/2014/main" id="{0EF91B24-8334-C410-E77F-0C6C6684DB46}"/>
                </a:ext>
              </a:extLst>
            </p:cNvPr>
            <p:cNvSpPr/>
            <p:nvPr/>
          </p:nvSpPr>
          <p:spPr>
            <a:xfrm>
              <a:off x="8045390" y="829868"/>
              <a:ext cx="135793" cy="114511"/>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6" name="Google Shape;477;p8">
              <a:extLst>
                <a:ext uri="{FF2B5EF4-FFF2-40B4-BE49-F238E27FC236}">
                  <a16:creationId xmlns:a16="http://schemas.microsoft.com/office/drawing/2014/main" id="{31422C45-6452-D665-12FE-E675520DCEF2}"/>
                </a:ext>
              </a:extLst>
            </p:cNvPr>
            <p:cNvSpPr/>
            <p:nvPr/>
          </p:nvSpPr>
          <p:spPr>
            <a:xfrm>
              <a:off x="5019180" y="1018026"/>
              <a:ext cx="99190" cy="9853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7" name="Google Shape;478;p8">
              <a:extLst>
                <a:ext uri="{FF2B5EF4-FFF2-40B4-BE49-F238E27FC236}">
                  <a16:creationId xmlns:a16="http://schemas.microsoft.com/office/drawing/2014/main" id="{39166CF2-4FEA-5962-937D-8A8B2DB637B1}"/>
                </a:ext>
              </a:extLst>
            </p:cNvPr>
            <p:cNvSpPr/>
            <p:nvPr/>
          </p:nvSpPr>
          <p:spPr>
            <a:xfrm rot="9301126">
              <a:off x="6297718" y="732778"/>
              <a:ext cx="123698" cy="266216"/>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8" name="Google Shape;479;p8">
              <a:extLst>
                <a:ext uri="{FF2B5EF4-FFF2-40B4-BE49-F238E27FC236}">
                  <a16:creationId xmlns:a16="http://schemas.microsoft.com/office/drawing/2014/main" id="{69A486C9-9266-DB51-6E08-319B319AB42E}"/>
                </a:ext>
              </a:extLst>
            </p:cNvPr>
            <p:cNvSpPr/>
            <p:nvPr/>
          </p:nvSpPr>
          <p:spPr>
            <a:xfrm>
              <a:off x="1756780" y="575182"/>
              <a:ext cx="134585" cy="137354"/>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9" name="Google Shape;480;p8">
              <a:extLst>
                <a:ext uri="{FF2B5EF4-FFF2-40B4-BE49-F238E27FC236}">
                  <a16:creationId xmlns:a16="http://schemas.microsoft.com/office/drawing/2014/main" id="{74F9AE73-B534-1B23-B85D-E46EEBADBD77}"/>
                </a:ext>
              </a:extLst>
            </p:cNvPr>
            <p:cNvSpPr/>
            <p:nvPr/>
          </p:nvSpPr>
          <p:spPr>
            <a:xfrm>
              <a:off x="4716478" y="737980"/>
              <a:ext cx="145419" cy="160635"/>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0" name="Google Shape;481;p8">
              <a:extLst>
                <a:ext uri="{FF2B5EF4-FFF2-40B4-BE49-F238E27FC236}">
                  <a16:creationId xmlns:a16="http://schemas.microsoft.com/office/drawing/2014/main" id="{2449B3AF-A7E3-5B77-169D-30EF76A118D9}"/>
                </a:ext>
              </a:extLst>
            </p:cNvPr>
            <p:cNvSpPr/>
            <p:nvPr/>
          </p:nvSpPr>
          <p:spPr>
            <a:xfrm>
              <a:off x="1639378" y="819333"/>
              <a:ext cx="126045" cy="135687"/>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1" name="Google Shape;482;p8">
              <a:extLst>
                <a:ext uri="{FF2B5EF4-FFF2-40B4-BE49-F238E27FC236}">
                  <a16:creationId xmlns:a16="http://schemas.microsoft.com/office/drawing/2014/main" id="{5E8EB8D5-30ED-EA7B-3E87-EAC317C4355A}"/>
                </a:ext>
              </a:extLst>
            </p:cNvPr>
            <p:cNvSpPr/>
            <p:nvPr/>
          </p:nvSpPr>
          <p:spPr>
            <a:xfrm>
              <a:off x="8172573" y="555140"/>
              <a:ext cx="115263" cy="15729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2" name="Google Shape;483;p8">
              <a:extLst>
                <a:ext uri="{FF2B5EF4-FFF2-40B4-BE49-F238E27FC236}">
                  <a16:creationId xmlns:a16="http://schemas.microsoft.com/office/drawing/2014/main" id="{6AFC27F9-785A-F520-004D-6C2FACF71834}"/>
                </a:ext>
              </a:extLst>
            </p:cNvPr>
            <p:cNvSpPr/>
            <p:nvPr/>
          </p:nvSpPr>
          <p:spPr>
            <a:xfrm>
              <a:off x="4481735" y="547509"/>
              <a:ext cx="87093" cy="153839"/>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3" name="Google Shape;484;p8">
              <a:extLst>
                <a:ext uri="{FF2B5EF4-FFF2-40B4-BE49-F238E27FC236}">
                  <a16:creationId xmlns:a16="http://schemas.microsoft.com/office/drawing/2014/main" id="{C9E04ECC-AF4B-AFCD-C4F1-AA2E09FAB84D}"/>
                </a:ext>
              </a:extLst>
            </p:cNvPr>
            <p:cNvSpPr/>
            <p:nvPr/>
          </p:nvSpPr>
          <p:spPr>
            <a:xfrm>
              <a:off x="2048182" y="505004"/>
              <a:ext cx="126077" cy="173483"/>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4" name="Google Shape;485;p8">
              <a:extLst>
                <a:ext uri="{FF2B5EF4-FFF2-40B4-BE49-F238E27FC236}">
                  <a16:creationId xmlns:a16="http://schemas.microsoft.com/office/drawing/2014/main" id="{3AF80C36-027C-70BC-FE35-9B5D22FAA457}"/>
                </a:ext>
              </a:extLst>
            </p:cNvPr>
            <p:cNvSpPr/>
            <p:nvPr/>
          </p:nvSpPr>
          <p:spPr>
            <a:xfrm>
              <a:off x="126658" y="1006747"/>
              <a:ext cx="126356" cy="163706"/>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5" name="Google Shape;486;p8">
              <a:extLst>
                <a:ext uri="{FF2B5EF4-FFF2-40B4-BE49-F238E27FC236}">
                  <a16:creationId xmlns:a16="http://schemas.microsoft.com/office/drawing/2014/main" id="{C5FD2658-E50D-8F84-305B-3B6E4E40E7B1}"/>
                </a:ext>
              </a:extLst>
            </p:cNvPr>
            <p:cNvGrpSpPr/>
            <p:nvPr/>
          </p:nvGrpSpPr>
          <p:grpSpPr>
            <a:xfrm>
              <a:off x="7836651" y="987182"/>
              <a:ext cx="121750" cy="155749"/>
              <a:chOff x="6422295" y="3351500"/>
              <a:chExt cx="252856" cy="323399"/>
            </a:xfrm>
          </p:grpSpPr>
          <p:sp>
            <p:nvSpPr>
              <p:cNvPr id="64" name="Google Shape;487;p8">
                <a:extLst>
                  <a:ext uri="{FF2B5EF4-FFF2-40B4-BE49-F238E27FC236}">
                    <a16:creationId xmlns:a16="http://schemas.microsoft.com/office/drawing/2014/main" id="{45FA5A17-90FB-9FA1-9E45-E35BB19E7062}"/>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5" name="Google Shape;488;p8">
                <a:extLst>
                  <a:ext uri="{FF2B5EF4-FFF2-40B4-BE49-F238E27FC236}">
                    <a16:creationId xmlns:a16="http://schemas.microsoft.com/office/drawing/2014/main" id="{6CD30064-11FF-4B33-95AD-B621EADA8C0E}"/>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6" name="Google Shape;489;p8">
              <a:extLst>
                <a:ext uri="{FF2B5EF4-FFF2-40B4-BE49-F238E27FC236}">
                  <a16:creationId xmlns:a16="http://schemas.microsoft.com/office/drawing/2014/main" id="{39B4B781-90E4-FCD0-7D26-F091D0B7DD8A}"/>
                </a:ext>
              </a:extLst>
            </p:cNvPr>
            <p:cNvSpPr/>
            <p:nvPr/>
          </p:nvSpPr>
          <p:spPr>
            <a:xfrm>
              <a:off x="1353734" y="881315"/>
              <a:ext cx="187420" cy="190001"/>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7" name="Google Shape;490;p8">
              <a:extLst>
                <a:ext uri="{FF2B5EF4-FFF2-40B4-BE49-F238E27FC236}">
                  <a16:creationId xmlns:a16="http://schemas.microsoft.com/office/drawing/2014/main" id="{0286F879-90A7-8EE8-2480-D64183395BE7}"/>
                </a:ext>
              </a:extLst>
            </p:cNvPr>
            <p:cNvSpPr/>
            <p:nvPr/>
          </p:nvSpPr>
          <p:spPr>
            <a:xfrm>
              <a:off x="6088369" y="586056"/>
              <a:ext cx="149720" cy="115699"/>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8" name="Google Shape;491;p8">
              <a:extLst>
                <a:ext uri="{FF2B5EF4-FFF2-40B4-BE49-F238E27FC236}">
                  <a16:creationId xmlns:a16="http://schemas.microsoft.com/office/drawing/2014/main" id="{3B87DA0F-3C0E-50B0-6E09-2E73CEDFAA17}"/>
                </a:ext>
              </a:extLst>
            </p:cNvPr>
            <p:cNvGrpSpPr/>
            <p:nvPr/>
          </p:nvGrpSpPr>
          <p:grpSpPr>
            <a:xfrm>
              <a:off x="3137402" y="1006079"/>
              <a:ext cx="129429" cy="165162"/>
              <a:chOff x="6793660" y="3322411"/>
              <a:chExt cx="268804" cy="342944"/>
            </a:xfrm>
          </p:grpSpPr>
          <p:sp>
            <p:nvSpPr>
              <p:cNvPr id="61" name="Google Shape;492;p8">
                <a:extLst>
                  <a:ext uri="{FF2B5EF4-FFF2-40B4-BE49-F238E27FC236}">
                    <a16:creationId xmlns:a16="http://schemas.microsoft.com/office/drawing/2014/main" id="{09A30AA5-8947-DA2F-5AA9-7CE0B6F1817F}"/>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2" name="Google Shape;493;p8">
                <a:extLst>
                  <a:ext uri="{FF2B5EF4-FFF2-40B4-BE49-F238E27FC236}">
                    <a16:creationId xmlns:a16="http://schemas.microsoft.com/office/drawing/2014/main" id="{B43B4ADC-712D-70EC-164B-ABCD56729CA2}"/>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3" name="Google Shape;494;p8">
                <a:extLst>
                  <a:ext uri="{FF2B5EF4-FFF2-40B4-BE49-F238E27FC236}">
                    <a16:creationId xmlns:a16="http://schemas.microsoft.com/office/drawing/2014/main" id="{31FA6816-6B59-84DC-6986-F2C4476AF592}"/>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9" name="Google Shape;495;p8">
              <a:extLst>
                <a:ext uri="{FF2B5EF4-FFF2-40B4-BE49-F238E27FC236}">
                  <a16:creationId xmlns:a16="http://schemas.microsoft.com/office/drawing/2014/main" id="{EB362976-8EF7-693A-32D4-B61A689335BD}"/>
                </a:ext>
              </a:extLst>
            </p:cNvPr>
            <p:cNvSpPr/>
            <p:nvPr/>
          </p:nvSpPr>
          <p:spPr>
            <a:xfrm>
              <a:off x="2776508" y="1006744"/>
              <a:ext cx="212021" cy="115156"/>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0" name="Google Shape;496;p8">
              <a:extLst>
                <a:ext uri="{FF2B5EF4-FFF2-40B4-BE49-F238E27FC236}">
                  <a16:creationId xmlns:a16="http://schemas.microsoft.com/office/drawing/2014/main" id="{4FFEE3C3-DD9B-CAF4-6837-955F60D1CBEC}"/>
                </a:ext>
              </a:extLst>
            </p:cNvPr>
            <p:cNvSpPr/>
            <p:nvPr/>
          </p:nvSpPr>
          <p:spPr>
            <a:xfrm rot="1466637">
              <a:off x="5246242" y="579297"/>
              <a:ext cx="132710" cy="129208"/>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a:spcBef>
                  <a:spcPts val="0"/>
                </a:spcBef>
                <a:spcAft>
                  <a:spcPts val="0"/>
                </a:spcAft>
                <a:buNone/>
              </a:pPr>
              <a:endParaRPr lang="da-DK" sz="2400">
                <a:solidFill>
                  <a:srgbClr val="000000"/>
                </a:solidFill>
                <a:latin typeface="Short Stack"/>
                <a:ea typeface="Short Stack"/>
                <a:cs typeface="Short Stack"/>
                <a:sym typeface="Short Stack"/>
              </a:endParaRPr>
            </a:p>
          </p:txBody>
        </p:sp>
      </p:grpSp>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0673400" y="12181875"/>
            <a:ext cx="626400" cy="108000"/>
          </a:xfrm>
        </p:spPr>
        <p:txBody>
          <a:bodyPr/>
          <a:lstStyle/>
          <a:p>
            <a:fld id="{23AA811B-2EBD-4900-905E-5BE206449611}" type="slidenum">
              <a:rPr lang="da-DK" smtClean="0"/>
              <a:pPr/>
              <a:t>1</a:t>
            </a:fld>
            <a:endParaRPr lang="da-DK"/>
          </a:p>
        </p:txBody>
      </p:sp>
      <p:sp>
        <p:nvSpPr>
          <p:cNvPr id="13" name="Rectangle 12">
            <a:extLst>
              <a:ext uri="{FF2B5EF4-FFF2-40B4-BE49-F238E27FC236}">
                <a16:creationId xmlns:a16="http://schemas.microsoft.com/office/drawing/2014/main" id="{70764143-FD74-4911-BC3C-876E229F418E}"/>
              </a:ext>
            </a:extLst>
          </p:cNvPr>
          <p:cNvSpPr/>
          <p:nvPr/>
        </p:nvSpPr>
        <p:spPr>
          <a:xfrm>
            <a:off x="-533400" y="9460722"/>
            <a:ext cx="11833200" cy="1947762"/>
          </a:xfrm>
          <a:prstGeom prst="rect">
            <a:avLst/>
          </a:prstGeom>
          <a:noFill/>
          <a:ln w="63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 name="Google Shape;741;p19">
            <a:extLst>
              <a:ext uri="{FF2B5EF4-FFF2-40B4-BE49-F238E27FC236}">
                <a16:creationId xmlns:a16="http://schemas.microsoft.com/office/drawing/2014/main" id="{5D8B3674-E05D-FFE8-509D-72F6614D164C}"/>
              </a:ext>
            </a:extLst>
          </p:cNvPr>
          <p:cNvSpPr txBox="1">
            <a:spLocks/>
          </p:cNvSpPr>
          <p:nvPr/>
        </p:nvSpPr>
        <p:spPr>
          <a:xfrm>
            <a:off x="1021191" y="2233422"/>
            <a:ext cx="10170646" cy="3038293"/>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1pPr>
            <a:lvl2pPr marR="0" lvl="1"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2pPr>
            <a:lvl3pPr marR="0" lvl="2"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3pPr>
            <a:lvl4pPr marR="0" lvl="3"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4pPr>
            <a:lvl5pPr marR="0" lvl="4"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5pPr>
            <a:lvl6pPr marR="0" lvl="5"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6pPr>
            <a:lvl7pPr marR="0" lvl="6"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7pPr>
            <a:lvl8pPr marR="0" lvl="7"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8pPr>
            <a:lvl9pPr marR="0" lvl="8"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9pPr>
          </a:lstStyle>
          <a:p>
            <a:pPr algn="l" defTabSz="1219170">
              <a:buClr>
                <a:srgbClr val="273F68"/>
              </a:buClr>
            </a:pPr>
            <a:r>
              <a:rPr lang="da-DK" sz="1500" b="0" kern="0" dirty="0">
                <a:solidFill>
                  <a:srgbClr val="FFFFFF"/>
                </a:solidFill>
                <a:latin typeface="Quicksand"/>
                <a:ea typeface="+mn-ea"/>
                <a:cs typeface="+mn-cs"/>
              </a:rPr>
              <a:t>I</a:t>
            </a:r>
            <a:r>
              <a:rPr kumimoji="0" lang="da-DK" sz="1500" b="0" i="0" u="none" strike="noStrike" kern="0" cap="none" spc="0" normalizeH="0" baseline="0" noProof="0" dirty="0">
                <a:ln>
                  <a:noFill/>
                </a:ln>
                <a:solidFill>
                  <a:schemeClr val="bg1"/>
                </a:solidFill>
                <a:effectLst/>
                <a:uLnTx/>
                <a:uFillTx/>
                <a:latin typeface="Quicksand"/>
                <a:ea typeface="+mn-ea"/>
                <a:cs typeface="+mn-cs"/>
              </a:rPr>
              <a:t> denne slidepakke finder I resultaterne fra </a:t>
            </a:r>
            <a:r>
              <a:rPr lang="da-DK" sz="1500" b="0" kern="0" dirty="0">
                <a:solidFill>
                  <a:schemeClr val="bg1"/>
                </a:solidFill>
                <a:latin typeface="Quicksand"/>
                <a:ea typeface="+mn-ea"/>
                <a:cs typeface="+mn-cs"/>
              </a:rPr>
              <a:t>anden</a:t>
            </a:r>
            <a:r>
              <a:rPr kumimoji="0" lang="da-DK" sz="1500" b="0" i="0" u="none" strike="noStrike" kern="0" cap="none" spc="0" normalizeH="0" baseline="0" noProof="0" dirty="0">
                <a:ln>
                  <a:noFill/>
                </a:ln>
                <a:solidFill>
                  <a:schemeClr val="bg1"/>
                </a:solidFill>
                <a:effectLst/>
                <a:uLnTx/>
                <a:uFillTx/>
                <a:latin typeface="Quicksand"/>
                <a:ea typeface="+mn-ea"/>
                <a:cs typeface="+mn-cs"/>
              </a:rPr>
              <a:t> runde af evalueringen af </a:t>
            </a:r>
            <a:r>
              <a:rPr kumimoji="0" lang="da-DK" sz="1500" b="0" i="1" u="none" strike="noStrike" kern="0" cap="none" spc="0" normalizeH="0" baseline="0" noProof="0" dirty="0">
                <a:ln>
                  <a:noFill/>
                </a:ln>
                <a:solidFill>
                  <a:schemeClr val="bg1"/>
                </a:solidFill>
                <a:effectLst/>
                <a:uLnTx/>
                <a:uFillTx/>
                <a:latin typeface="Quicksand"/>
                <a:ea typeface="+mn-ea"/>
                <a:cs typeface="+mn-cs"/>
              </a:rPr>
              <a:t>Den mangfoldige folkeskole i Nordjylland </a:t>
            </a:r>
            <a:r>
              <a:rPr kumimoji="0" lang="da-DK" sz="1500" b="0" i="0" u="none" strike="noStrike" kern="0" cap="none" spc="0" normalizeH="0" baseline="0" noProof="0" dirty="0">
                <a:ln>
                  <a:noFill/>
                </a:ln>
                <a:solidFill>
                  <a:schemeClr val="bg1"/>
                </a:solidFill>
                <a:effectLst/>
                <a:uLnTx/>
                <a:uFillTx/>
                <a:latin typeface="Quicksand"/>
                <a:ea typeface="+mn-ea"/>
                <a:cs typeface="+mn-cs"/>
              </a:rPr>
              <a:t>(</a:t>
            </a:r>
            <a:r>
              <a:rPr lang="da-DK" sz="1500" b="0" kern="0" dirty="0">
                <a:solidFill>
                  <a:schemeClr val="bg1"/>
                </a:solidFill>
                <a:latin typeface="Quicksand"/>
                <a:ea typeface="+mn-ea"/>
                <a:cs typeface="+mn-cs"/>
              </a:rPr>
              <a:t>forår </a:t>
            </a:r>
            <a:r>
              <a:rPr kumimoji="0" lang="da-DK" sz="1500" b="0" i="0" u="none" strike="noStrike" kern="0" cap="none" spc="0" normalizeH="0" baseline="0" noProof="0" dirty="0">
                <a:ln>
                  <a:noFill/>
                </a:ln>
                <a:solidFill>
                  <a:schemeClr val="bg1"/>
                </a:solidFill>
                <a:effectLst/>
                <a:uLnTx/>
                <a:uFillTx/>
                <a:latin typeface="Quicksand"/>
                <a:ea typeface="+mn-ea"/>
                <a:cs typeface="+mn-cs"/>
              </a:rPr>
              <a:t>2024). </a:t>
            </a:r>
            <a:r>
              <a:rPr lang="da-DK" sz="1500" b="0" kern="0" dirty="0">
                <a:solidFill>
                  <a:srgbClr val="FFFFFF"/>
                </a:solidFill>
                <a:latin typeface="Quicksand"/>
              </a:rPr>
              <a:t>Vi håber, at disse slides kan støtte jer i at videreformidle de foreløbige resultater til pædagogisk personale og skabe spændende dialoger om arbejdet med at skabe deltagelsesmuligheder for alle elever.</a:t>
            </a:r>
          </a:p>
          <a:p>
            <a:pPr marR="0" lvl="0" algn="l" defTabSz="1219170" rtl="0" eaLnBrk="1" fontAlgn="auto" latinLnBrk="0" hangingPunct="1">
              <a:lnSpc>
                <a:spcPct val="100000"/>
              </a:lnSpc>
              <a:spcBef>
                <a:spcPts val="0"/>
              </a:spcBef>
              <a:spcAft>
                <a:spcPts val="0"/>
              </a:spcAft>
              <a:buClr>
                <a:schemeClr val="bg1"/>
              </a:buClr>
              <a:buSzPct val="100000"/>
              <a:tabLst/>
              <a:defRPr/>
            </a:pPr>
            <a:endParaRPr kumimoji="0" lang="da-DK" sz="1500" b="0" i="0" u="none" strike="noStrike" kern="0" cap="none" spc="0" normalizeH="0" baseline="0" noProof="0" dirty="0">
              <a:ln>
                <a:noFill/>
              </a:ln>
              <a:solidFill>
                <a:schemeClr val="bg1"/>
              </a:solidFill>
              <a:effectLst/>
              <a:uLnTx/>
              <a:uFillTx/>
              <a:latin typeface="Quicksand"/>
              <a:ea typeface="+mn-ea"/>
              <a:cs typeface="+mn-cs"/>
            </a:endParaRPr>
          </a:p>
          <a:p>
            <a:pPr marR="0" lvl="0" algn="l" defTabSz="1219170" rtl="0" eaLnBrk="1" fontAlgn="auto" latinLnBrk="0" hangingPunct="1">
              <a:lnSpc>
                <a:spcPct val="100000"/>
              </a:lnSpc>
              <a:spcBef>
                <a:spcPts val="0"/>
              </a:spcBef>
              <a:spcAft>
                <a:spcPts val="0"/>
              </a:spcAft>
              <a:buClr>
                <a:schemeClr val="bg1"/>
              </a:buClr>
              <a:buSzPct val="100000"/>
              <a:tabLst/>
              <a:defRPr/>
            </a:pPr>
            <a:r>
              <a:rPr kumimoji="0" lang="da-DK" sz="1500" b="0" i="0" u="none" strike="noStrike" kern="0" cap="none" spc="0" normalizeH="0" baseline="0" noProof="0" dirty="0">
                <a:ln>
                  <a:noFill/>
                </a:ln>
                <a:solidFill>
                  <a:schemeClr val="bg1"/>
                </a:solidFill>
                <a:effectLst/>
                <a:uLnTx/>
                <a:uFillTx/>
                <a:latin typeface="Quicksand"/>
                <a:ea typeface="+mn-ea"/>
                <a:cs typeface="+mn-cs"/>
              </a:rPr>
              <a:t>Vi foreslår, at I som ledelse orienterer jer i sektionerne og inviterer skolens pædagogiske personale til et møde, hvor I kan præsentere udvalgte eller </a:t>
            </a:r>
            <a:r>
              <a:rPr lang="da-DK" sz="1500" b="0" kern="0" dirty="0">
                <a:solidFill>
                  <a:schemeClr val="bg1"/>
                </a:solidFill>
                <a:latin typeface="Quicksand"/>
                <a:ea typeface="+mn-ea"/>
                <a:cs typeface="+mn-cs"/>
              </a:rPr>
              <a:t>alle </a:t>
            </a:r>
            <a:r>
              <a:rPr kumimoji="0" lang="da-DK" sz="1500" b="0" i="0" u="none" strike="noStrike" kern="0" cap="none" spc="0" normalizeH="0" baseline="0" noProof="0" dirty="0">
                <a:ln>
                  <a:noFill/>
                </a:ln>
                <a:solidFill>
                  <a:schemeClr val="bg1"/>
                </a:solidFill>
                <a:effectLst/>
                <a:uLnTx/>
                <a:uFillTx/>
                <a:latin typeface="Quicksand"/>
                <a:ea typeface="+mn-ea"/>
                <a:cs typeface="+mn-cs"/>
              </a:rPr>
              <a:t>resultater. Det kan bruges som afsæt for at drøfte, hvordan I videreudvikler jeres praksis. </a:t>
            </a:r>
          </a:p>
          <a:p>
            <a:pPr marR="0" lvl="0" algn="l" defTabSz="1219170" rtl="0" eaLnBrk="1" fontAlgn="auto" latinLnBrk="0" hangingPunct="1">
              <a:lnSpc>
                <a:spcPct val="100000"/>
              </a:lnSpc>
              <a:spcBef>
                <a:spcPts val="0"/>
              </a:spcBef>
              <a:spcAft>
                <a:spcPts val="0"/>
              </a:spcAft>
              <a:buClr>
                <a:schemeClr val="bg1"/>
              </a:buClr>
              <a:buSzPct val="100000"/>
              <a:tabLst/>
              <a:defRPr/>
            </a:pPr>
            <a:endParaRPr lang="da-DK" sz="1500" b="0" kern="0" dirty="0">
              <a:solidFill>
                <a:schemeClr val="bg1"/>
              </a:solidFill>
              <a:latin typeface="Quicksand"/>
              <a:ea typeface="+mn-ea"/>
              <a:cs typeface="+mn-cs"/>
            </a:endParaRPr>
          </a:p>
          <a:p>
            <a:pPr algn="l" defTabSz="1219170">
              <a:lnSpc>
                <a:spcPct val="100000"/>
              </a:lnSpc>
              <a:buClr>
                <a:schemeClr val="bg1"/>
              </a:buClr>
              <a:buSzPct val="100000"/>
              <a:defRPr/>
            </a:pPr>
            <a:r>
              <a:rPr lang="da-DK" sz="1500" b="0" kern="0" dirty="0">
                <a:solidFill>
                  <a:schemeClr val="bg1"/>
                </a:solidFill>
                <a:latin typeface="Quicksand"/>
              </a:rPr>
              <a:t>Præsentationen er udarbejdet i et redigerbart format, så I selv kan sortere i indholdet afhængigt af, hvad der er vigtigst for jer at videreformidle, og hvad I ønsker at præsentere for hvem og hvornår. Til hvert slide er der udarbejdet talenoter, som I kan bruge til at udfolde resultaterne. I kan også supplere med egne resultater fra jeres lokale skolerapport. </a:t>
            </a:r>
          </a:p>
          <a:p>
            <a:pPr algn="l" defTabSz="1219170">
              <a:lnSpc>
                <a:spcPct val="100000"/>
              </a:lnSpc>
              <a:buClr>
                <a:schemeClr val="bg1"/>
              </a:buClr>
              <a:buSzPct val="100000"/>
              <a:defRPr/>
            </a:pPr>
            <a:endParaRPr lang="da-DK" sz="1500" b="0" kern="0" dirty="0">
              <a:solidFill>
                <a:schemeClr val="bg1"/>
              </a:solidFill>
              <a:latin typeface="Quicksand"/>
            </a:endParaRPr>
          </a:p>
          <a:p>
            <a:pPr defTabSz="1219170">
              <a:lnSpc>
                <a:spcPct val="100000"/>
              </a:lnSpc>
              <a:buClr>
                <a:srgbClr val="273F68"/>
              </a:buClr>
              <a:buSzPct val="100000"/>
            </a:pPr>
            <a:r>
              <a:rPr lang="da-DK" sz="1500" kern="0" dirty="0">
                <a:solidFill>
                  <a:schemeClr val="bg1"/>
                </a:solidFill>
                <a:latin typeface="Quicksand"/>
              </a:rPr>
              <a:t>God fornøjelse!</a:t>
            </a:r>
          </a:p>
          <a:p>
            <a:pPr defTabSz="1219170">
              <a:lnSpc>
                <a:spcPct val="100000"/>
              </a:lnSpc>
              <a:buClr>
                <a:srgbClr val="273F68"/>
              </a:buClr>
              <a:buSzPct val="100000"/>
            </a:pPr>
            <a:r>
              <a:rPr lang="da-DK" sz="1500" b="0" kern="0" dirty="0">
                <a:solidFill>
                  <a:schemeClr val="bg1"/>
                </a:solidFill>
                <a:latin typeface="Quicksand"/>
              </a:rPr>
              <a:t>Hilsen Rambøll</a:t>
            </a:r>
            <a:endParaRPr lang="da-DK" sz="1500" b="0" i="1" kern="0" dirty="0">
              <a:solidFill>
                <a:srgbClr val="FFFFFF"/>
              </a:solidFill>
              <a:latin typeface="Quicksand"/>
            </a:endParaRPr>
          </a:p>
        </p:txBody>
      </p:sp>
      <p:sp>
        <p:nvSpPr>
          <p:cNvPr id="7" name="Google Shape;994;p40">
            <a:extLst>
              <a:ext uri="{FF2B5EF4-FFF2-40B4-BE49-F238E27FC236}">
                <a16:creationId xmlns:a16="http://schemas.microsoft.com/office/drawing/2014/main" id="{96832833-B16A-C36B-6F8F-7D6D60BAF385}"/>
              </a:ext>
            </a:extLst>
          </p:cNvPr>
          <p:cNvSpPr txBox="1">
            <a:spLocks/>
          </p:cNvSpPr>
          <p:nvPr/>
        </p:nvSpPr>
        <p:spPr>
          <a:xfrm>
            <a:off x="0" y="1245516"/>
            <a:ext cx="12192000" cy="71435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1pPr>
            <a:lvl2pPr marR="0" lvl="1"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2pPr>
            <a:lvl3pPr marR="0" lvl="2"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3pPr>
            <a:lvl4pPr marR="0" lvl="3"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4pPr>
            <a:lvl5pPr marR="0" lvl="4"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5pPr>
            <a:lvl6pPr marR="0" lvl="5"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6pPr>
            <a:lvl7pPr marR="0" lvl="6"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7pPr>
            <a:lvl8pPr marR="0" lvl="7"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8pPr>
            <a:lvl9pPr marR="0" lvl="8"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9pPr>
          </a:lstStyle>
          <a:p>
            <a:pPr marL="0" marR="0" lvl="0" indent="0" algn="ctr" defTabSz="914400" eaLnBrk="1" fontAlgn="auto" latinLnBrk="0" hangingPunct="1">
              <a:lnSpc>
                <a:spcPct val="90000"/>
              </a:lnSpc>
              <a:spcBef>
                <a:spcPts val="0"/>
              </a:spcBef>
              <a:spcAft>
                <a:spcPts val="0"/>
              </a:spcAft>
              <a:buClr>
                <a:srgbClr val="273F68"/>
              </a:buClr>
              <a:buSzPts val="3000"/>
              <a:buFont typeface="Amatic SC"/>
              <a:buNone/>
              <a:tabLst/>
              <a:defRPr/>
            </a:pPr>
            <a:r>
              <a:rPr lang="da-DK" sz="4000" kern="0" dirty="0">
                <a:solidFill>
                  <a:schemeClr val="bg2"/>
                </a:solidFill>
              </a:rPr>
              <a:t>Hej ledelse på skolerne i Nordjylland!</a:t>
            </a:r>
            <a:endParaRPr kumimoji="0" lang="da-DK" sz="4000" b="1" i="0" u="none" strike="noStrike" kern="0" cap="none" spc="0" normalizeH="0" baseline="0" noProof="0" dirty="0">
              <a:ln>
                <a:noFill/>
              </a:ln>
              <a:solidFill>
                <a:schemeClr val="bg2"/>
              </a:solidFill>
              <a:effectLst/>
              <a:uLnTx/>
              <a:uFillTx/>
              <a:latin typeface="Amatic SC"/>
              <a:cs typeface="Amatic SC"/>
              <a:sym typeface="Amatic SC"/>
            </a:endParaRPr>
          </a:p>
        </p:txBody>
      </p:sp>
    </p:spTree>
    <p:extLst>
      <p:ext uri="{BB962C8B-B14F-4D97-AF65-F5344CB8AC3E}">
        <p14:creationId xmlns:p14="http://schemas.microsoft.com/office/powerpoint/2010/main" val="2970210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Shape 69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41E3BF-4194-4AEC-AE0B-9FE634FD6E9D}"/>
              </a:ext>
            </a:extLst>
          </p:cNvPr>
          <p:cNvGraphicFramePr>
            <a:graphicFrameLocks noChangeAspect="1"/>
          </p:cNvGraphicFramePr>
          <p:nvPr>
            <p:custDataLst>
              <p:tags r:id="rId1"/>
            </p:custDataLst>
            <p:extLst>
              <p:ext uri="{D42A27DB-BD31-4B8C-83A1-F6EECF244321}">
                <p14:modId xmlns:p14="http://schemas.microsoft.com/office/powerpoint/2010/main" val="897881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a:extLst>
                          <a:ext uri="{FF2B5EF4-FFF2-40B4-BE49-F238E27FC236}">
                            <a16:creationId xmlns:a16="http://schemas.microsoft.com/office/drawing/2014/main" id="{CB41E3BF-4194-4AEC-AE0B-9FE634FD6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94" name="Google Shape;694;p13"/>
          <p:cNvSpPr txBox="1">
            <a:spLocks noGrp="1"/>
          </p:cNvSpPr>
          <p:nvPr>
            <p:ph type="ctrTitle"/>
          </p:nvPr>
        </p:nvSpPr>
        <p:spPr>
          <a:xfrm>
            <a:off x="2962421" y="2436684"/>
            <a:ext cx="6267157" cy="1984631"/>
          </a:xfrm>
          <a:prstGeom prst="rect">
            <a:avLst/>
          </a:prstGeom>
        </p:spPr>
        <p:txBody>
          <a:bodyPr spcFirstLastPara="1" wrap="square" lIns="0" tIns="0" rIns="0" bIns="0" anchor="ctr" anchorCtr="0">
            <a:noAutofit/>
          </a:bodyPr>
          <a:lstStyle/>
          <a:p>
            <a:pPr algn="ctr"/>
            <a:r>
              <a:rPr lang="da-DK" sz="4800" b="1" dirty="0">
                <a:latin typeface="Amatic SC" panose="00000500000000000000" pitchFamily="2" charset="-79"/>
                <a:cs typeface="Amatic SC" panose="00000500000000000000" pitchFamily="2" charset="-79"/>
              </a:rPr>
              <a:t>Tegn på forandring i praksis</a:t>
            </a:r>
            <a:endParaRPr lang="da-DK" sz="8000" dirty="0">
              <a:latin typeface="Amatic SC" panose="00000500000000000000" pitchFamily="2" charset="-79"/>
              <a:cs typeface="Amatic SC" panose="00000500000000000000" pitchFamily="2" charset="-79"/>
            </a:endParaRPr>
          </a:p>
        </p:txBody>
      </p:sp>
    </p:spTree>
    <p:extLst>
      <p:ext uri="{BB962C8B-B14F-4D97-AF65-F5344CB8AC3E}">
        <p14:creationId xmlns:p14="http://schemas.microsoft.com/office/powerpoint/2010/main" val="34614226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11</a:t>
            </a:fld>
            <a:endParaRPr lang="da-DK"/>
          </a:p>
        </p:txBody>
      </p:sp>
      <p:sp>
        <p:nvSpPr>
          <p:cNvPr id="25" name="Google Shape;846;p29">
            <a:extLst>
              <a:ext uri="{FF2B5EF4-FFF2-40B4-BE49-F238E27FC236}">
                <a16:creationId xmlns:a16="http://schemas.microsoft.com/office/drawing/2014/main" id="{EDA2C9DA-AA0E-4900-AD2F-E52580846E8D}"/>
              </a:ext>
            </a:extLst>
          </p:cNvPr>
          <p:cNvSpPr/>
          <p:nvPr/>
        </p:nvSpPr>
        <p:spPr>
          <a:xfrm>
            <a:off x="-1" y="347862"/>
            <a:ext cx="901244" cy="1019120"/>
          </a:xfrm>
          <a:prstGeom prst="homePlate">
            <a:avLst>
              <a:gd name="adj" fmla="val 50000"/>
            </a:avLst>
          </a:prstGeom>
          <a:solidFill>
            <a:schemeClr val="accent6"/>
          </a:solidFill>
          <a:ln>
            <a:noFill/>
          </a:ln>
        </p:spPr>
        <p:txBody>
          <a:bodyPr spcFirstLastPara="1" wrap="square" lIns="396000"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19" name="Google Shape;843;p29">
            <a:extLst>
              <a:ext uri="{FF2B5EF4-FFF2-40B4-BE49-F238E27FC236}">
                <a16:creationId xmlns:a16="http://schemas.microsoft.com/office/drawing/2014/main" id="{63F687D6-3A0C-49E8-8309-51383D3FACDF}"/>
              </a:ext>
            </a:extLst>
          </p:cNvPr>
          <p:cNvSpPr/>
          <p:nvPr/>
        </p:nvSpPr>
        <p:spPr>
          <a:xfrm>
            <a:off x="358775" y="347492"/>
            <a:ext cx="11359983" cy="1019120"/>
          </a:xfrm>
          <a:prstGeom prst="chevron">
            <a:avLst>
              <a:gd name="adj" fmla="val 50000"/>
            </a:avLst>
          </a:prstGeom>
          <a:solidFill>
            <a:schemeClr val="accent6"/>
          </a:solidFill>
          <a:ln>
            <a:noFill/>
          </a:ln>
        </p:spPr>
        <p:txBody>
          <a:bodyPr spcFirstLastPara="1" wrap="square" lIns="91425" tIns="91425" rIns="91425" bIns="91425" anchor="ctr" anchorCtr="0">
            <a:noAutofit/>
          </a:bodyPr>
          <a:lstStyle/>
          <a:p>
            <a:pPr marL="0" lvl="0" indent="0" algn="ctr">
              <a:spcBef>
                <a:spcPts val="0"/>
              </a:spcBef>
              <a:spcAft>
                <a:spcPts val="0"/>
              </a:spcAft>
              <a:buNone/>
            </a:pPr>
            <a:r>
              <a:rPr lang="da-DK" sz="3200" b="1" dirty="0">
                <a:solidFill>
                  <a:schemeClr val="bg1"/>
                </a:solidFill>
                <a:latin typeface="Amatic SC"/>
                <a:ea typeface="Amatic SC"/>
                <a:cs typeface="Amatic SC"/>
                <a:sym typeface="Amatic SC"/>
              </a:rPr>
              <a:t>Tegn på forandringer i praksis: hovedresultater</a:t>
            </a:r>
          </a:p>
        </p:txBody>
      </p:sp>
      <p:sp>
        <p:nvSpPr>
          <p:cNvPr id="17" name="Google Shape;843;p29">
            <a:extLst>
              <a:ext uri="{FF2B5EF4-FFF2-40B4-BE49-F238E27FC236}">
                <a16:creationId xmlns:a16="http://schemas.microsoft.com/office/drawing/2014/main" id="{A6C4A561-967F-018D-AB42-6CA56D99821F}"/>
              </a:ext>
            </a:extLst>
          </p:cNvPr>
          <p:cNvSpPr/>
          <p:nvPr/>
        </p:nvSpPr>
        <p:spPr>
          <a:xfrm>
            <a:off x="11591636" y="347492"/>
            <a:ext cx="600363" cy="1019120"/>
          </a:xfrm>
          <a:prstGeom prst="rect">
            <a:avLst/>
          </a:prstGeom>
          <a:solidFill>
            <a:schemeClr val="accent6"/>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22" name="Google Shape;843;p29">
            <a:extLst>
              <a:ext uri="{FF2B5EF4-FFF2-40B4-BE49-F238E27FC236}">
                <a16:creationId xmlns:a16="http://schemas.microsoft.com/office/drawing/2014/main" id="{B934E536-600A-73F4-2F31-F377D0DF87B4}"/>
              </a:ext>
            </a:extLst>
          </p:cNvPr>
          <p:cNvSpPr/>
          <p:nvPr/>
        </p:nvSpPr>
        <p:spPr>
          <a:xfrm>
            <a:off x="11033835" y="347677"/>
            <a:ext cx="1067334" cy="1019120"/>
          </a:xfrm>
          <a:prstGeom prst="chevron">
            <a:avLst>
              <a:gd name="adj" fmla="val 50000"/>
            </a:avLst>
          </a:prstGeom>
          <a:solidFill>
            <a:schemeClr val="accent6"/>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32" name="TextBox 31">
            <a:extLst>
              <a:ext uri="{FF2B5EF4-FFF2-40B4-BE49-F238E27FC236}">
                <a16:creationId xmlns:a16="http://schemas.microsoft.com/office/drawing/2014/main" id="{6525F883-4EF3-2E17-67B9-930C5FF2C9C2}"/>
              </a:ext>
            </a:extLst>
          </p:cNvPr>
          <p:cNvSpPr txBox="1">
            <a:spLocks/>
          </p:cNvSpPr>
          <p:nvPr/>
        </p:nvSpPr>
        <p:spPr>
          <a:xfrm>
            <a:off x="1414327" y="2488861"/>
            <a:ext cx="9149170" cy="915984"/>
          </a:xfrm>
          <a:custGeom>
            <a:avLst/>
            <a:gdLst>
              <a:gd name="connsiteX0" fmla="*/ 0 w 9149170"/>
              <a:gd name="connsiteY0" fmla="*/ 0 h 915984"/>
              <a:gd name="connsiteX1" fmla="*/ 836496 w 9149170"/>
              <a:gd name="connsiteY1" fmla="*/ 0 h 915984"/>
              <a:gd name="connsiteX2" fmla="*/ 1581499 w 9149170"/>
              <a:gd name="connsiteY2" fmla="*/ 0 h 915984"/>
              <a:gd name="connsiteX3" fmla="*/ 2235012 w 9149170"/>
              <a:gd name="connsiteY3" fmla="*/ 0 h 915984"/>
              <a:gd name="connsiteX4" fmla="*/ 2797032 w 9149170"/>
              <a:gd name="connsiteY4" fmla="*/ 0 h 915984"/>
              <a:gd name="connsiteX5" fmla="*/ 3542036 w 9149170"/>
              <a:gd name="connsiteY5" fmla="*/ 0 h 915984"/>
              <a:gd name="connsiteX6" fmla="*/ 4012565 w 9149170"/>
              <a:gd name="connsiteY6" fmla="*/ 0 h 915984"/>
              <a:gd name="connsiteX7" fmla="*/ 4757568 w 9149170"/>
              <a:gd name="connsiteY7" fmla="*/ 0 h 915984"/>
              <a:gd name="connsiteX8" fmla="*/ 5228097 w 9149170"/>
              <a:gd name="connsiteY8" fmla="*/ 0 h 915984"/>
              <a:gd name="connsiteX9" fmla="*/ 5698626 w 9149170"/>
              <a:gd name="connsiteY9" fmla="*/ 0 h 915984"/>
              <a:gd name="connsiteX10" fmla="*/ 6535121 w 9149170"/>
              <a:gd name="connsiteY10" fmla="*/ 0 h 915984"/>
              <a:gd name="connsiteX11" fmla="*/ 7188634 w 9149170"/>
              <a:gd name="connsiteY11" fmla="*/ 0 h 915984"/>
              <a:gd name="connsiteX12" fmla="*/ 8025129 w 9149170"/>
              <a:gd name="connsiteY12" fmla="*/ 0 h 915984"/>
              <a:gd name="connsiteX13" fmla="*/ 9149170 w 9149170"/>
              <a:gd name="connsiteY13" fmla="*/ 0 h 915984"/>
              <a:gd name="connsiteX14" fmla="*/ 9149170 w 9149170"/>
              <a:gd name="connsiteY14" fmla="*/ 439672 h 915984"/>
              <a:gd name="connsiteX15" fmla="*/ 9149170 w 9149170"/>
              <a:gd name="connsiteY15" fmla="*/ 915984 h 915984"/>
              <a:gd name="connsiteX16" fmla="*/ 8312674 w 9149170"/>
              <a:gd name="connsiteY16" fmla="*/ 915984 h 915984"/>
              <a:gd name="connsiteX17" fmla="*/ 7567671 w 9149170"/>
              <a:gd name="connsiteY17" fmla="*/ 915984 h 915984"/>
              <a:gd name="connsiteX18" fmla="*/ 7005650 w 9149170"/>
              <a:gd name="connsiteY18" fmla="*/ 915984 h 915984"/>
              <a:gd name="connsiteX19" fmla="*/ 6626613 w 9149170"/>
              <a:gd name="connsiteY19" fmla="*/ 915984 h 915984"/>
              <a:gd name="connsiteX20" fmla="*/ 5881609 w 9149170"/>
              <a:gd name="connsiteY20" fmla="*/ 915984 h 915984"/>
              <a:gd name="connsiteX21" fmla="*/ 5045114 w 9149170"/>
              <a:gd name="connsiteY21" fmla="*/ 915984 h 915984"/>
              <a:gd name="connsiteX22" fmla="*/ 4483093 w 9149170"/>
              <a:gd name="connsiteY22" fmla="*/ 915984 h 915984"/>
              <a:gd name="connsiteX23" fmla="*/ 3738089 w 9149170"/>
              <a:gd name="connsiteY23" fmla="*/ 915984 h 915984"/>
              <a:gd name="connsiteX24" fmla="*/ 3359052 w 9149170"/>
              <a:gd name="connsiteY24" fmla="*/ 915984 h 915984"/>
              <a:gd name="connsiteX25" fmla="*/ 2614049 w 9149170"/>
              <a:gd name="connsiteY25" fmla="*/ 915984 h 915984"/>
              <a:gd name="connsiteX26" fmla="*/ 1960536 w 9149170"/>
              <a:gd name="connsiteY26" fmla="*/ 915984 h 915984"/>
              <a:gd name="connsiteX27" fmla="*/ 1398516 w 9149170"/>
              <a:gd name="connsiteY27" fmla="*/ 915984 h 915984"/>
              <a:gd name="connsiteX28" fmla="*/ 927987 w 9149170"/>
              <a:gd name="connsiteY28" fmla="*/ 915984 h 915984"/>
              <a:gd name="connsiteX29" fmla="*/ 0 w 9149170"/>
              <a:gd name="connsiteY29" fmla="*/ 915984 h 915984"/>
              <a:gd name="connsiteX30" fmla="*/ 0 w 9149170"/>
              <a:gd name="connsiteY30" fmla="*/ 476312 h 915984"/>
              <a:gd name="connsiteX31" fmla="*/ 0 w 9149170"/>
              <a:gd name="connsiteY31" fmla="*/ 0 h 915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9170" h="915984" extrusionOk="0">
                <a:moveTo>
                  <a:pt x="0" y="0"/>
                </a:moveTo>
                <a:cubicBezTo>
                  <a:pt x="340229" y="-20309"/>
                  <a:pt x="574244" y="19432"/>
                  <a:pt x="836496" y="0"/>
                </a:cubicBezTo>
                <a:cubicBezTo>
                  <a:pt x="1098748" y="-19432"/>
                  <a:pt x="1293051" y="-24895"/>
                  <a:pt x="1581499" y="0"/>
                </a:cubicBezTo>
                <a:cubicBezTo>
                  <a:pt x="1869947" y="24895"/>
                  <a:pt x="2030873" y="-16176"/>
                  <a:pt x="2235012" y="0"/>
                </a:cubicBezTo>
                <a:cubicBezTo>
                  <a:pt x="2439151" y="16176"/>
                  <a:pt x="2608503" y="20060"/>
                  <a:pt x="2797032" y="0"/>
                </a:cubicBezTo>
                <a:cubicBezTo>
                  <a:pt x="2985561" y="-20060"/>
                  <a:pt x="3346235" y="37069"/>
                  <a:pt x="3542036" y="0"/>
                </a:cubicBezTo>
                <a:cubicBezTo>
                  <a:pt x="3737837" y="-37069"/>
                  <a:pt x="3881947" y="-14285"/>
                  <a:pt x="4012565" y="0"/>
                </a:cubicBezTo>
                <a:cubicBezTo>
                  <a:pt x="4143183" y="14285"/>
                  <a:pt x="4404467" y="14634"/>
                  <a:pt x="4757568" y="0"/>
                </a:cubicBezTo>
                <a:cubicBezTo>
                  <a:pt x="5110669" y="-14634"/>
                  <a:pt x="5069140" y="2312"/>
                  <a:pt x="5228097" y="0"/>
                </a:cubicBezTo>
                <a:cubicBezTo>
                  <a:pt x="5387054" y="-2312"/>
                  <a:pt x="5464795" y="-5985"/>
                  <a:pt x="5698626" y="0"/>
                </a:cubicBezTo>
                <a:cubicBezTo>
                  <a:pt x="5932457" y="5985"/>
                  <a:pt x="6168687" y="-21201"/>
                  <a:pt x="6535121" y="0"/>
                </a:cubicBezTo>
                <a:cubicBezTo>
                  <a:pt x="6901556" y="21201"/>
                  <a:pt x="7045762" y="1968"/>
                  <a:pt x="7188634" y="0"/>
                </a:cubicBezTo>
                <a:cubicBezTo>
                  <a:pt x="7331506" y="-1968"/>
                  <a:pt x="7683537" y="-40558"/>
                  <a:pt x="8025129" y="0"/>
                </a:cubicBezTo>
                <a:cubicBezTo>
                  <a:pt x="8366721" y="40558"/>
                  <a:pt x="8647100" y="23429"/>
                  <a:pt x="9149170" y="0"/>
                </a:cubicBezTo>
                <a:cubicBezTo>
                  <a:pt x="9130239" y="154337"/>
                  <a:pt x="9162677" y="347072"/>
                  <a:pt x="9149170" y="439672"/>
                </a:cubicBezTo>
                <a:cubicBezTo>
                  <a:pt x="9135663" y="532272"/>
                  <a:pt x="9133754" y="813372"/>
                  <a:pt x="9149170" y="915984"/>
                </a:cubicBezTo>
                <a:cubicBezTo>
                  <a:pt x="8860587" y="954611"/>
                  <a:pt x="8726442" y="927647"/>
                  <a:pt x="8312674" y="915984"/>
                </a:cubicBezTo>
                <a:cubicBezTo>
                  <a:pt x="7898906" y="904321"/>
                  <a:pt x="7844742" y="931777"/>
                  <a:pt x="7567671" y="915984"/>
                </a:cubicBezTo>
                <a:cubicBezTo>
                  <a:pt x="7290600" y="900191"/>
                  <a:pt x="7156985" y="935805"/>
                  <a:pt x="7005650" y="915984"/>
                </a:cubicBezTo>
                <a:cubicBezTo>
                  <a:pt x="6854315" y="896163"/>
                  <a:pt x="6751853" y="924914"/>
                  <a:pt x="6626613" y="915984"/>
                </a:cubicBezTo>
                <a:cubicBezTo>
                  <a:pt x="6501373" y="907054"/>
                  <a:pt x="6104995" y="936783"/>
                  <a:pt x="5881609" y="915984"/>
                </a:cubicBezTo>
                <a:cubicBezTo>
                  <a:pt x="5658223" y="895185"/>
                  <a:pt x="5276675" y="913450"/>
                  <a:pt x="5045114" y="915984"/>
                </a:cubicBezTo>
                <a:cubicBezTo>
                  <a:pt x="4813554" y="918518"/>
                  <a:pt x="4692965" y="905301"/>
                  <a:pt x="4483093" y="915984"/>
                </a:cubicBezTo>
                <a:cubicBezTo>
                  <a:pt x="4273221" y="926667"/>
                  <a:pt x="4022604" y="948352"/>
                  <a:pt x="3738089" y="915984"/>
                </a:cubicBezTo>
                <a:cubicBezTo>
                  <a:pt x="3453574" y="883616"/>
                  <a:pt x="3450597" y="931735"/>
                  <a:pt x="3359052" y="915984"/>
                </a:cubicBezTo>
                <a:cubicBezTo>
                  <a:pt x="3267507" y="900233"/>
                  <a:pt x="2875392" y="930073"/>
                  <a:pt x="2614049" y="915984"/>
                </a:cubicBezTo>
                <a:cubicBezTo>
                  <a:pt x="2352706" y="901895"/>
                  <a:pt x="2226752" y="916510"/>
                  <a:pt x="1960536" y="915984"/>
                </a:cubicBezTo>
                <a:cubicBezTo>
                  <a:pt x="1694320" y="915458"/>
                  <a:pt x="1569728" y="903870"/>
                  <a:pt x="1398516" y="915984"/>
                </a:cubicBezTo>
                <a:cubicBezTo>
                  <a:pt x="1227304" y="928098"/>
                  <a:pt x="1024700" y="899881"/>
                  <a:pt x="927987" y="915984"/>
                </a:cubicBezTo>
                <a:cubicBezTo>
                  <a:pt x="831274" y="932087"/>
                  <a:pt x="209584" y="870400"/>
                  <a:pt x="0" y="915984"/>
                </a:cubicBezTo>
                <a:cubicBezTo>
                  <a:pt x="-11625" y="723549"/>
                  <a:pt x="-19283" y="584633"/>
                  <a:pt x="0" y="476312"/>
                </a:cubicBezTo>
                <a:cubicBezTo>
                  <a:pt x="19283" y="367991"/>
                  <a:pt x="-19169" y="135067"/>
                  <a:pt x="0" y="0"/>
                </a:cubicBezTo>
                <a:close/>
              </a:path>
            </a:pathLst>
          </a:custGeom>
          <a:noFill/>
          <a:ln w="28575">
            <a:solidFill>
              <a:schemeClr val="accent6"/>
            </a:solidFill>
            <a:extLst>
              <a:ext uri="{C807C97D-BFC1-408E-A445-0C87EB9F89A2}">
                <ask:lineSketchStyleProps xmlns:ask="http://schemas.microsoft.com/office/drawing/2018/sketchyshapes" sd="1077043750">
                  <a:prstGeom prst="rect">
                    <a:avLst/>
                  </a:prstGeom>
                  <ask:type>
                    <ask:lineSketchFreehand/>
                  </ask:type>
                </ask:lineSketchStyleProps>
              </a:ext>
            </a:extLst>
          </a:ln>
        </p:spPr>
        <p:style>
          <a:lnRef idx="2">
            <a:schemeClr val="accent5"/>
          </a:lnRef>
          <a:fillRef idx="1">
            <a:schemeClr val="lt1"/>
          </a:fillRef>
          <a:effectRef idx="0">
            <a:schemeClr val="accent5"/>
          </a:effectRef>
          <a:fontRef idx="minor">
            <a:schemeClr val="dk1"/>
          </a:fontRef>
        </p:style>
        <p:txBody>
          <a:bodyPr wrap="square" lIns="0" tIns="0" rIns="0" bIns="0" rtlCol="0" anchor="ctr">
            <a:noAutofit/>
          </a:bodyPr>
          <a:lstStyle/>
          <a:p>
            <a:pPr algn="ctr"/>
            <a:r>
              <a:rPr lang="da-DK" sz="1600" b="1" dirty="0">
                <a:solidFill>
                  <a:schemeClr val="tx1"/>
                </a:solidFill>
                <a:latin typeface="Quicksand" panose="020B0604020202020204"/>
                <a:cs typeface="Amatic SC" panose="00000500000000000000" pitchFamily="2" charset="-79"/>
              </a:rPr>
              <a:t>Pædagogisk personale oplever, at aktionslæringsforløb fremmer indsigt i egen praksis</a:t>
            </a:r>
            <a:br>
              <a:rPr lang="da-DK" sz="1600" b="1" dirty="0">
                <a:solidFill>
                  <a:schemeClr val="tx1"/>
                </a:solidFill>
                <a:latin typeface="Quicksand" panose="020B0604020202020204"/>
                <a:cs typeface="Amatic SC" panose="00000500000000000000" pitchFamily="2" charset="-79"/>
              </a:rPr>
            </a:br>
            <a:r>
              <a:rPr lang="da-DK" sz="1600" b="1" dirty="0">
                <a:solidFill>
                  <a:schemeClr val="tx1"/>
                </a:solidFill>
                <a:latin typeface="Quicksand" panose="020B0604020202020204"/>
                <a:cs typeface="Amatic SC" panose="00000500000000000000" pitchFamily="2" charset="-79"/>
              </a:rPr>
              <a:t>– men prøvehandlinger er fortsat små og foregår i afgrænsede perioder </a:t>
            </a:r>
          </a:p>
        </p:txBody>
      </p:sp>
      <p:sp>
        <p:nvSpPr>
          <p:cNvPr id="33" name="TextBox 32">
            <a:extLst>
              <a:ext uri="{FF2B5EF4-FFF2-40B4-BE49-F238E27FC236}">
                <a16:creationId xmlns:a16="http://schemas.microsoft.com/office/drawing/2014/main" id="{9840AF1A-B8B8-C699-2240-4F1C066CBB4F}"/>
              </a:ext>
            </a:extLst>
          </p:cNvPr>
          <p:cNvSpPr txBox="1"/>
          <p:nvPr/>
        </p:nvSpPr>
        <p:spPr>
          <a:xfrm>
            <a:off x="1286144" y="2762187"/>
            <a:ext cx="878306" cy="307777"/>
          </a:xfrm>
          <a:prstGeom prst="rect">
            <a:avLst/>
          </a:prstGeom>
          <a:noFill/>
        </p:spPr>
        <p:txBody>
          <a:bodyPr wrap="square" lIns="0" tIns="0" rIns="0" bIns="0" rtlCol="0">
            <a:spAutoFit/>
          </a:bodyPr>
          <a:lstStyle/>
          <a:p>
            <a:pPr algn="ctr"/>
            <a:r>
              <a:rPr lang="da-DK" sz="2000" b="1" dirty="0">
                <a:latin typeface="Quicksand" panose="020B0604020202020204"/>
                <a:cs typeface="Amatic SC" panose="00000500000000000000" pitchFamily="2" charset="-79"/>
              </a:rPr>
              <a:t>1</a:t>
            </a:r>
          </a:p>
        </p:txBody>
      </p:sp>
      <p:sp>
        <p:nvSpPr>
          <p:cNvPr id="34" name="TextBox 33">
            <a:extLst>
              <a:ext uri="{FF2B5EF4-FFF2-40B4-BE49-F238E27FC236}">
                <a16:creationId xmlns:a16="http://schemas.microsoft.com/office/drawing/2014/main" id="{ECE452D0-51D2-5908-B869-A4330811097A}"/>
              </a:ext>
            </a:extLst>
          </p:cNvPr>
          <p:cNvSpPr txBox="1">
            <a:spLocks/>
          </p:cNvSpPr>
          <p:nvPr/>
        </p:nvSpPr>
        <p:spPr>
          <a:xfrm>
            <a:off x="1414327" y="3678171"/>
            <a:ext cx="9149170" cy="915984"/>
          </a:xfrm>
          <a:custGeom>
            <a:avLst/>
            <a:gdLst>
              <a:gd name="connsiteX0" fmla="*/ 0 w 9149170"/>
              <a:gd name="connsiteY0" fmla="*/ 0 h 915984"/>
              <a:gd name="connsiteX1" fmla="*/ 836496 w 9149170"/>
              <a:gd name="connsiteY1" fmla="*/ 0 h 915984"/>
              <a:gd name="connsiteX2" fmla="*/ 1581499 w 9149170"/>
              <a:gd name="connsiteY2" fmla="*/ 0 h 915984"/>
              <a:gd name="connsiteX3" fmla="*/ 2235012 w 9149170"/>
              <a:gd name="connsiteY3" fmla="*/ 0 h 915984"/>
              <a:gd name="connsiteX4" fmla="*/ 2797032 w 9149170"/>
              <a:gd name="connsiteY4" fmla="*/ 0 h 915984"/>
              <a:gd name="connsiteX5" fmla="*/ 3542036 w 9149170"/>
              <a:gd name="connsiteY5" fmla="*/ 0 h 915984"/>
              <a:gd name="connsiteX6" fmla="*/ 4012565 w 9149170"/>
              <a:gd name="connsiteY6" fmla="*/ 0 h 915984"/>
              <a:gd name="connsiteX7" fmla="*/ 4757568 w 9149170"/>
              <a:gd name="connsiteY7" fmla="*/ 0 h 915984"/>
              <a:gd name="connsiteX8" fmla="*/ 5228097 w 9149170"/>
              <a:gd name="connsiteY8" fmla="*/ 0 h 915984"/>
              <a:gd name="connsiteX9" fmla="*/ 5698626 w 9149170"/>
              <a:gd name="connsiteY9" fmla="*/ 0 h 915984"/>
              <a:gd name="connsiteX10" fmla="*/ 6535121 w 9149170"/>
              <a:gd name="connsiteY10" fmla="*/ 0 h 915984"/>
              <a:gd name="connsiteX11" fmla="*/ 7188634 w 9149170"/>
              <a:gd name="connsiteY11" fmla="*/ 0 h 915984"/>
              <a:gd name="connsiteX12" fmla="*/ 8025129 w 9149170"/>
              <a:gd name="connsiteY12" fmla="*/ 0 h 915984"/>
              <a:gd name="connsiteX13" fmla="*/ 9149170 w 9149170"/>
              <a:gd name="connsiteY13" fmla="*/ 0 h 915984"/>
              <a:gd name="connsiteX14" fmla="*/ 9149170 w 9149170"/>
              <a:gd name="connsiteY14" fmla="*/ 439672 h 915984"/>
              <a:gd name="connsiteX15" fmla="*/ 9149170 w 9149170"/>
              <a:gd name="connsiteY15" fmla="*/ 915984 h 915984"/>
              <a:gd name="connsiteX16" fmla="*/ 8312674 w 9149170"/>
              <a:gd name="connsiteY16" fmla="*/ 915984 h 915984"/>
              <a:gd name="connsiteX17" fmla="*/ 7567671 w 9149170"/>
              <a:gd name="connsiteY17" fmla="*/ 915984 h 915984"/>
              <a:gd name="connsiteX18" fmla="*/ 7005650 w 9149170"/>
              <a:gd name="connsiteY18" fmla="*/ 915984 h 915984"/>
              <a:gd name="connsiteX19" fmla="*/ 6626613 w 9149170"/>
              <a:gd name="connsiteY19" fmla="*/ 915984 h 915984"/>
              <a:gd name="connsiteX20" fmla="*/ 5881609 w 9149170"/>
              <a:gd name="connsiteY20" fmla="*/ 915984 h 915984"/>
              <a:gd name="connsiteX21" fmla="*/ 5045114 w 9149170"/>
              <a:gd name="connsiteY21" fmla="*/ 915984 h 915984"/>
              <a:gd name="connsiteX22" fmla="*/ 4483093 w 9149170"/>
              <a:gd name="connsiteY22" fmla="*/ 915984 h 915984"/>
              <a:gd name="connsiteX23" fmla="*/ 3738089 w 9149170"/>
              <a:gd name="connsiteY23" fmla="*/ 915984 h 915984"/>
              <a:gd name="connsiteX24" fmla="*/ 3359052 w 9149170"/>
              <a:gd name="connsiteY24" fmla="*/ 915984 h 915984"/>
              <a:gd name="connsiteX25" fmla="*/ 2614049 w 9149170"/>
              <a:gd name="connsiteY25" fmla="*/ 915984 h 915984"/>
              <a:gd name="connsiteX26" fmla="*/ 1960536 w 9149170"/>
              <a:gd name="connsiteY26" fmla="*/ 915984 h 915984"/>
              <a:gd name="connsiteX27" fmla="*/ 1398516 w 9149170"/>
              <a:gd name="connsiteY27" fmla="*/ 915984 h 915984"/>
              <a:gd name="connsiteX28" fmla="*/ 927987 w 9149170"/>
              <a:gd name="connsiteY28" fmla="*/ 915984 h 915984"/>
              <a:gd name="connsiteX29" fmla="*/ 0 w 9149170"/>
              <a:gd name="connsiteY29" fmla="*/ 915984 h 915984"/>
              <a:gd name="connsiteX30" fmla="*/ 0 w 9149170"/>
              <a:gd name="connsiteY30" fmla="*/ 476312 h 915984"/>
              <a:gd name="connsiteX31" fmla="*/ 0 w 9149170"/>
              <a:gd name="connsiteY31" fmla="*/ 0 h 915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9170" h="915984" extrusionOk="0">
                <a:moveTo>
                  <a:pt x="0" y="0"/>
                </a:moveTo>
                <a:cubicBezTo>
                  <a:pt x="340229" y="-20309"/>
                  <a:pt x="574244" y="19432"/>
                  <a:pt x="836496" y="0"/>
                </a:cubicBezTo>
                <a:cubicBezTo>
                  <a:pt x="1098748" y="-19432"/>
                  <a:pt x="1293051" y="-24895"/>
                  <a:pt x="1581499" y="0"/>
                </a:cubicBezTo>
                <a:cubicBezTo>
                  <a:pt x="1869947" y="24895"/>
                  <a:pt x="2030873" y="-16176"/>
                  <a:pt x="2235012" y="0"/>
                </a:cubicBezTo>
                <a:cubicBezTo>
                  <a:pt x="2439151" y="16176"/>
                  <a:pt x="2608503" y="20060"/>
                  <a:pt x="2797032" y="0"/>
                </a:cubicBezTo>
                <a:cubicBezTo>
                  <a:pt x="2985561" y="-20060"/>
                  <a:pt x="3346235" y="37069"/>
                  <a:pt x="3542036" y="0"/>
                </a:cubicBezTo>
                <a:cubicBezTo>
                  <a:pt x="3737837" y="-37069"/>
                  <a:pt x="3881947" y="-14285"/>
                  <a:pt x="4012565" y="0"/>
                </a:cubicBezTo>
                <a:cubicBezTo>
                  <a:pt x="4143183" y="14285"/>
                  <a:pt x="4404467" y="14634"/>
                  <a:pt x="4757568" y="0"/>
                </a:cubicBezTo>
                <a:cubicBezTo>
                  <a:pt x="5110669" y="-14634"/>
                  <a:pt x="5069140" y="2312"/>
                  <a:pt x="5228097" y="0"/>
                </a:cubicBezTo>
                <a:cubicBezTo>
                  <a:pt x="5387054" y="-2312"/>
                  <a:pt x="5464795" y="-5985"/>
                  <a:pt x="5698626" y="0"/>
                </a:cubicBezTo>
                <a:cubicBezTo>
                  <a:pt x="5932457" y="5985"/>
                  <a:pt x="6168687" y="-21201"/>
                  <a:pt x="6535121" y="0"/>
                </a:cubicBezTo>
                <a:cubicBezTo>
                  <a:pt x="6901556" y="21201"/>
                  <a:pt x="7045762" y="1968"/>
                  <a:pt x="7188634" y="0"/>
                </a:cubicBezTo>
                <a:cubicBezTo>
                  <a:pt x="7331506" y="-1968"/>
                  <a:pt x="7683537" y="-40558"/>
                  <a:pt x="8025129" y="0"/>
                </a:cubicBezTo>
                <a:cubicBezTo>
                  <a:pt x="8366721" y="40558"/>
                  <a:pt x="8647100" y="23429"/>
                  <a:pt x="9149170" y="0"/>
                </a:cubicBezTo>
                <a:cubicBezTo>
                  <a:pt x="9130239" y="154337"/>
                  <a:pt x="9162677" y="347072"/>
                  <a:pt x="9149170" y="439672"/>
                </a:cubicBezTo>
                <a:cubicBezTo>
                  <a:pt x="9135663" y="532272"/>
                  <a:pt x="9133754" y="813372"/>
                  <a:pt x="9149170" y="915984"/>
                </a:cubicBezTo>
                <a:cubicBezTo>
                  <a:pt x="8860587" y="954611"/>
                  <a:pt x="8726442" y="927647"/>
                  <a:pt x="8312674" y="915984"/>
                </a:cubicBezTo>
                <a:cubicBezTo>
                  <a:pt x="7898906" y="904321"/>
                  <a:pt x="7844742" y="931777"/>
                  <a:pt x="7567671" y="915984"/>
                </a:cubicBezTo>
                <a:cubicBezTo>
                  <a:pt x="7290600" y="900191"/>
                  <a:pt x="7156985" y="935805"/>
                  <a:pt x="7005650" y="915984"/>
                </a:cubicBezTo>
                <a:cubicBezTo>
                  <a:pt x="6854315" y="896163"/>
                  <a:pt x="6751853" y="924914"/>
                  <a:pt x="6626613" y="915984"/>
                </a:cubicBezTo>
                <a:cubicBezTo>
                  <a:pt x="6501373" y="907054"/>
                  <a:pt x="6104995" y="936783"/>
                  <a:pt x="5881609" y="915984"/>
                </a:cubicBezTo>
                <a:cubicBezTo>
                  <a:pt x="5658223" y="895185"/>
                  <a:pt x="5276675" y="913450"/>
                  <a:pt x="5045114" y="915984"/>
                </a:cubicBezTo>
                <a:cubicBezTo>
                  <a:pt x="4813554" y="918518"/>
                  <a:pt x="4692965" y="905301"/>
                  <a:pt x="4483093" y="915984"/>
                </a:cubicBezTo>
                <a:cubicBezTo>
                  <a:pt x="4273221" y="926667"/>
                  <a:pt x="4022604" y="948352"/>
                  <a:pt x="3738089" y="915984"/>
                </a:cubicBezTo>
                <a:cubicBezTo>
                  <a:pt x="3453574" y="883616"/>
                  <a:pt x="3450597" y="931735"/>
                  <a:pt x="3359052" y="915984"/>
                </a:cubicBezTo>
                <a:cubicBezTo>
                  <a:pt x="3267507" y="900233"/>
                  <a:pt x="2875392" y="930073"/>
                  <a:pt x="2614049" y="915984"/>
                </a:cubicBezTo>
                <a:cubicBezTo>
                  <a:pt x="2352706" y="901895"/>
                  <a:pt x="2226752" y="916510"/>
                  <a:pt x="1960536" y="915984"/>
                </a:cubicBezTo>
                <a:cubicBezTo>
                  <a:pt x="1694320" y="915458"/>
                  <a:pt x="1569728" y="903870"/>
                  <a:pt x="1398516" y="915984"/>
                </a:cubicBezTo>
                <a:cubicBezTo>
                  <a:pt x="1227304" y="928098"/>
                  <a:pt x="1024700" y="899881"/>
                  <a:pt x="927987" y="915984"/>
                </a:cubicBezTo>
                <a:cubicBezTo>
                  <a:pt x="831274" y="932087"/>
                  <a:pt x="209584" y="870400"/>
                  <a:pt x="0" y="915984"/>
                </a:cubicBezTo>
                <a:cubicBezTo>
                  <a:pt x="-11625" y="723549"/>
                  <a:pt x="-19283" y="584633"/>
                  <a:pt x="0" y="476312"/>
                </a:cubicBezTo>
                <a:cubicBezTo>
                  <a:pt x="19283" y="367991"/>
                  <a:pt x="-19169" y="135067"/>
                  <a:pt x="0" y="0"/>
                </a:cubicBezTo>
                <a:close/>
              </a:path>
            </a:pathLst>
          </a:custGeom>
          <a:noFill/>
          <a:ln w="28575">
            <a:solidFill>
              <a:schemeClr val="accent6"/>
            </a:solidFill>
            <a:extLst>
              <a:ext uri="{C807C97D-BFC1-408E-A445-0C87EB9F89A2}">
                <ask:lineSketchStyleProps xmlns:ask="http://schemas.microsoft.com/office/drawing/2018/sketchyshapes" sd="1077043750">
                  <a:prstGeom prst="rect">
                    <a:avLst/>
                  </a:prstGeom>
                  <ask:type>
                    <ask:lineSketchFreehand/>
                  </ask:type>
                </ask:lineSketchStyleProps>
              </a:ext>
            </a:extLst>
          </a:ln>
        </p:spPr>
        <p:style>
          <a:lnRef idx="2">
            <a:schemeClr val="accent5"/>
          </a:lnRef>
          <a:fillRef idx="1">
            <a:schemeClr val="lt1"/>
          </a:fillRef>
          <a:effectRef idx="0">
            <a:schemeClr val="accent5"/>
          </a:effectRef>
          <a:fontRef idx="minor">
            <a:schemeClr val="dk1"/>
          </a:fontRef>
        </p:style>
        <p:txBody>
          <a:bodyPr wrap="square" lIns="0" tIns="0" rIns="0" bIns="0" rtlCol="0" anchor="ctr">
            <a:noAutofit/>
          </a:bodyPr>
          <a:lstStyle/>
          <a:p>
            <a:pPr algn="ctr"/>
            <a:r>
              <a:rPr lang="da-DK" sz="1600" b="1" dirty="0">
                <a:effectLst/>
                <a:latin typeface="Quicksand" panose="020B0604020202020204"/>
                <a:ea typeface="Calibri" panose="020F0502020204030204" pitchFamily="34" charset="0"/>
                <a:cs typeface="Segoe UI" panose="020B0502040204020203" pitchFamily="34" charset="0"/>
              </a:rPr>
              <a:t>Teams er gode til at sætte prøvehandlinger i søen, men følger sjældent systematisk op på dem</a:t>
            </a:r>
            <a:endParaRPr lang="da-DK" sz="1600" b="1" dirty="0">
              <a:solidFill>
                <a:schemeClr val="tx1"/>
              </a:solidFill>
              <a:latin typeface="Quicksand" panose="020B0604020202020204"/>
              <a:cs typeface="Amatic SC" panose="00000500000000000000" pitchFamily="2" charset="-79"/>
            </a:endParaRPr>
          </a:p>
        </p:txBody>
      </p:sp>
      <p:sp>
        <p:nvSpPr>
          <p:cNvPr id="35" name="TextBox 34">
            <a:extLst>
              <a:ext uri="{FF2B5EF4-FFF2-40B4-BE49-F238E27FC236}">
                <a16:creationId xmlns:a16="http://schemas.microsoft.com/office/drawing/2014/main" id="{9326538A-3B26-836F-C128-6760F59D8119}"/>
              </a:ext>
            </a:extLst>
          </p:cNvPr>
          <p:cNvSpPr txBox="1"/>
          <p:nvPr/>
        </p:nvSpPr>
        <p:spPr>
          <a:xfrm>
            <a:off x="1305194" y="3951497"/>
            <a:ext cx="878306" cy="307777"/>
          </a:xfrm>
          <a:prstGeom prst="rect">
            <a:avLst/>
          </a:prstGeom>
          <a:noFill/>
        </p:spPr>
        <p:txBody>
          <a:bodyPr wrap="square" lIns="0" tIns="0" rIns="0" bIns="0" rtlCol="0">
            <a:spAutoFit/>
          </a:bodyPr>
          <a:lstStyle/>
          <a:p>
            <a:pPr algn="ctr"/>
            <a:r>
              <a:rPr lang="da-DK" sz="2000" b="1">
                <a:latin typeface="Quicksand" panose="020B0604020202020204"/>
                <a:cs typeface="Amatic SC" panose="00000500000000000000" pitchFamily="2" charset="-79"/>
              </a:rPr>
              <a:t>2</a:t>
            </a:r>
          </a:p>
        </p:txBody>
      </p:sp>
      <p:sp>
        <p:nvSpPr>
          <p:cNvPr id="3" name="TextBox 2">
            <a:extLst>
              <a:ext uri="{FF2B5EF4-FFF2-40B4-BE49-F238E27FC236}">
                <a16:creationId xmlns:a16="http://schemas.microsoft.com/office/drawing/2014/main" id="{A309A251-5F05-F228-6FAA-871A5B1852DC}"/>
              </a:ext>
            </a:extLst>
          </p:cNvPr>
          <p:cNvSpPr txBox="1"/>
          <p:nvPr/>
        </p:nvSpPr>
        <p:spPr>
          <a:xfrm>
            <a:off x="1414325" y="1616029"/>
            <a:ext cx="9149171" cy="553998"/>
          </a:xfrm>
          <a:prstGeom prst="rect">
            <a:avLst/>
          </a:prstGeom>
          <a:noFill/>
        </p:spPr>
        <p:txBody>
          <a:bodyPr wrap="square">
            <a:spAutoFit/>
          </a:bodyPr>
          <a:lstStyle/>
          <a:p>
            <a:pPr lvl="0" algn="ctr">
              <a:spcBef>
                <a:spcPts val="0"/>
              </a:spcBef>
              <a:spcAft>
                <a:spcPts val="0"/>
              </a:spcAft>
            </a:pPr>
            <a:r>
              <a:rPr lang="da-DK" sz="3000" b="1" dirty="0">
                <a:latin typeface="Amatic SC"/>
                <a:cs typeface="Amatic SC"/>
                <a:sym typeface="Quicksand"/>
              </a:rPr>
              <a:t>Evalueringen viser, at:</a:t>
            </a:r>
            <a:endParaRPr lang="da-DK" sz="3000" b="1" dirty="0">
              <a:latin typeface="Quicksand"/>
              <a:ea typeface="Quicksand"/>
              <a:cs typeface="Quicksand"/>
              <a:sym typeface="Quicksand"/>
            </a:endParaRPr>
          </a:p>
        </p:txBody>
      </p:sp>
    </p:spTree>
    <p:extLst>
      <p:ext uri="{BB962C8B-B14F-4D97-AF65-F5344CB8AC3E}">
        <p14:creationId xmlns:p14="http://schemas.microsoft.com/office/powerpoint/2010/main" val="41216376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9CA9FF-A7C4-BBBA-B976-CEC71C9FD6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Object 2" hidden="1">
                        <a:extLst>
                          <a:ext uri="{FF2B5EF4-FFF2-40B4-BE49-F238E27FC236}">
                            <a16:creationId xmlns:a16="http://schemas.microsoft.com/office/drawing/2014/main" id="{939CA9FF-A7C4-BBBA-B976-CEC71C9FD6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6837AFC8-649E-E213-A63F-4A4D4D0758C6}"/>
              </a:ext>
            </a:extLst>
          </p:cNvPr>
          <p:cNvSpPr txBox="1"/>
          <p:nvPr/>
        </p:nvSpPr>
        <p:spPr>
          <a:xfrm>
            <a:off x="3581693" y="2356760"/>
            <a:ext cx="6058695" cy="2893100"/>
          </a:xfrm>
          <a:prstGeom prst="rect">
            <a:avLst/>
          </a:prstGeom>
          <a:noFill/>
        </p:spPr>
        <p:txBody>
          <a:bodyPr wrap="square" lIns="0" tIns="0" rIns="0" bIns="0" rtlCol="0">
            <a:spAutoFit/>
          </a:bodyPr>
          <a:lstStyle/>
          <a:p>
            <a:r>
              <a:rPr lang="da-DK" sz="2400" b="1" dirty="0">
                <a:solidFill>
                  <a:schemeClr val="accent6"/>
                </a:solidFill>
                <a:latin typeface="Quicksand" panose="020B0604020202020204" charset="0"/>
                <a:cs typeface="Quicksand" panose="020B0604020202020204" charset="0"/>
              </a:rPr>
              <a:t>Aktionslæring gør, at vi har en mere professionel tilgang til børnenes læring og trivsel. Det virkede kunstigt i starten, men fordi det er systematisk, er det blevet nemmere for os at bringe emner op, som vi måske normalt ville putte med eller ignorere.</a:t>
            </a:r>
          </a:p>
          <a:p>
            <a:r>
              <a:rPr lang="da-DK" sz="2400" b="1" dirty="0">
                <a:solidFill>
                  <a:schemeClr val="accent3"/>
                </a:solidFill>
                <a:latin typeface="Quicksand" panose="020B0604020202020204" charset="0"/>
                <a:cs typeface="Quicksand" panose="020B0604020202020204" charset="0"/>
              </a:rPr>
              <a:t> </a:t>
            </a:r>
          </a:p>
          <a:p>
            <a:r>
              <a:rPr lang="da-DK" sz="2000" i="1" dirty="0">
                <a:solidFill>
                  <a:schemeClr val="accent6"/>
                </a:solidFill>
                <a:latin typeface="Quicksand" panose="020B0604020202020204" charset="0"/>
                <a:cs typeface="Quicksand" panose="020B0604020202020204" charset="0"/>
              </a:rPr>
              <a:t>Pædagogisk personale</a:t>
            </a:r>
          </a:p>
        </p:txBody>
      </p:sp>
      <p:pic>
        <p:nvPicPr>
          <p:cNvPr id="4" name="Graphic 3" descr="Open quotation mark with solid fill">
            <a:extLst>
              <a:ext uri="{FF2B5EF4-FFF2-40B4-BE49-F238E27FC236}">
                <a16:creationId xmlns:a16="http://schemas.microsoft.com/office/drawing/2014/main" id="{A9D03C7A-067A-F731-C9CE-914E8B9493B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72816" y="1246233"/>
            <a:ext cx="1255221" cy="1255221"/>
          </a:xfrm>
          <a:prstGeom prst="rect">
            <a:avLst/>
          </a:prstGeom>
        </p:spPr>
      </p:pic>
    </p:spTree>
    <p:extLst>
      <p:ext uri="{BB962C8B-B14F-4D97-AF65-F5344CB8AC3E}">
        <p14:creationId xmlns:p14="http://schemas.microsoft.com/office/powerpoint/2010/main" val="34223118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13</a:t>
            </a:fld>
            <a:endParaRPr lang="da-DK"/>
          </a:p>
        </p:txBody>
      </p:sp>
      <p:sp>
        <p:nvSpPr>
          <p:cNvPr id="2" name="Slide Number Placeholder 3">
            <a:extLst>
              <a:ext uri="{FF2B5EF4-FFF2-40B4-BE49-F238E27FC236}">
                <a16:creationId xmlns:a16="http://schemas.microsoft.com/office/drawing/2014/main" id="{ED641A61-E366-695E-1407-D39F7C4A0DF4}"/>
              </a:ext>
            </a:extLst>
          </p:cNvPr>
          <p:cNvSpPr txBox="1">
            <a:spLocks/>
          </p:cNvSpPr>
          <p:nvPr/>
        </p:nvSpPr>
        <p:spPr>
          <a:xfrm>
            <a:off x="11206800" y="5242183"/>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7" name="Rectangle 6">
            <a:extLst>
              <a:ext uri="{FF2B5EF4-FFF2-40B4-BE49-F238E27FC236}">
                <a16:creationId xmlns:a16="http://schemas.microsoft.com/office/drawing/2014/main" id="{2324759E-015A-7FA1-AC61-125833CE0294}"/>
              </a:ext>
            </a:extLst>
          </p:cNvPr>
          <p:cNvSpPr/>
          <p:nvPr/>
        </p:nvSpPr>
        <p:spPr>
          <a:xfrm>
            <a:off x="6525730" y="1724400"/>
            <a:ext cx="5065906" cy="460800"/>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ctr"/>
            <a:r>
              <a:rPr lang="da-DK" sz="2000" b="1">
                <a:solidFill>
                  <a:schemeClr val="tx1"/>
                </a:solidFill>
                <a:latin typeface="Amatic SC" panose="00000500000000000000" pitchFamily="2" charset="-79"/>
                <a:cs typeface="Amatic SC" panose="00000500000000000000" pitchFamily="2" charset="-79"/>
              </a:rPr>
              <a:t>Fremadrettet kan det styrke praksis, at…</a:t>
            </a:r>
            <a:endParaRPr lang="da-DK" sz="2000" b="1" noProof="0">
              <a:solidFill>
                <a:schemeClr val="tx1"/>
              </a:solidFill>
              <a:latin typeface="Amatic SC" panose="00000500000000000000" pitchFamily="2" charset="-79"/>
              <a:cs typeface="Amatic SC" panose="00000500000000000000" pitchFamily="2" charset="-79"/>
            </a:endParaRPr>
          </a:p>
        </p:txBody>
      </p:sp>
      <p:sp>
        <p:nvSpPr>
          <p:cNvPr id="8" name="Rectangle 7">
            <a:extLst>
              <a:ext uri="{FF2B5EF4-FFF2-40B4-BE49-F238E27FC236}">
                <a16:creationId xmlns:a16="http://schemas.microsoft.com/office/drawing/2014/main" id="{D85789E7-D242-334D-9C18-2E6F3AC43279}"/>
              </a:ext>
            </a:extLst>
          </p:cNvPr>
          <p:cNvSpPr/>
          <p:nvPr/>
        </p:nvSpPr>
        <p:spPr>
          <a:xfrm>
            <a:off x="6525730" y="2184184"/>
            <a:ext cx="5065906" cy="316599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08000" bIns="36000" rtlCol="0" anchor="t"/>
          <a:lstStyle/>
          <a:p>
            <a:pPr marL="216000"/>
            <a:endParaRPr lang="da-DK" sz="1400" dirty="0">
              <a:solidFill>
                <a:schemeClr val="tx1"/>
              </a:solidFill>
              <a:latin typeface="Quicksand" panose="020B0604020202020204" charset="0"/>
            </a:endParaRPr>
          </a:p>
          <a:p>
            <a:pPr marL="216000"/>
            <a:r>
              <a:rPr lang="da-DK" sz="1400" dirty="0">
                <a:solidFill>
                  <a:schemeClr val="tx1"/>
                </a:solidFill>
                <a:latin typeface="Quicksand" panose="020B0604020202020204" charset="0"/>
              </a:rPr>
              <a:t>… udforme prøvehandlinger, der </a:t>
            </a:r>
            <a:r>
              <a:rPr lang="da-DK" sz="1400" noProof="0" dirty="0">
                <a:solidFill>
                  <a:schemeClr val="tx1"/>
                </a:solidFill>
                <a:latin typeface="Quicksand" panose="020B0604020202020204" charset="0"/>
              </a:rPr>
              <a:t>tager afsæt i en </a:t>
            </a:r>
            <a:r>
              <a:rPr lang="da-DK" sz="1400" b="1" noProof="0" dirty="0">
                <a:solidFill>
                  <a:schemeClr val="tx1"/>
                </a:solidFill>
                <a:latin typeface="Quicksand" panose="020B0604020202020204" charset="0"/>
              </a:rPr>
              <a:t>lokal</a:t>
            </a:r>
            <a:r>
              <a:rPr lang="da-DK" sz="1400" noProof="0" dirty="0">
                <a:solidFill>
                  <a:schemeClr val="tx1"/>
                </a:solidFill>
                <a:latin typeface="Quicksand" panose="020B0604020202020204" charset="0"/>
              </a:rPr>
              <a:t> </a:t>
            </a:r>
            <a:r>
              <a:rPr lang="da-DK" sz="1400" b="1" noProof="0" dirty="0">
                <a:solidFill>
                  <a:schemeClr val="tx1"/>
                </a:solidFill>
                <a:latin typeface="Quicksand" panose="020B0604020202020204" charset="0"/>
              </a:rPr>
              <a:t>udfordring </a:t>
            </a:r>
            <a:r>
              <a:rPr lang="da-DK" sz="1400" noProof="0" dirty="0">
                <a:solidFill>
                  <a:schemeClr val="tx1"/>
                </a:solidFill>
                <a:latin typeface="Quicksand" panose="020B0604020202020204" charset="0"/>
              </a:rPr>
              <a:t>tæt på praksis. </a:t>
            </a:r>
            <a:br>
              <a:rPr lang="da-DK" sz="1400" noProof="0" dirty="0">
                <a:solidFill>
                  <a:schemeClr val="tx1"/>
                </a:solidFill>
                <a:latin typeface="Quicksand" panose="020B0604020202020204" charset="0"/>
              </a:rPr>
            </a:br>
            <a:endParaRPr lang="da-DK" sz="1400" dirty="0">
              <a:solidFill>
                <a:schemeClr val="tx1"/>
              </a:solidFill>
              <a:latin typeface="Quicksand" panose="020B0604020202020204" charset="0"/>
            </a:endParaRPr>
          </a:p>
          <a:p>
            <a:pPr marL="216000"/>
            <a:r>
              <a:rPr lang="da-DK" sz="1400" noProof="0" dirty="0">
                <a:solidFill>
                  <a:schemeClr val="tx1"/>
                </a:solidFill>
                <a:latin typeface="Quicksand" panose="020B0604020202020204" charset="0"/>
              </a:rPr>
              <a:t>… </a:t>
            </a:r>
            <a:r>
              <a:rPr lang="da-DK" sz="1400" b="1" noProof="0" dirty="0">
                <a:solidFill>
                  <a:schemeClr val="tx1"/>
                </a:solidFill>
                <a:latin typeface="Quicksand" panose="020B0604020202020204" charset="0"/>
              </a:rPr>
              <a:t>inddrage kolleger, som ikke kender elevgruppen </a:t>
            </a:r>
            <a:r>
              <a:rPr lang="da-DK" sz="1400" noProof="0" dirty="0">
                <a:solidFill>
                  <a:schemeClr val="tx1"/>
                </a:solidFill>
                <a:latin typeface="Quicksand" panose="020B0604020202020204" charset="0"/>
              </a:rPr>
              <a:t>for at få nyt blik på problemstillinger. </a:t>
            </a:r>
            <a:br>
              <a:rPr lang="da-DK" sz="1400" dirty="0">
                <a:solidFill>
                  <a:schemeClr val="tx1"/>
                </a:solidFill>
                <a:latin typeface="Quicksand" panose="020B0604020202020204" charset="0"/>
              </a:rPr>
            </a:br>
            <a:endParaRPr lang="da-DK" sz="1400" dirty="0">
              <a:solidFill>
                <a:schemeClr val="tx1"/>
              </a:solidFill>
              <a:latin typeface="Quicksand" panose="020B0604020202020204" charset="0"/>
            </a:endParaRPr>
          </a:p>
          <a:p>
            <a:pPr marL="216000"/>
            <a:r>
              <a:rPr lang="da-DK" sz="1400" dirty="0">
                <a:solidFill>
                  <a:schemeClr val="tx1"/>
                </a:solidFill>
                <a:latin typeface="Quicksand" panose="020B0604020202020204" charset="0"/>
              </a:rPr>
              <a:t>… drøfte, </a:t>
            </a:r>
            <a:r>
              <a:rPr lang="da-DK" sz="1400" b="1" dirty="0">
                <a:solidFill>
                  <a:schemeClr val="tx1"/>
                </a:solidFill>
                <a:latin typeface="Quicksand" panose="020B0604020202020204" charset="0"/>
              </a:rPr>
              <a:t>hvad en prøvehandling kan være, </a:t>
            </a:r>
            <a:r>
              <a:rPr lang="da-DK" sz="1400" dirty="0">
                <a:solidFill>
                  <a:schemeClr val="tx1"/>
                </a:solidFill>
                <a:latin typeface="Quicksand" panose="020B0604020202020204" charset="0"/>
              </a:rPr>
              <a:t>og hvilke didaktiske intentioner der ligger bag nuværende prøvehandlinger.</a:t>
            </a:r>
          </a:p>
          <a:p>
            <a:pPr marL="216000"/>
            <a:endParaRPr lang="da-DK" sz="1400" dirty="0">
              <a:solidFill>
                <a:schemeClr val="tx1"/>
              </a:solidFill>
              <a:latin typeface="Quicksand" panose="020B0604020202020204" charset="0"/>
            </a:endParaRPr>
          </a:p>
          <a:p>
            <a:pPr marL="216000"/>
            <a:r>
              <a:rPr lang="da-DK" sz="1400" dirty="0">
                <a:solidFill>
                  <a:schemeClr val="tx1"/>
                </a:solidFill>
                <a:latin typeface="Quicksand" panose="020B0604020202020204" charset="0"/>
              </a:rPr>
              <a:t>… have for øje, hvordan prøvehandlinger ikke forbliver afgrænsede greb, men bidrager til at skabe </a:t>
            </a:r>
            <a:r>
              <a:rPr lang="da-DK" sz="1400" b="1" dirty="0">
                <a:solidFill>
                  <a:schemeClr val="tx1"/>
                </a:solidFill>
                <a:latin typeface="Quicksand" panose="020B0604020202020204" charset="0"/>
              </a:rPr>
              <a:t>vedvarende</a:t>
            </a:r>
            <a:r>
              <a:rPr lang="da-DK" sz="1400" dirty="0">
                <a:solidFill>
                  <a:schemeClr val="tx1"/>
                </a:solidFill>
                <a:latin typeface="Quicksand" panose="020B0604020202020204" charset="0"/>
              </a:rPr>
              <a:t> </a:t>
            </a:r>
            <a:r>
              <a:rPr lang="da-DK" sz="1400" b="1" dirty="0">
                <a:solidFill>
                  <a:schemeClr val="tx1"/>
                </a:solidFill>
                <a:latin typeface="Quicksand" panose="020B0604020202020204" charset="0"/>
              </a:rPr>
              <a:t>kæder</a:t>
            </a:r>
            <a:r>
              <a:rPr lang="da-DK" sz="1400" dirty="0">
                <a:solidFill>
                  <a:schemeClr val="tx1"/>
                </a:solidFill>
                <a:latin typeface="Quicksand" panose="020B0604020202020204" charset="0"/>
              </a:rPr>
              <a:t> </a:t>
            </a:r>
            <a:r>
              <a:rPr lang="da-DK" sz="1400" b="1" dirty="0">
                <a:solidFill>
                  <a:schemeClr val="tx1"/>
                </a:solidFill>
                <a:latin typeface="Quicksand" panose="020B0604020202020204" charset="0"/>
              </a:rPr>
              <a:t>af forandringer</a:t>
            </a:r>
            <a:r>
              <a:rPr lang="da-DK" sz="1400" dirty="0">
                <a:solidFill>
                  <a:schemeClr val="tx1"/>
                </a:solidFill>
                <a:latin typeface="Quicksand" panose="020B0604020202020204" charset="0"/>
              </a:rPr>
              <a:t>.</a:t>
            </a:r>
          </a:p>
          <a:p>
            <a:pPr marL="216000"/>
            <a:endParaRPr lang="da-DK" sz="1400" dirty="0">
              <a:solidFill>
                <a:schemeClr val="tx1"/>
              </a:solidFill>
              <a:latin typeface="Quicksand" panose="020B0604020202020204" charset="0"/>
            </a:endParaRPr>
          </a:p>
          <a:p>
            <a:pPr marL="216000"/>
            <a:endParaRPr lang="da-DK" sz="1500" dirty="0">
              <a:solidFill>
                <a:schemeClr val="tx1"/>
              </a:solidFill>
              <a:latin typeface="Quicksand" panose="020B0604020202020204" charset="0"/>
            </a:endParaRPr>
          </a:p>
        </p:txBody>
      </p:sp>
      <p:sp>
        <p:nvSpPr>
          <p:cNvPr id="14" name="Google Shape;847;p29">
            <a:extLst>
              <a:ext uri="{FF2B5EF4-FFF2-40B4-BE49-F238E27FC236}">
                <a16:creationId xmlns:a16="http://schemas.microsoft.com/office/drawing/2014/main" id="{DE10ED59-7590-9F3C-1E67-C22B931F997B}"/>
              </a:ext>
            </a:extLst>
          </p:cNvPr>
          <p:cNvSpPr txBox="1"/>
          <p:nvPr/>
        </p:nvSpPr>
        <p:spPr>
          <a:xfrm>
            <a:off x="901243" y="2296800"/>
            <a:ext cx="5194757" cy="3626799"/>
          </a:xfrm>
          <a:prstGeom prst="rect">
            <a:avLst/>
          </a:prstGeom>
          <a:noFill/>
          <a:ln>
            <a:noFill/>
          </a:ln>
        </p:spPr>
        <p:txBody>
          <a:bodyPr spcFirstLastPara="1" wrap="square" lIns="0" tIns="0" rIns="0" bIns="0" anchor="t" anchorCtr="0">
            <a:noAutofit/>
          </a:bodyPr>
          <a:lstStyle/>
          <a:p>
            <a:r>
              <a:rPr lang="da-DK" sz="1600" dirty="0">
                <a:latin typeface="Quicksand" panose="020B0604020202020204"/>
                <a:ea typeface="Quicksand" panose="020B0604020202020204"/>
                <a:cs typeface="Quicksand" panose="020B0604020202020204"/>
                <a:sym typeface="Quicksand"/>
              </a:rPr>
              <a:t>Pædagogisk personale generelt oplever, at aktionslæringsforløb </a:t>
            </a:r>
            <a:r>
              <a:rPr lang="da-DK" sz="1600" b="1" dirty="0">
                <a:latin typeface="Quicksand" panose="020B0604020202020204"/>
                <a:ea typeface="Quicksand" panose="020B0604020202020204"/>
                <a:cs typeface="Quicksand" panose="020B0604020202020204"/>
                <a:sym typeface="Quicksand"/>
              </a:rPr>
              <a:t>fremmer indsigt i egen praksis</a:t>
            </a:r>
            <a:r>
              <a:rPr lang="da-DK" sz="1600" dirty="0">
                <a:latin typeface="Quicksand" panose="020B0604020202020204"/>
                <a:ea typeface="Quicksand" panose="020B0604020202020204"/>
                <a:cs typeface="Quicksand" panose="020B0604020202020204"/>
                <a:sym typeface="Quicksand"/>
              </a:rPr>
              <a:t>.</a:t>
            </a:r>
            <a:br>
              <a:rPr lang="da-DK" sz="1600" dirty="0">
                <a:latin typeface="Quicksand" panose="020B0604020202020204"/>
                <a:ea typeface="Quicksand" panose="020B0604020202020204"/>
                <a:cs typeface="Quicksand" panose="020B0604020202020204"/>
                <a:sym typeface="Quicksand"/>
              </a:rPr>
            </a:br>
            <a:endParaRPr lang="da-DK" sz="1600" dirty="0">
              <a:latin typeface="Quicksand" panose="020B0604020202020204"/>
              <a:ea typeface="Quicksand" panose="020B0604020202020204"/>
              <a:cs typeface="Quicksand" panose="020B0604020202020204"/>
              <a:sym typeface="Quicksand"/>
            </a:endParaRPr>
          </a:p>
          <a:p>
            <a:r>
              <a:rPr lang="da-DK" sz="1600" dirty="0">
                <a:latin typeface="Quicksand" panose="020B0604020202020204"/>
                <a:ea typeface="Quicksand" panose="020B0604020202020204"/>
                <a:cs typeface="Quicksand" panose="020B0604020202020204"/>
                <a:sym typeface="Quicksand"/>
              </a:rPr>
              <a:t>Pædagogisk personales </a:t>
            </a:r>
            <a:r>
              <a:rPr lang="da-DK" sz="1600" b="1" dirty="0">
                <a:latin typeface="Quicksand" panose="020B0604020202020204"/>
                <a:ea typeface="Quicksand" panose="020B0604020202020204"/>
                <a:cs typeface="Quicksand" panose="020B0604020202020204"/>
                <a:sym typeface="Quicksand"/>
              </a:rPr>
              <a:t>prøvehandlinger ofte foregår i afgrænsede perioder </a:t>
            </a:r>
            <a:r>
              <a:rPr lang="da-DK" sz="1600" dirty="0">
                <a:latin typeface="Quicksand" panose="020B0604020202020204"/>
                <a:ea typeface="Quicksand" panose="020B0604020202020204"/>
                <a:cs typeface="Quicksand" panose="020B0604020202020204"/>
                <a:sym typeface="Quicksand"/>
              </a:rPr>
              <a:t>og generelt er forholdsvist små. </a:t>
            </a:r>
          </a:p>
          <a:p>
            <a:pPr marL="342900" indent="-342900">
              <a:buFont typeface="+mj-lt"/>
              <a:buAutoNum type="arabicPeriod"/>
            </a:pPr>
            <a:endParaRPr lang="da-DK" sz="1600" dirty="0">
              <a:latin typeface="Quicksand" panose="020B0604020202020204"/>
              <a:ea typeface="Quicksand" panose="020B0604020202020204"/>
              <a:cs typeface="Quicksand" panose="020B0604020202020204"/>
              <a:sym typeface="Quicksand"/>
            </a:endParaRPr>
          </a:p>
          <a:p>
            <a:r>
              <a:rPr lang="da-DK" sz="1600" dirty="0">
                <a:latin typeface="Quicksand" panose="020B0604020202020204"/>
                <a:ea typeface="Quicksand" panose="020B0604020202020204"/>
                <a:cs typeface="Quicksand" panose="020B0604020202020204"/>
                <a:sym typeface="Quicksand"/>
              </a:rPr>
              <a:t>Pædagogisk personale </a:t>
            </a:r>
            <a:r>
              <a:rPr lang="da-DK" sz="1600" b="1" dirty="0">
                <a:latin typeface="Quicksand" panose="020B0604020202020204"/>
                <a:ea typeface="Quicksand" panose="020B0604020202020204"/>
                <a:cs typeface="Quicksand" panose="020B0604020202020204"/>
                <a:sym typeface="Quicksand"/>
              </a:rPr>
              <a:t>sjældent</a:t>
            </a:r>
            <a:r>
              <a:rPr lang="da-DK" sz="1600" dirty="0">
                <a:latin typeface="Quicksand" panose="020B0604020202020204"/>
                <a:ea typeface="Quicksand" panose="020B0604020202020204"/>
                <a:cs typeface="Quicksand" panose="020B0604020202020204"/>
                <a:sym typeface="Quicksand"/>
              </a:rPr>
              <a:t> </a:t>
            </a:r>
            <a:r>
              <a:rPr lang="da-DK" sz="1600" b="1" dirty="0">
                <a:latin typeface="Quicksand" panose="020B0604020202020204"/>
                <a:ea typeface="Quicksand" panose="020B0604020202020204"/>
                <a:cs typeface="Quicksand" panose="020B0604020202020204"/>
                <a:sym typeface="Quicksand"/>
              </a:rPr>
              <a:t>har indblik i hinandens prøvehandlinger</a:t>
            </a:r>
            <a:r>
              <a:rPr lang="da-DK" sz="1600" dirty="0">
                <a:latin typeface="Quicksand" panose="020B0604020202020204"/>
                <a:ea typeface="Quicksand" panose="020B0604020202020204"/>
                <a:cs typeface="Quicksand" panose="020B0604020202020204"/>
                <a:sym typeface="Quicksand"/>
              </a:rPr>
              <a:t>. </a:t>
            </a:r>
            <a:br>
              <a:rPr lang="da-DK" sz="1600" dirty="0">
                <a:latin typeface="Quicksand" panose="020B0604020202020204"/>
                <a:ea typeface="Quicksand" panose="020B0604020202020204"/>
                <a:cs typeface="Quicksand" panose="020B0604020202020204"/>
                <a:sym typeface="Quicksand"/>
              </a:rPr>
            </a:br>
            <a:br>
              <a:rPr lang="da-DK" dirty="0">
                <a:latin typeface="Quicksand"/>
                <a:ea typeface="Quicksand"/>
                <a:cs typeface="Quicksand"/>
                <a:sym typeface="Quicksand"/>
              </a:rPr>
            </a:br>
            <a:endParaRPr lang="da-DK" dirty="0">
              <a:latin typeface="Quicksand"/>
              <a:ea typeface="Quicksand"/>
              <a:cs typeface="Quicksand"/>
              <a:sym typeface="Quicksand"/>
            </a:endParaRPr>
          </a:p>
          <a:p>
            <a:pPr lvl="0" algn="l">
              <a:spcBef>
                <a:spcPts val="0"/>
              </a:spcBef>
              <a:spcAft>
                <a:spcPts val="0"/>
              </a:spcAft>
            </a:pPr>
            <a:endParaRPr lang="da-DK" sz="1400" b="1" dirty="0">
              <a:latin typeface="Quicksand"/>
              <a:ea typeface="Quicksand"/>
              <a:cs typeface="Quicksand"/>
              <a:sym typeface="Quicksand"/>
            </a:endParaRPr>
          </a:p>
          <a:p>
            <a:pPr lvl="0" algn="l">
              <a:spcBef>
                <a:spcPts val="0"/>
              </a:spcBef>
              <a:spcAft>
                <a:spcPts val="0"/>
              </a:spcAft>
            </a:pPr>
            <a:endParaRPr lang="da-DK" sz="1400" dirty="0">
              <a:latin typeface="Quicksand"/>
              <a:ea typeface="Quicksand"/>
              <a:cs typeface="Quicksand"/>
              <a:sym typeface="Quicksand"/>
            </a:endParaRPr>
          </a:p>
          <a:p>
            <a:pPr lvl="0" algn="l">
              <a:spcBef>
                <a:spcPts val="0"/>
              </a:spcBef>
              <a:spcAft>
                <a:spcPts val="0"/>
              </a:spcAft>
            </a:pPr>
            <a:endParaRPr lang="da-DK" sz="1600" dirty="0">
              <a:latin typeface="Quicksand"/>
              <a:ea typeface="Quicksand"/>
              <a:cs typeface="Quicksand"/>
              <a:sym typeface="Quicksand"/>
            </a:endParaRPr>
          </a:p>
          <a:p>
            <a:pPr lvl="0" algn="l">
              <a:spcBef>
                <a:spcPts val="0"/>
              </a:spcBef>
              <a:spcAft>
                <a:spcPts val="0"/>
              </a:spcAft>
            </a:pPr>
            <a:endParaRPr lang="da-DK" sz="500" b="1" dirty="0">
              <a:latin typeface="Quicksand"/>
              <a:ea typeface="Quicksand"/>
              <a:cs typeface="Quicksand"/>
              <a:sym typeface="Quicksand"/>
            </a:endParaRPr>
          </a:p>
          <a:p>
            <a:pPr lvl="0" algn="l">
              <a:spcBef>
                <a:spcPts val="0"/>
              </a:spcBef>
              <a:spcAft>
                <a:spcPts val="0"/>
              </a:spcAft>
            </a:pPr>
            <a:endParaRPr lang="da-DK" sz="1600" b="1" dirty="0">
              <a:latin typeface="Quicksand"/>
              <a:ea typeface="Quicksand"/>
              <a:cs typeface="Quicksand"/>
              <a:sym typeface="Quicksand"/>
            </a:endParaRPr>
          </a:p>
        </p:txBody>
      </p:sp>
      <p:sp>
        <p:nvSpPr>
          <p:cNvPr id="10" name="Google Shape;846;p29">
            <a:extLst>
              <a:ext uri="{FF2B5EF4-FFF2-40B4-BE49-F238E27FC236}">
                <a16:creationId xmlns:a16="http://schemas.microsoft.com/office/drawing/2014/main" id="{50228FE9-2C29-4994-F9DB-F65B9358102D}"/>
              </a:ext>
            </a:extLst>
          </p:cNvPr>
          <p:cNvSpPr/>
          <p:nvPr/>
        </p:nvSpPr>
        <p:spPr>
          <a:xfrm>
            <a:off x="-1" y="347862"/>
            <a:ext cx="901244" cy="1019120"/>
          </a:xfrm>
          <a:prstGeom prst="homePlate">
            <a:avLst>
              <a:gd name="adj" fmla="val 50000"/>
            </a:avLst>
          </a:prstGeom>
          <a:solidFill>
            <a:schemeClr val="accent6"/>
          </a:solidFill>
          <a:ln>
            <a:noFill/>
          </a:ln>
        </p:spPr>
        <p:txBody>
          <a:bodyPr spcFirstLastPara="1" wrap="square" lIns="396000"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12" name="Google Shape;843;p29">
            <a:extLst>
              <a:ext uri="{FF2B5EF4-FFF2-40B4-BE49-F238E27FC236}">
                <a16:creationId xmlns:a16="http://schemas.microsoft.com/office/drawing/2014/main" id="{017D1C16-919E-15D6-36C3-28DA1B401F7F}"/>
              </a:ext>
            </a:extLst>
          </p:cNvPr>
          <p:cNvSpPr/>
          <p:nvPr/>
        </p:nvSpPr>
        <p:spPr>
          <a:xfrm>
            <a:off x="-1" y="347492"/>
            <a:ext cx="12192000" cy="1019120"/>
          </a:xfrm>
          <a:prstGeom prst="chevron">
            <a:avLst>
              <a:gd name="adj" fmla="val 50000"/>
            </a:avLst>
          </a:prstGeom>
          <a:solidFill>
            <a:schemeClr val="accent6"/>
          </a:solidFill>
          <a:ln>
            <a:noFill/>
          </a:ln>
        </p:spPr>
        <p:txBody>
          <a:bodyPr spcFirstLastPara="1" wrap="square" lIns="91425" tIns="91425" rIns="91425" bIns="91425" anchor="ctr" anchorCtr="0">
            <a:noAutofit/>
          </a:bodyPr>
          <a:lstStyle/>
          <a:p>
            <a:pPr marL="0" lvl="0" indent="0" algn="ctr">
              <a:spcBef>
                <a:spcPts val="0"/>
              </a:spcBef>
              <a:spcAft>
                <a:spcPts val="0"/>
              </a:spcAft>
              <a:buNone/>
            </a:pPr>
            <a:r>
              <a:rPr lang="da-DK" sz="3200" b="1" dirty="0">
                <a:solidFill>
                  <a:schemeClr val="bg1"/>
                </a:solidFill>
                <a:latin typeface="Amatic SC"/>
                <a:ea typeface="Amatic SC"/>
                <a:cs typeface="Amatic SC"/>
                <a:sym typeface="Amatic SC"/>
              </a:rPr>
              <a:t>Pædagogisk personale oplever, at aktionslæringsforløb fremmer indsigt i egen praksis </a:t>
            </a:r>
          </a:p>
          <a:p>
            <a:pPr marL="0" lvl="0" indent="0" algn="ctr">
              <a:spcBef>
                <a:spcPts val="0"/>
              </a:spcBef>
              <a:spcAft>
                <a:spcPts val="0"/>
              </a:spcAft>
              <a:buNone/>
            </a:pPr>
            <a:r>
              <a:rPr lang="da-DK" sz="3200" b="1" dirty="0">
                <a:solidFill>
                  <a:schemeClr val="bg1"/>
                </a:solidFill>
                <a:latin typeface="Amatic SC" panose="00000500000000000000" pitchFamily="2" charset="-79"/>
                <a:cs typeface="Amatic SC" panose="00000500000000000000" pitchFamily="2" charset="-79"/>
              </a:rPr>
              <a:t>– </a:t>
            </a:r>
            <a:r>
              <a:rPr lang="da-DK" sz="3200" b="1" dirty="0">
                <a:solidFill>
                  <a:schemeClr val="bg1"/>
                </a:solidFill>
                <a:latin typeface="Amatic SC"/>
                <a:ea typeface="Amatic SC"/>
                <a:cs typeface="Amatic SC"/>
                <a:sym typeface="Amatic SC"/>
              </a:rPr>
              <a:t>men prøvehandlinger er fortsat små og foregår i afgrænsede perioder </a:t>
            </a:r>
          </a:p>
        </p:txBody>
      </p:sp>
      <p:sp>
        <p:nvSpPr>
          <p:cNvPr id="15" name="Google Shape;843;p29">
            <a:extLst>
              <a:ext uri="{FF2B5EF4-FFF2-40B4-BE49-F238E27FC236}">
                <a16:creationId xmlns:a16="http://schemas.microsoft.com/office/drawing/2014/main" id="{485B8004-BD36-C2C3-1A99-7BEBEEF0A6E2}"/>
              </a:ext>
            </a:extLst>
          </p:cNvPr>
          <p:cNvSpPr/>
          <p:nvPr/>
        </p:nvSpPr>
        <p:spPr>
          <a:xfrm>
            <a:off x="11591636" y="347492"/>
            <a:ext cx="600363" cy="1019120"/>
          </a:xfrm>
          <a:prstGeom prst="rect">
            <a:avLst/>
          </a:prstGeom>
          <a:solidFill>
            <a:schemeClr val="accent6"/>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13" name="Google Shape;1217;p48">
            <a:extLst>
              <a:ext uri="{FF2B5EF4-FFF2-40B4-BE49-F238E27FC236}">
                <a16:creationId xmlns:a16="http://schemas.microsoft.com/office/drawing/2014/main" id="{31C4DCAB-FE21-D9F3-3B3F-DC4762213075}"/>
              </a:ext>
            </a:extLst>
          </p:cNvPr>
          <p:cNvSpPr/>
          <p:nvPr/>
        </p:nvSpPr>
        <p:spPr>
          <a:xfrm>
            <a:off x="7040617" y="1807031"/>
            <a:ext cx="321251" cy="269060"/>
          </a:xfrm>
          <a:custGeom>
            <a:avLst/>
            <a:gdLst/>
            <a:ahLst/>
            <a:cxnLst/>
            <a:rect l="l" t="t" r="r" b="b"/>
            <a:pathLst>
              <a:path w="18981" h="16766" extrusionOk="0">
                <a:moveTo>
                  <a:pt x="5451" y="5475"/>
                </a:moveTo>
                <a:lnTo>
                  <a:pt x="5257" y="5548"/>
                </a:lnTo>
                <a:lnTo>
                  <a:pt x="5159" y="5597"/>
                </a:lnTo>
                <a:lnTo>
                  <a:pt x="5062" y="5670"/>
                </a:lnTo>
                <a:lnTo>
                  <a:pt x="5013" y="5743"/>
                </a:lnTo>
                <a:lnTo>
                  <a:pt x="4965" y="5816"/>
                </a:lnTo>
                <a:lnTo>
                  <a:pt x="4940" y="5889"/>
                </a:lnTo>
                <a:lnTo>
                  <a:pt x="4965" y="5962"/>
                </a:lnTo>
                <a:lnTo>
                  <a:pt x="5013" y="6011"/>
                </a:lnTo>
                <a:lnTo>
                  <a:pt x="5086" y="6059"/>
                </a:lnTo>
                <a:lnTo>
                  <a:pt x="5208" y="6059"/>
                </a:lnTo>
                <a:lnTo>
                  <a:pt x="5354" y="6035"/>
                </a:lnTo>
                <a:lnTo>
                  <a:pt x="5476" y="6011"/>
                </a:lnTo>
                <a:lnTo>
                  <a:pt x="5695" y="6011"/>
                </a:lnTo>
                <a:lnTo>
                  <a:pt x="5792" y="5986"/>
                </a:lnTo>
                <a:lnTo>
                  <a:pt x="5865" y="5913"/>
                </a:lnTo>
                <a:lnTo>
                  <a:pt x="5914" y="5816"/>
                </a:lnTo>
                <a:lnTo>
                  <a:pt x="5938" y="5743"/>
                </a:lnTo>
                <a:lnTo>
                  <a:pt x="5938" y="5694"/>
                </a:lnTo>
                <a:lnTo>
                  <a:pt x="5889" y="5573"/>
                </a:lnTo>
                <a:lnTo>
                  <a:pt x="5792" y="5500"/>
                </a:lnTo>
                <a:lnTo>
                  <a:pt x="5670" y="5475"/>
                </a:lnTo>
                <a:close/>
                <a:moveTo>
                  <a:pt x="4575" y="5986"/>
                </a:moveTo>
                <a:lnTo>
                  <a:pt x="4454" y="6011"/>
                </a:lnTo>
                <a:lnTo>
                  <a:pt x="4356" y="6035"/>
                </a:lnTo>
                <a:lnTo>
                  <a:pt x="4259" y="6084"/>
                </a:lnTo>
                <a:lnTo>
                  <a:pt x="4113" y="6205"/>
                </a:lnTo>
                <a:lnTo>
                  <a:pt x="4040" y="6254"/>
                </a:lnTo>
                <a:lnTo>
                  <a:pt x="3991" y="6351"/>
                </a:lnTo>
                <a:lnTo>
                  <a:pt x="3967" y="6424"/>
                </a:lnTo>
                <a:lnTo>
                  <a:pt x="3991" y="6522"/>
                </a:lnTo>
                <a:lnTo>
                  <a:pt x="4064" y="6570"/>
                </a:lnTo>
                <a:lnTo>
                  <a:pt x="4162" y="6619"/>
                </a:lnTo>
                <a:lnTo>
                  <a:pt x="4283" y="6595"/>
                </a:lnTo>
                <a:lnTo>
                  <a:pt x="4429" y="6546"/>
                </a:lnTo>
                <a:lnTo>
                  <a:pt x="4527" y="6522"/>
                </a:lnTo>
                <a:lnTo>
                  <a:pt x="4551" y="6497"/>
                </a:lnTo>
                <a:lnTo>
                  <a:pt x="4648" y="6473"/>
                </a:lnTo>
                <a:lnTo>
                  <a:pt x="4721" y="6424"/>
                </a:lnTo>
                <a:lnTo>
                  <a:pt x="4794" y="6327"/>
                </a:lnTo>
                <a:lnTo>
                  <a:pt x="4794" y="6205"/>
                </a:lnTo>
                <a:lnTo>
                  <a:pt x="4770" y="6108"/>
                </a:lnTo>
                <a:lnTo>
                  <a:pt x="4673" y="6035"/>
                </a:lnTo>
                <a:lnTo>
                  <a:pt x="4575" y="5986"/>
                </a:lnTo>
                <a:close/>
                <a:moveTo>
                  <a:pt x="7593" y="5962"/>
                </a:moveTo>
                <a:lnTo>
                  <a:pt x="7495" y="6011"/>
                </a:lnTo>
                <a:lnTo>
                  <a:pt x="7447" y="6059"/>
                </a:lnTo>
                <a:lnTo>
                  <a:pt x="7398" y="6132"/>
                </a:lnTo>
                <a:lnTo>
                  <a:pt x="7398" y="6181"/>
                </a:lnTo>
                <a:lnTo>
                  <a:pt x="7422" y="6254"/>
                </a:lnTo>
                <a:lnTo>
                  <a:pt x="7520" y="6351"/>
                </a:lnTo>
                <a:lnTo>
                  <a:pt x="7593" y="6424"/>
                </a:lnTo>
                <a:lnTo>
                  <a:pt x="7641" y="6449"/>
                </a:lnTo>
                <a:lnTo>
                  <a:pt x="7666" y="6473"/>
                </a:lnTo>
                <a:lnTo>
                  <a:pt x="7690" y="6497"/>
                </a:lnTo>
                <a:lnTo>
                  <a:pt x="7714" y="6546"/>
                </a:lnTo>
                <a:lnTo>
                  <a:pt x="7763" y="6619"/>
                </a:lnTo>
                <a:lnTo>
                  <a:pt x="7787" y="6668"/>
                </a:lnTo>
                <a:lnTo>
                  <a:pt x="7812" y="6692"/>
                </a:lnTo>
                <a:lnTo>
                  <a:pt x="7909" y="6741"/>
                </a:lnTo>
                <a:lnTo>
                  <a:pt x="8031" y="6741"/>
                </a:lnTo>
                <a:lnTo>
                  <a:pt x="8128" y="6716"/>
                </a:lnTo>
                <a:lnTo>
                  <a:pt x="8201" y="6643"/>
                </a:lnTo>
                <a:lnTo>
                  <a:pt x="8250" y="6546"/>
                </a:lnTo>
                <a:lnTo>
                  <a:pt x="8250" y="6449"/>
                </a:lnTo>
                <a:lnTo>
                  <a:pt x="8225" y="6351"/>
                </a:lnTo>
                <a:lnTo>
                  <a:pt x="8177" y="6254"/>
                </a:lnTo>
                <a:lnTo>
                  <a:pt x="8104" y="6181"/>
                </a:lnTo>
                <a:lnTo>
                  <a:pt x="8006" y="6108"/>
                </a:lnTo>
                <a:lnTo>
                  <a:pt x="7909" y="6035"/>
                </a:lnTo>
                <a:lnTo>
                  <a:pt x="7812" y="5986"/>
                </a:lnTo>
                <a:lnTo>
                  <a:pt x="7690" y="5962"/>
                </a:lnTo>
                <a:close/>
                <a:moveTo>
                  <a:pt x="3578" y="6741"/>
                </a:moveTo>
                <a:lnTo>
                  <a:pt x="3456" y="6765"/>
                </a:lnTo>
                <a:lnTo>
                  <a:pt x="3359" y="6814"/>
                </a:lnTo>
                <a:lnTo>
                  <a:pt x="3286" y="6887"/>
                </a:lnTo>
                <a:lnTo>
                  <a:pt x="3189" y="6960"/>
                </a:lnTo>
                <a:lnTo>
                  <a:pt x="3140" y="7081"/>
                </a:lnTo>
                <a:lnTo>
                  <a:pt x="3091" y="7179"/>
                </a:lnTo>
                <a:lnTo>
                  <a:pt x="3067" y="7300"/>
                </a:lnTo>
                <a:lnTo>
                  <a:pt x="3067" y="7398"/>
                </a:lnTo>
                <a:lnTo>
                  <a:pt x="3091" y="7446"/>
                </a:lnTo>
                <a:lnTo>
                  <a:pt x="3116" y="7471"/>
                </a:lnTo>
                <a:lnTo>
                  <a:pt x="3189" y="7519"/>
                </a:lnTo>
                <a:lnTo>
                  <a:pt x="3286" y="7544"/>
                </a:lnTo>
                <a:lnTo>
                  <a:pt x="3359" y="7519"/>
                </a:lnTo>
                <a:lnTo>
                  <a:pt x="3481" y="7446"/>
                </a:lnTo>
                <a:lnTo>
                  <a:pt x="3554" y="7325"/>
                </a:lnTo>
                <a:lnTo>
                  <a:pt x="3627" y="7276"/>
                </a:lnTo>
                <a:lnTo>
                  <a:pt x="3651" y="7252"/>
                </a:lnTo>
                <a:lnTo>
                  <a:pt x="3700" y="7227"/>
                </a:lnTo>
                <a:lnTo>
                  <a:pt x="3773" y="7179"/>
                </a:lnTo>
                <a:lnTo>
                  <a:pt x="3821" y="7106"/>
                </a:lnTo>
                <a:lnTo>
                  <a:pt x="3821" y="7033"/>
                </a:lnTo>
                <a:lnTo>
                  <a:pt x="3821" y="6935"/>
                </a:lnTo>
                <a:lnTo>
                  <a:pt x="3797" y="6862"/>
                </a:lnTo>
                <a:lnTo>
                  <a:pt x="3724" y="6789"/>
                </a:lnTo>
                <a:lnTo>
                  <a:pt x="3651" y="6765"/>
                </a:lnTo>
                <a:lnTo>
                  <a:pt x="3578" y="6741"/>
                </a:lnTo>
                <a:close/>
                <a:moveTo>
                  <a:pt x="16863" y="4526"/>
                </a:moveTo>
                <a:lnTo>
                  <a:pt x="16766" y="4575"/>
                </a:lnTo>
                <a:lnTo>
                  <a:pt x="16693" y="4624"/>
                </a:lnTo>
                <a:lnTo>
                  <a:pt x="16620" y="4697"/>
                </a:lnTo>
                <a:lnTo>
                  <a:pt x="16498" y="4843"/>
                </a:lnTo>
                <a:lnTo>
                  <a:pt x="16401" y="5037"/>
                </a:lnTo>
                <a:lnTo>
                  <a:pt x="16158" y="5500"/>
                </a:lnTo>
                <a:lnTo>
                  <a:pt x="15914" y="5962"/>
                </a:lnTo>
                <a:lnTo>
                  <a:pt x="15647" y="5816"/>
                </a:lnTo>
                <a:lnTo>
                  <a:pt x="15501" y="5719"/>
                </a:lnTo>
                <a:lnTo>
                  <a:pt x="15355" y="5670"/>
                </a:lnTo>
                <a:lnTo>
                  <a:pt x="15233" y="5646"/>
                </a:lnTo>
                <a:lnTo>
                  <a:pt x="15087" y="5597"/>
                </a:lnTo>
                <a:lnTo>
                  <a:pt x="15038" y="5573"/>
                </a:lnTo>
                <a:lnTo>
                  <a:pt x="15014" y="5573"/>
                </a:lnTo>
                <a:lnTo>
                  <a:pt x="14917" y="5621"/>
                </a:lnTo>
                <a:lnTo>
                  <a:pt x="14892" y="5646"/>
                </a:lnTo>
                <a:lnTo>
                  <a:pt x="14844" y="5694"/>
                </a:lnTo>
                <a:lnTo>
                  <a:pt x="14844" y="5767"/>
                </a:lnTo>
                <a:lnTo>
                  <a:pt x="14868" y="5840"/>
                </a:lnTo>
                <a:lnTo>
                  <a:pt x="14892" y="5913"/>
                </a:lnTo>
                <a:lnTo>
                  <a:pt x="15087" y="6059"/>
                </a:lnTo>
                <a:lnTo>
                  <a:pt x="15282" y="6181"/>
                </a:lnTo>
                <a:lnTo>
                  <a:pt x="15671" y="6424"/>
                </a:lnTo>
                <a:lnTo>
                  <a:pt x="15355" y="6984"/>
                </a:lnTo>
                <a:lnTo>
                  <a:pt x="15160" y="7252"/>
                </a:lnTo>
                <a:lnTo>
                  <a:pt x="14965" y="7519"/>
                </a:lnTo>
                <a:lnTo>
                  <a:pt x="14941" y="7592"/>
                </a:lnTo>
                <a:lnTo>
                  <a:pt x="14941" y="7641"/>
                </a:lnTo>
                <a:lnTo>
                  <a:pt x="14941" y="7714"/>
                </a:lnTo>
                <a:lnTo>
                  <a:pt x="14965" y="7763"/>
                </a:lnTo>
                <a:lnTo>
                  <a:pt x="15014" y="7836"/>
                </a:lnTo>
                <a:lnTo>
                  <a:pt x="15063" y="7860"/>
                </a:lnTo>
                <a:lnTo>
                  <a:pt x="15111" y="7884"/>
                </a:lnTo>
                <a:lnTo>
                  <a:pt x="15184" y="7909"/>
                </a:lnTo>
                <a:lnTo>
                  <a:pt x="15257" y="7884"/>
                </a:lnTo>
                <a:lnTo>
                  <a:pt x="15355" y="7860"/>
                </a:lnTo>
                <a:lnTo>
                  <a:pt x="15501" y="7763"/>
                </a:lnTo>
                <a:lnTo>
                  <a:pt x="15622" y="7641"/>
                </a:lnTo>
                <a:lnTo>
                  <a:pt x="15744" y="7471"/>
                </a:lnTo>
                <a:lnTo>
                  <a:pt x="15866" y="7276"/>
                </a:lnTo>
                <a:lnTo>
                  <a:pt x="15963" y="7081"/>
                </a:lnTo>
                <a:lnTo>
                  <a:pt x="16133" y="6716"/>
                </a:lnTo>
                <a:lnTo>
                  <a:pt x="16328" y="6862"/>
                </a:lnTo>
                <a:lnTo>
                  <a:pt x="16523" y="7008"/>
                </a:lnTo>
                <a:lnTo>
                  <a:pt x="16742" y="7106"/>
                </a:lnTo>
                <a:lnTo>
                  <a:pt x="16839" y="7130"/>
                </a:lnTo>
                <a:lnTo>
                  <a:pt x="16961" y="7154"/>
                </a:lnTo>
                <a:lnTo>
                  <a:pt x="17034" y="7130"/>
                </a:lnTo>
                <a:lnTo>
                  <a:pt x="17082" y="7106"/>
                </a:lnTo>
                <a:lnTo>
                  <a:pt x="17131" y="7057"/>
                </a:lnTo>
                <a:lnTo>
                  <a:pt x="17155" y="7008"/>
                </a:lnTo>
                <a:lnTo>
                  <a:pt x="17180" y="6960"/>
                </a:lnTo>
                <a:lnTo>
                  <a:pt x="17180" y="6887"/>
                </a:lnTo>
                <a:lnTo>
                  <a:pt x="17155" y="6814"/>
                </a:lnTo>
                <a:lnTo>
                  <a:pt x="17131" y="6765"/>
                </a:lnTo>
                <a:lnTo>
                  <a:pt x="16961" y="6619"/>
                </a:lnTo>
                <a:lnTo>
                  <a:pt x="16766" y="6497"/>
                </a:lnTo>
                <a:lnTo>
                  <a:pt x="16377" y="6254"/>
                </a:lnTo>
                <a:lnTo>
                  <a:pt x="16644" y="5670"/>
                </a:lnTo>
                <a:lnTo>
                  <a:pt x="16766" y="5427"/>
                </a:lnTo>
                <a:lnTo>
                  <a:pt x="16912" y="5183"/>
                </a:lnTo>
                <a:lnTo>
                  <a:pt x="17034" y="4916"/>
                </a:lnTo>
                <a:lnTo>
                  <a:pt x="17082" y="4770"/>
                </a:lnTo>
                <a:lnTo>
                  <a:pt x="17082" y="4648"/>
                </a:lnTo>
                <a:lnTo>
                  <a:pt x="17082" y="4599"/>
                </a:lnTo>
                <a:lnTo>
                  <a:pt x="17058" y="4551"/>
                </a:lnTo>
                <a:lnTo>
                  <a:pt x="17009" y="4526"/>
                </a:lnTo>
                <a:close/>
                <a:moveTo>
                  <a:pt x="8420" y="6838"/>
                </a:moveTo>
                <a:lnTo>
                  <a:pt x="8371" y="6862"/>
                </a:lnTo>
                <a:lnTo>
                  <a:pt x="8298" y="6911"/>
                </a:lnTo>
                <a:lnTo>
                  <a:pt x="8274" y="6984"/>
                </a:lnTo>
                <a:lnTo>
                  <a:pt x="8250" y="7081"/>
                </a:lnTo>
                <a:lnTo>
                  <a:pt x="8274" y="7179"/>
                </a:lnTo>
                <a:lnTo>
                  <a:pt x="8298" y="7276"/>
                </a:lnTo>
                <a:lnTo>
                  <a:pt x="8347" y="7373"/>
                </a:lnTo>
                <a:lnTo>
                  <a:pt x="8420" y="7519"/>
                </a:lnTo>
                <a:lnTo>
                  <a:pt x="8444" y="7665"/>
                </a:lnTo>
                <a:lnTo>
                  <a:pt x="8444" y="7763"/>
                </a:lnTo>
                <a:lnTo>
                  <a:pt x="8493" y="7836"/>
                </a:lnTo>
                <a:lnTo>
                  <a:pt x="8566" y="7909"/>
                </a:lnTo>
                <a:lnTo>
                  <a:pt x="8663" y="7933"/>
                </a:lnTo>
                <a:lnTo>
                  <a:pt x="8761" y="7957"/>
                </a:lnTo>
                <a:lnTo>
                  <a:pt x="8882" y="7909"/>
                </a:lnTo>
                <a:lnTo>
                  <a:pt x="8980" y="7836"/>
                </a:lnTo>
                <a:lnTo>
                  <a:pt x="9004" y="7787"/>
                </a:lnTo>
                <a:lnTo>
                  <a:pt x="9028" y="7738"/>
                </a:lnTo>
                <a:lnTo>
                  <a:pt x="9028" y="7592"/>
                </a:lnTo>
                <a:lnTo>
                  <a:pt x="9004" y="7446"/>
                </a:lnTo>
                <a:lnTo>
                  <a:pt x="8955" y="7325"/>
                </a:lnTo>
                <a:lnTo>
                  <a:pt x="8882" y="7179"/>
                </a:lnTo>
                <a:lnTo>
                  <a:pt x="8809" y="7057"/>
                </a:lnTo>
                <a:lnTo>
                  <a:pt x="8712" y="6960"/>
                </a:lnTo>
                <a:lnTo>
                  <a:pt x="8663" y="6911"/>
                </a:lnTo>
                <a:lnTo>
                  <a:pt x="8615" y="6862"/>
                </a:lnTo>
                <a:lnTo>
                  <a:pt x="8542" y="6838"/>
                </a:lnTo>
                <a:close/>
                <a:moveTo>
                  <a:pt x="16255" y="7495"/>
                </a:moveTo>
                <a:lnTo>
                  <a:pt x="16206" y="7544"/>
                </a:lnTo>
                <a:lnTo>
                  <a:pt x="16158" y="7592"/>
                </a:lnTo>
                <a:lnTo>
                  <a:pt x="16158" y="7714"/>
                </a:lnTo>
                <a:lnTo>
                  <a:pt x="16158" y="7836"/>
                </a:lnTo>
                <a:lnTo>
                  <a:pt x="16206" y="7982"/>
                </a:lnTo>
                <a:lnTo>
                  <a:pt x="16231" y="8030"/>
                </a:lnTo>
                <a:lnTo>
                  <a:pt x="16279" y="8079"/>
                </a:lnTo>
                <a:lnTo>
                  <a:pt x="16304" y="8103"/>
                </a:lnTo>
                <a:lnTo>
                  <a:pt x="16377" y="8128"/>
                </a:lnTo>
                <a:lnTo>
                  <a:pt x="16474" y="8128"/>
                </a:lnTo>
                <a:lnTo>
                  <a:pt x="16523" y="8103"/>
                </a:lnTo>
                <a:lnTo>
                  <a:pt x="16547" y="8055"/>
                </a:lnTo>
                <a:lnTo>
                  <a:pt x="16571" y="8006"/>
                </a:lnTo>
                <a:lnTo>
                  <a:pt x="16571" y="7957"/>
                </a:lnTo>
                <a:lnTo>
                  <a:pt x="16547" y="7836"/>
                </a:lnTo>
                <a:lnTo>
                  <a:pt x="16523" y="7738"/>
                </a:lnTo>
                <a:lnTo>
                  <a:pt x="16474" y="7641"/>
                </a:lnTo>
                <a:lnTo>
                  <a:pt x="16401" y="7544"/>
                </a:lnTo>
                <a:lnTo>
                  <a:pt x="16328" y="7495"/>
                </a:lnTo>
                <a:close/>
                <a:moveTo>
                  <a:pt x="2897" y="7836"/>
                </a:moveTo>
                <a:lnTo>
                  <a:pt x="2799" y="7860"/>
                </a:lnTo>
                <a:lnTo>
                  <a:pt x="2702" y="7909"/>
                </a:lnTo>
                <a:lnTo>
                  <a:pt x="2629" y="7982"/>
                </a:lnTo>
                <a:lnTo>
                  <a:pt x="2556" y="8079"/>
                </a:lnTo>
                <a:lnTo>
                  <a:pt x="2507" y="8201"/>
                </a:lnTo>
                <a:lnTo>
                  <a:pt x="2507" y="8347"/>
                </a:lnTo>
                <a:lnTo>
                  <a:pt x="2507" y="8468"/>
                </a:lnTo>
                <a:lnTo>
                  <a:pt x="2556" y="8517"/>
                </a:lnTo>
                <a:lnTo>
                  <a:pt x="2580" y="8566"/>
                </a:lnTo>
                <a:lnTo>
                  <a:pt x="2678" y="8614"/>
                </a:lnTo>
                <a:lnTo>
                  <a:pt x="2799" y="8614"/>
                </a:lnTo>
                <a:lnTo>
                  <a:pt x="2848" y="8590"/>
                </a:lnTo>
                <a:lnTo>
                  <a:pt x="2897" y="8566"/>
                </a:lnTo>
                <a:lnTo>
                  <a:pt x="2970" y="8493"/>
                </a:lnTo>
                <a:lnTo>
                  <a:pt x="3018" y="8420"/>
                </a:lnTo>
                <a:lnTo>
                  <a:pt x="3116" y="8274"/>
                </a:lnTo>
                <a:lnTo>
                  <a:pt x="3140" y="8152"/>
                </a:lnTo>
                <a:lnTo>
                  <a:pt x="3140" y="8055"/>
                </a:lnTo>
                <a:lnTo>
                  <a:pt x="3091" y="7957"/>
                </a:lnTo>
                <a:lnTo>
                  <a:pt x="3018" y="7884"/>
                </a:lnTo>
                <a:lnTo>
                  <a:pt x="2897" y="7836"/>
                </a:lnTo>
                <a:close/>
                <a:moveTo>
                  <a:pt x="8955" y="8152"/>
                </a:moveTo>
                <a:lnTo>
                  <a:pt x="8882" y="8201"/>
                </a:lnTo>
                <a:lnTo>
                  <a:pt x="8858" y="8274"/>
                </a:lnTo>
                <a:lnTo>
                  <a:pt x="8858" y="8371"/>
                </a:lnTo>
                <a:lnTo>
                  <a:pt x="8858" y="8468"/>
                </a:lnTo>
                <a:lnTo>
                  <a:pt x="8907" y="8639"/>
                </a:lnTo>
                <a:lnTo>
                  <a:pt x="8955" y="8760"/>
                </a:lnTo>
                <a:lnTo>
                  <a:pt x="8980" y="8858"/>
                </a:lnTo>
                <a:lnTo>
                  <a:pt x="9053" y="8955"/>
                </a:lnTo>
                <a:lnTo>
                  <a:pt x="9101" y="9004"/>
                </a:lnTo>
                <a:lnTo>
                  <a:pt x="9150" y="9028"/>
                </a:lnTo>
                <a:lnTo>
                  <a:pt x="9296" y="9028"/>
                </a:lnTo>
                <a:lnTo>
                  <a:pt x="9369" y="8979"/>
                </a:lnTo>
                <a:lnTo>
                  <a:pt x="9393" y="8931"/>
                </a:lnTo>
                <a:lnTo>
                  <a:pt x="9418" y="8858"/>
                </a:lnTo>
                <a:lnTo>
                  <a:pt x="9418" y="8785"/>
                </a:lnTo>
                <a:lnTo>
                  <a:pt x="9393" y="8639"/>
                </a:lnTo>
                <a:lnTo>
                  <a:pt x="9369" y="8614"/>
                </a:lnTo>
                <a:lnTo>
                  <a:pt x="9345" y="8517"/>
                </a:lnTo>
                <a:lnTo>
                  <a:pt x="9247" y="8322"/>
                </a:lnTo>
                <a:lnTo>
                  <a:pt x="9199" y="8225"/>
                </a:lnTo>
                <a:lnTo>
                  <a:pt x="9101" y="8176"/>
                </a:lnTo>
                <a:lnTo>
                  <a:pt x="9028" y="8152"/>
                </a:lnTo>
                <a:close/>
                <a:moveTo>
                  <a:pt x="16352" y="8541"/>
                </a:moveTo>
                <a:lnTo>
                  <a:pt x="16279" y="8566"/>
                </a:lnTo>
                <a:lnTo>
                  <a:pt x="16231" y="8614"/>
                </a:lnTo>
                <a:lnTo>
                  <a:pt x="16206" y="8663"/>
                </a:lnTo>
                <a:lnTo>
                  <a:pt x="16182" y="8736"/>
                </a:lnTo>
                <a:lnTo>
                  <a:pt x="16182" y="8858"/>
                </a:lnTo>
                <a:lnTo>
                  <a:pt x="16206" y="8979"/>
                </a:lnTo>
                <a:lnTo>
                  <a:pt x="16231" y="9174"/>
                </a:lnTo>
                <a:lnTo>
                  <a:pt x="16255" y="9296"/>
                </a:lnTo>
                <a:lnTo>
                  <a:pt x="16304" y="9369"/>
                </a:lnTo>
                <a:lnTo>
                  <a:pt x="16401" y="9417"/>
                </a:lnTo>
                <a:lnTo>
                  <a:pt x="16498" y="9417"/>
                </a:lnTo>
                <a:lnTo>
                  <a:pt x="16596" y="9393"/>
                </a:lnTo>
                <a:lnTo>
                  <a:pt x="16669" y="9320"/>
                </a:lnTo>
                <a:lnTo>
                  <a:pt x="16693" y="9223"/>
                </a:lnTo>
                <a:lnTo>
                  <a:pt x="16693" y="9101"/>
                </a:lnTo>
                <a:lnTo>
                  <a:pt x="16644" y="8882"/>
                </a:lnTo>
                <a:lnTo>
                  <a:pt x="16596" y="8760"/>
                </a:lnTo>
                <a:lnTo>
                  <a:pt x="16547" y="8639"/>
                </a:lnTo>
                <a:lnTo>
                  <a:pt x="16523" y="8590"/>
                </a:lnTo>
                <a:lnTo>
                  <a:pt x="16474" y="8541"/>
                </a:lnTo>
                <a:close/>
                <a:moveTo>
                  <a:pt x="2434" y="9077"/>
                </a:moveTo>
                <a:lnTo>
                  <a:pt x="2337" y="9101"/>
                </a:lnTo>
                <a:lnTo>
                  <a:pt x="2264" y="9125"/>
                </a:lnTo>
                <a:lnTo>
                  <a:pt x="2191" y="9198"/>
                </a:lnTo>
                <a:lnTo>
                  <a:pt x="2142" y="9271"/>
                </a:lnTo>
                <a:lnTo>
                  <a:pt x="2118" y="9369"/>
                </a:lnTo>
                <a:lnTo>
                  <a:pt x="2094" y="9515"/>
                </a:lnTo>
                <a:lnTo>
                  <a:pt x="2094" y="9612"/>
                </a:lnTo>
                <a:lnTo>
                  <a:pt x="2094" y="9685"/>
                </a:lnTo>
                <a:lnTo>
                  <a:pt x="2118" y="9782"/>
                </a:lnTo>
                <a:lnTo>
                  <a:pt x="2191" y="9831"/>
                </a:lnTo>
                <a:lnTo>
                  <a:pt x="2240" y="9879"/>
                </a:lnTo>
                <a:lnTo>
                  <a:pt x="2337" y="9904"/>
                </a:lnTo>
                <a:lnTo>
                  <a:pt x="2410" y="9879"/>
                </a:lnTo>
                <a:lnTo>
                  <a:pt x="2483" y="9831"/>
                </a:lnTo>
                <a:lnTo>
                  <a:pt x="2556" y="9733"/>
                </a:lnTo>
                <a:lnTo>
                  <a:pt x="2580" y="9612"/>
                </a:lnTo>
                <a:lnTo>
                  <a:pt x="2653" y="9417"/>
                </a:lnTo>
                <a:lnTo>
                  <a:pt x="2653" y="9320"/>
                </a:lnTo>
                <a:lnTo>
                  <a:pt x="2653" y="9247"/>
                </a:lnTo>
                <a:lnTo>
                  <a:pt x="2605" y="9174"/>
                </a:lnTo>
                <a:lnTo>
                  <a:pt x="2532" y="9125"/>
                </a:lnTo>
                <a:lnTo>
                  <a:pt x="2434" y="9077"/>
                </a:lnTo>
                <a:close/>
                <a:moveTo>
                  <a:pt x="9272" y="9296"/>
                </a:moveTo>
                <a:lnTo>
                  <a:pt x="9199" y="9344"/>
                </a:lnTo>
                <a:lnTo>
                  <a:pt x="9101" y="9417"/>
                </a:lnTo>
                <a:lnTo>
                  <a:pt x="9077" y="9539"/>
                </a:lnTo>
                <a:lnTo>
                  <a:pt x="9053" y="9661"/>
                </a:lnTo>
                <a:lnTo>
                  <a:pt x="9077" y="9782"/>
                </a:lnTo>
                <a:lnTo>
                  <a:pt x="9126" y="9904"/>
                </a:lnTo>
                <a:lnTo>
                  <a:pt x="9174" y="10001"/>
                </a:lnTo>
                <a:lnTo>
                  <a:pt x="9247" y="10123"/>
                </a:lnTo>
                <a:lnTo>
                  <a:pt x="9320" y="10196"/>
                </a:lnTo>
                <a:lnTo>
                  <a:pt x="9393" y="10220"/>
                </a:lnTo>
                <a:lnTo>
                  <a:pt x="9442" y="10220"/>
                </a:lnTo>
                <a:lnTo>
                  <a:pt x="9564" y="10196"/>
                </a:lnTo>
                <a:lnTo>
                  <a:pt x="9612" y="10147"/>
                </a:lnTo>
                <a:lnTo>
                  <a:pt x="9661" y="10123"/>
                </a:lnTo>
                <a:lnTo>
                  <a:pt x="9685" y="10050"/>
                </a:lnTo>
                <a:lnTo>
                  <a:pt x="9685" y="10001"/>
                </a:lnTo>
                <a:lnTo>
                  <a:pt x="9685" y="9904"/>
                </a:lnTo>
                <a:lnTo>
                  <a:pt x="9637" y="9806"/>
                </a:lnTo>
                <a:lnTo>
                  <a:pt x="9539" y="9636"/>
                </a:lnTo>
                <a:lnTo>
                  <a:pt x="9515" y="9515"/>
                </a:lnTo>
                <a:lnTo>
                  <a:pt x="9442" y="9393"/>
                </a:lnTo>
                <a:lnTo>
                  <a:pt x="9393" y="9344"/>
                </a:lnTo>
                <a:lnTo>
                  <a:pt x="9345" y="9320"/>
                </a:lnTo>
                <a:lnTo>
                  <a:pt x="9272" y="9296"/>
                </a:lnTo>
                <a:close/>
                <a:moveTo>
                  <a:pt x="16231" y="9855"/>
                </a:moveTo>
                <a:lnTo>
                  <a:pt x="16231" y="9879"/>
                </a:lnTo>
                <a:lnTo>
                  <a:pt x="16182" y="9904"/>
                </a:lnTo>
                <a:lnTo>
                  <a:pt x="16133" y="9952"/>
                </a:lnTo>
                <a:lnTo>
                  <a:pt x="16060" y="10098"/>
                </a:lnTo>
                <a:lnTo>
                  <a:pt x="16012" y="10293"/>
                </a:lnTo>
                <a:lnTo>
                  <a:pt x="16012" y="10390"/>
                </a:lnTo>
                <a:lnTo>
                  <a:pt x="16012" y="10463"/>
                </a:lnTo>
                <a:lnTo>
                  <a:pt x="16085" y="10561"/>
                </a:lnTo>
                <a:lnTo>
                  <a:pt x="16182" y="10634"/>
                </a:lnTo>
                <a:lnTo>
                  <a:pt x="16304" y="10634"/>
                </a:lnTo>
                <a:lnTo>
                  <a:pt x="16352" y="10609"/>
                </a:lnTo>
                <a:lnTo>
                  <a:pt x="16401" y="10561"/>
                </a:lnTo>
                <a:lnTo>
                  <a:pt x="16450" y="10488"/>
                </a:lnTo>
                <a:lnTo>
                  <a:pt x="16474" y="10415"/>
                </a:lnTo>
                <a:lnTo>
                  <a:pt x="16498" y="10244"/>
                </a:lnTo>
                <a:lnTo>
                  <a:pt x="16498" y="10147"/>
                </a:lnTo>
                <a:lnTo>
                  <a:pt x="16498" y="10050"/>
                </a:lnTo>
                <a:lnTo>
                  <a:pt x="16474" y="9952"/>
                </a:lnTo>
                <a:lnTo>
                  <a:pt x="16425" y="9879"/>
                </a:lnTo>
                <a:lnTo>
                  <a:pt x="16328" y="9855"/>
                </a:lnTo>
                <a:close/>
                <a:moveTo>
                  <a:pt x="2167" y="10244"/>
                </a:moveTo>
                <a:lnTo>
                  <a:pt x="2045" y="10269"/>
                </a:lnTo>
                <a:lnTo>
                  <a:pt x="1972" y="10317"/>
                </a:lnTo>
                <a:lnTo>
                  <a:pt x="1875" y="10463"/>
                </a:lnTo>
                <a:lnTo>
                  <a:pt x="1826" y="10634"/>
                </a:lnTo>
                <a:lnTo>
                  <a:pt x="1802" y="10804"/>
                </a:lnTo>
                <a:lnTo>
                  <a:pt x="1850" y="10926"/>
                </a:lnTo>
                <a:lnTo>
                  <a:pt x="1923" y="11023"/>
                </a:lnTo>
                <a:lnTo>
                  <a:pt x="1948" y="11072"/>
                </a:lnTo>
                <a:lnTo>
                  <a:pt x="2021" y="11096"/>
                </a:lnTo>
                <a:lnTo>
                  <a:pt x="2118" y="11096"/>
                </a:lnTo>
                <a:lnTo>
                  <a:pt x="2191" y="11072"/>
                </a:lnTo>
                <a:lnTo>
                  <a:pt x="2215" y="11023"/>
                </a:lnTo>
                <a:lnTo>
                  <a:pt x="2288" y="10950"/>
                </a:lnTo>
                <a:lnTo>
                  <a:pt x="2313" y="10877"/>
                </a:lnTo>
                <a:lnTo>
                  <a:pt x="2337" y="10780"/>
                </a:lnTo>
                <a:lnTo>
                  <a:pt x="2337" y="10755"/>
                </a:lnTo>
                <a:lnTo>
                  <a:pt x="2337" y="10731"/>
                </a:lnTo>
                <a:lnTo>
                  <a:pt x="2386" y="10658"/>
                </a:lnTo>
                <a:lnTo>
                  <a:pt x="2410" y="10561"/>
                </a:lnTo>
                <a:lnTo>
                  <a:pt x="2434" y="10488"/>
                </a:lnTo>
                <a:lnTo>
                  <a:pt x="2410" y="10390"/>
                </a:lnTo>
                <a:lnTo>
                  <a:pt x="2337" y="10317"/>
                </a:lnTo>
                <a:lnTo>
                  <a:pt x="2264" y="10269"/>
                </a:lnTo>
                <a:lnTo>
                  <a:pt x="2167" y="10244"/>
                </a:lnTo>
                <a:close/>
                <a:moveTo>
                  <a:pt x="9661" y="10512"/>
                </a:moveTo>
                <a:lnTo>
                  <a:pt x="9612" y="10536"/>
                </a:lnTo>
                <a:lnTo>
                  <a:pt x="9539" y="10609"/>
                </a:lnTo>
                <a:lnTo>
                  <a:pt x="9491" y="10658"/>
                </a:lnTo>
                <a:lnTo>
                  <a:pt x="9491" y="10731"/>
                </a:lnTo>
                <a:lnTo>
                  <a:pt x="9491" y="10877"/>
                </a:lnTo>
                <a:lnTo>
                  <a:pt x="9539" y="11023"/>
                </a:lnTo>
                <a:lnTo>
                  <a:pt x="9588" y="11169"/>
                </a:lnTo>
                <a:lnTo>
                  <a:pt x="9637" y="11242"/>
                </a:lnTo>
                <a:lnTo>
                  <a:pt x="9710" y="11315"/>
                </a:lnTo>
                <a:lnTo>
                  <a:pt x="9783" y="11339"/>
                </a:lnTo>
                <a:lnTo>
                  <a:pt x="9880" y="11339"/>
                </a:lnTo>
                <a:lnTo>
                  <a:pt x="9977" y="11291"/>
                </a:lnTo>
                <a:lnTo>
                  <a:pt x="10026" y="11218"/>
                </a:lnTo>
                <a:lnTo>
                  <a:pt x="10075" y="11120"/>
                </a:lnTo>
                <a:lnTo>
                  <a:pt x="10050" y="11023"/>
                </a:lnTo>
                <a:lnTo>
                  <a:pt x="10002" y="10877"/>
                </a:lnTo>
                <a:lnTo>
                  <a:pt x="9929" y="10731"/>
                </a:lnTo>
                <a:lnTo>
                  <a:pt x="9831" y="10609"/>
                </a:lnTo>
                <a:lnTo>
                  <a:pt x="9783" y="10561"/>
                </a:lnTo>
                <a:lnTo>
                  <a:pt x="9710" y="10536"/>
                </a:lnTo>
                <a:lnTo>
                  <a:pt x="9661" y="10512"/>
                </a:lnTo>
                <a:close/>
                <a:moveTo>
                  <a:pt x="15987" y="10999"/>
                </a:moveTo>
                <a:lnTo>
                  <a:pt x="15890" y="11047"/>
                </a:lnTo>
                <a:lnTo>
                  <a:pt x="15817" y="11120"/>
                </a:lnTo>
                <a:lnTo>
                  <a:pt x="15720" y="11291"/>
                </a:lnTo>
                <a:lnTo>
                  <a:pt x="15598" y="11461"/>
                </a:lnTo>
                <a:lnTo>
                  <a:pt x="15525" y="11631"/>
                </a:lnTo>
                <a:lnTo>
                  <a:pt x="15525" y="11729"/>
                </a:lnTo>
                <a:lnTo>
                  <a:pt x="15549" y="11802"/>
                </a:lnTo>
                <a:lnTo>
                  <a:pt x="15598" y="11850"/>
                </a:lnTo>
                <a:lnTo>
                  <a:pt x="15647" y="11899"/>
                </a:lnTo>
                <a:lnTo>
                  <a:pt x="15720" y="11948"/>
                </a:lnTo>
                <a:lnTo>
                  <a:pt x="15793" y="11948"/>
                </a:lnTo>
                <a:lnTo>
                  <a:pt x="15866" y="11923"/>
                </a:lnTo>
                <a:lnTo>
                  <a:pt x="15939" y="11875"/>
                </a:lnTo>
                <a:lnTo>
                  <a:pt x="16036" y="11704"/>
                </a:lnTo>
                <a:lnTo>
                  <a:pt x="16109" y="11510"/>
                </a:lnTo>
                <a:lnTo>
                  <a:pt x="16182" y="11315"/>
                </a:lnTo>
                <a:lnTo>
                  <a:pt x="16206" y="11218"/>
                </a:lnTo>
                <a:lnTo>
                  <a:pt x="16206" y="11120"/>
                </a:lnTo>
                <a:lnTo>
                  <a:pt x="16182" y="11047"/>
                </a:lnTo>
                <a:lnTo>
                  <a:pt x="16133" y="11023"/>
                </a:lnTo>
                <a:lnTo>
                  <a:pt x="16060" y="10999"/>
                </a:lnTo>
                <a:close/>
                <a:moveTo>
                  <a:pt x="1996" y="11437"/>
                </a:moveTo>
                <a:lnTo>
                  <a:pt x="1948" y="11461"/>
                </a:lnTo>
                <a:lnTo>
                  <a:pt x="1875" y="11485"/>
                </a:lnTo>
                <a:lnTo>
                  <a:pt x="1826" y="11558"/>
                </a:lnTo>
                <a:lnTo>
                  <a:pt x="1802" y="11607"/>
                </a:lnTo>
                <a:lnTo>
                  <a:pt x="1777" y="11680"/>
                </a:lnTo>
                <a:lnTo>
                  <a:pt x="1777" y="11826"/>
                </a:lnTo>
                <a:lnTo>
                  <a:pt x="1777" y="11899"/>
                </a:lnTo>
                <a:lnTo>
                  <a:pt x="1802" y="12021"/>
                </a:lnTo>
                <a:lnTo>
                  <a:pt x="1850" y="12094"/>
                </a:lnTo>
                <a:lnTo>
                  <a:pt x="1899" y="12142"/>
                </a:lnTo>
                <a:lnTo>
                  <a:pt x="1972" y="12167"/>
                </a:lnTo>
                <a:lnTo>
                  <a:pt x="2069" y="12167"/>
                </a:lnTo>
                <a:lnTo>
                  <a:pt x="2118" y="12142"/>
                </a:lnTo>
                <a:lnTo>
                  <a:pt x="2191" y="12094"/>
                </a:lnTo>
                <a:lnTo>
                  <a:pt x="2215" y="12021"/>
                </a:lnTo>
                <a:lnTo>
                  <a:pt x="2264" y="11875"/>
                </a:lnTo>
                <a:lnTo>
                  <a:pt x="2288" y="11753"/>
                </a:lnTo>
                <a:lnTo>
                  <a:pt x="2288" y="11680"/>
                </a:lnTo>
                <a:lnTo>
                  <a:pt x="2288" y="11607"/>
                </a:lnTo>
                <a:lnTo>
                  <a:pt x="2264" y="11534"/>
                </a:lnTo>
                <a:lnTo>
                  <a:pt x="2215" y="11485"/>
                </a:lnTo>
                <a:lnTo>
                  <a:pt x="2142" y="11437"/>
                </a:lnTo>
                <a:close/>
                <a:moveTo>
                  <a:pt x="10221" y="11753"/>
                </a:moveTo>
                <a:lnTo>
                  <a:pt x="10123" y="11802"/>
                </a:lnTo>
                <a:lnTo>
                  <a:pt x="10075" y="11875"/>
                </a:lnTo>
                <a:lnTo>
                  <a:pt x="10075" y="11996"/>
                </a:lnTo>
                <a:lnTo>
                  <a:pt x="10123" y="12094"/>
                </a:lnTo>
                <a:lnTo>
                  <a:pt x="10172" y="12191"/>
                </a:lnTo>
                <a:lnTo>
                  <a:pt x="10342" y="12337"/>
                </a:lnTo>
                <a:lnTo>
                  <a:pt x="10440" y="12410"/>
                </a:lnTo>
                <a:lnTo>
                  <a:pt x="10561" y="12483"/>
                </a:lnTo>
                <a:lnTo>
                  <a:pt x="10683" y="12532"/>
                </a:lnTo>
                <a:lnTo>
                  <a:pt x="10829" y="12532"/>
                </a:lnTo>
                <a:lnTo>
                  <a:pt x="10926" y="12507"/>
                </a:lnTo>
                <a:lnTo>
                  <a:pt x="10999" y="12459"/>
                </a:lnTo>
                <a:lnTo>
                  <a:pt x="11048" y="12386"/>
                </a:lnTo>
                <a:lnTo>
                  <a:pt x="11072" y="12313"/>
                </a:lnTo>
                <a:lnTo>
                  <a:pt x="11072" y="12240"/>
                </a:lnTo>
                <a:lnTo>
                  <a:pt x="11048" y="12167"/>
                </a:lnTo>
                <a:lnTo>
                  <a:pt x="10975" y="12094"/>
                </a:lnTo>
                <a:lnTo>
                  <a:pt x="10902" y="12045"/>
                </a:lnTo>
                <a:lnTo>
                  <a:pt x="10756" y="12021"/>
                </a:lnTo>
                <a:lnTo>
                  <a:pt x="10634" y="11948"/>
                </a:lnTo>
                <a:lnTo>
                  <a:pt x="10488" y="11826"/>
                </a:lnTo>
                <a:lnTo>
                  <a:pt x="10415" y="11777"/>
                </a:lnTo>
                <a:lnTo>
                  <a:pt x="10318" y="11753"/>
                </a:lnTo>
                <a:close/>
                <a:moveTo>
                  <a:pt x="15306" y="11996"/>
                </a:moveTo>
                <a:lnTo>
                  <a:pt x="15257" y="12045"/>
                </a:lnTo>
                <a:lnTo>
                  <a:pt x="15136" y="12167"/>
                </a:lnTo>
                <a:lnTo>
                  <a:pt x="15014" y="12288"/>
                </a:lnTo>
                <a:lnTo>
                  <a:pt x="14868" y="12386"/>
                </a:lnTo>
                <a:lnTo>
                  <a:pt x="14795" y="12434"/>
                </a:lnTo>
                <a:lnTo>
                  <a:pt x="14722" y="12483"/>
                </a:lnTo>
                <a:lnTo>
                  <a:pt x="14698" y="12532"/>
                </a:lnTo>
                <a:lnTo>
                  <a:pt x="14698" y="12605"/>
                </a:lnTo>
                <a:lnTo>
                  <a:pt x="14722" y="12653"/>
                </a:lnTo>
                <a:lnTo>
                  <a:pt x="14746" y="12678"/>
                </a:lnTo>
                <a:lnTo>
                  <a:pt x="14868" y="12726"/>
                </a:lnTo>
                <a:lnTo>
                  <a:pt x="14990" y="12726"/>
                </a:lnTo>
                <a:lnTo>
                  <a:pt x="15111" y="12702"/>
                </a:lnTo>
                <a:lnTo>
                  <a:pt x="15209" y="12629"/>
                </a:lnTo>
                <a:lnTo>
                  <a:pt x="15330" y="12556"/>
                </a:lnTo>
                <a:lnTo>
                  <a:pt x="15428" y="12483"/>
                </a:lnTo>
                <a:lnTo>
                  <a:pt x="15501" y="12386"/>
                </a:lnTo>
                <a:lnTo>
                  <a:pt x="15574" y="12288"/>
                </a:lnTo>
                <a:lnTo>
                  <a:pt x="15598" y="12215"/>
                </a:lnTo>
                <a:lnTo>
                  <a:pt x="15598" y="12142"/>
                </a:lnTo>
                <a:lnTo>
                  <a:pt x="15574" y="12094"/>
                </a:lnTo>
                <a:lnTo>
                  <a:pt x="15525" y="12045"/>
                </a:lnTo>
                <a:lnTo>
                  <a:pt x="15452" y="11996"/>
                </a:lnTo>
                <a:close/>
                <a:moveTo>
                  <a:pt x="14114" y="12605"/>
                </a:moveTo>
                <a:lnTo>
                  <a:pt x="14041" y="12629"/>
                </a:lnTo>
                <a:lnTo>
                  <a:pt x="13968" y="12678"/>
                </a:lnTo>
                <a:lnTo>
                  <a:pt x="13895" y="12726"/>
                </a:lnTo>
                <a:lnTo>
                  <a:pt x="13797" y="12751"/>
                </a:lnTo>
                <a:lnTo>
                  <a:pt x="13700" y="12751"/>
                </a:lnTo>
                <a:lnTo>
                  <a:pt x="13578" y="12775"/>
                </a:lnTo>
                <a:lnTo>
                  <a:pt x="13481" y="12848"/>
                </a:lnTo>
                <a:lnTo>
                  <a:pt x="13432" y="12872"/>
                </a:lnTo>
                <a:lnTo>
                  <a:pt x="13408" y="12921"/>
                </a:lnTo>
                <a:lnTo>
                  <a:pt x="13408" y="12970"/>
                </a:lnTo>
                <a:lnTo>
                  <a:pt x="13432" y="13018"/>
                </a:lnTo>
                <a:lnTo>
                  <a:pt x="13457" y="13091"/>
                </a:lnTo>
                <a:lnTo>
                  <a:pt x="13505" y="13116"/>
                </a:lnTo>
                <a:lnTo>
                  <a:pt x="13603" y="13164"/>
                </a:lnTo>
                <a:lnTo>
                  <a:pt x="13724" y="13189"/>
                </a:lnTo>
                <a:lnTo>
                  <a:pt x="13870" y="13189"/>
                </a:lnTo>
                <a:lnTo>
                  <a:pt x="14016" y="13164"/>
                </a:lnTo>
                <a:lnTo>
                  <a:pt x="14162" y="13091"/>
                </a:lnTo>
                <a:lnTo>
                  <a:pt x="14284" y="12994"/>
                </a:lnTo>
                <a:lnTo>
                  <a:pt x="14333" y="12945"/>
                </a:lnTo>
                <a:lnTo>
                  <a:pt x="14357" y="12872"/>
                </a:lnTo>
                <a:lnTo>
                  <a:pt x="14357" y="12799"/>
                </a:lnTo>
                <a:lnTo>
                  <a:pt x="14357" y="12726"/>
                </a:lnTo>
                <a:lnTo>
                  <a:pt x="14333" y="12678"/>
                </a:lnTo>
                <a:lnTo>
                  <a:pt x="14284" y="12653"/>
                </a:lnTo>
                <a:lnTo>
                  <a:pt x="14235" y="12605"/>
                </a:lnTo>
                <a:close/>
                <a:moveTo>
                  <a:pt x="6668" y="512"/>
                </a:moveTo>
                <a:lnTo>
                  <a:pt x="6887" y="755"/>
                </a:lnTo>
                <a:lnTo>
                  <a:pt x="7130" y="950"/>
                </a:lnTo>
                <a:lnTo>
                  <a:pt x="7398" y="1120"/>
                </a:lnTo>
                <a:lnTo>
                  <a:pt x="7666" y="1290"/>
                </a:lnTo>
                <a:lnTo>
                  <a:pt x="8250" y="1558"/>
                </a:lnTo>
                <a:lnTo>
                  <a:pt x="8834" y="1801"/>
                </a:lnTo>
                <a:lnTo>
                  <a:pt x="9320" y="2020"/>
                </a:lnTo>
                <a:lnTo>
                  <a:pt x="9807" y="2215"/>
                </a:lnTo>
                <a:lnTo>
                  <a:pt x="10780" y="2604"/>
                </a:lnTo>
                <a:lnTo>
                  <a:pt x="11194" y="2799"/>
                </a:lnTo>
                <a:lnTo>
                  <a:pt x="11559" y="3018"/>
                </a:lnTo>
                <a:lnTo>
                  <a:pt x="11729" y="3115"/>
                </a:lnTo>
                <a:lnTo>
                  <a:pt x="11924" y="3188"/>
                </a:lnTo>
                <a:lnTo>
                  <a:pt x="12094" y="3261"/>
                </a:lnTo>
                <a:lnTo>
                  <a:pt x="12240" y="3358"/>
                </a:lnTo>
                <a:lnTo>
                  <a:pt x="12264" y="3407"/>
                </a:lnTo>
                <a:lnTo>
                  <a:pt x="12313" y="3456"/>
                </a:lnTo>
                <a:lnTo>
                  <a:pt x="12410" y="3480"/>
                </a:lnTo>
                <a:lnTo>
                  <a:pt x="12435" y="3942"/>
                </a:lnTo>
                <a:lnTo>
                  <a:pt x="11851" y="3650"/>
                </a:lnTo>
                <a:lnTo>
                  <a:pt x="11389" y="3407"/>
                </a:lnTo>
                <a:lnTo>
                  <a:pt x="11170" y="3310"/>
                </a:lnTo>
                <a:lnTo>
                  <a:pt x="10926" y="3237"/>
                </a:lnTo>
                <a:lnTo>
                  <a:pt x="10878" y="3237"/>
                </a:lnTo>
                <a:lnTo>
                  <a:pt x="10853" y="3261"/>
                </a:lnTo>
                <a:lnTo>
                  <a:pt x="10853" y="3285"/>
                </a:lnTo>
                <a:lnTo>
                  <a:pt x="10853" y="3310"/>
                </a:lnTo>
                <a:lnTo>
                  <a:pt x="11024" y="3480"/>
                </a:lnTo>
                <a:lnTo>
                  <a:pt x="11218" y="3626"/>
                </a:lnTo>
                <a:lnTo>
                  <a:pt x="11608" y="3869"/>
                </a:lnTo>
                <a:lnTo>
                  <a:pt x="12045" y="4113"/>
                </a:lnTo>
                <a:lnTo>
                  <a:pt x="12459" y="4307"/>
                </a:lnTo>
                <a:lnTo>
                  <a:pt x="12483" y="4818"/>
                </a:lnTo>
                <a:lnTo>
                  <a:pt x="12337" y="4770"/>
                </a:lnTo>
                <a:lnTo>
                  <a:pt x="12216" y="4721"/>
                </a:lnTo>
                <a:lnTo>
                  <a:pt x="12021" y="4672"/>
                </a:lnTo>
                <a:lnTo>
                  <a:pt x="11729" y="4526"/>
                </a:lnTo>
                <a:lnTo>
                  <a:pt x="11413" y="4380"/>
                </a:lnTo>
                <a:lnTo>
                  <a:pt x="11218" y="4259"/>
                </a:lnTo>
                <a:lnTo>
                  <a:pt x="11121" y="4234"/>
                </a:lnTo>
                <a:lnTo>
                  <a:pt x="11024" y="4210"/>
                </a:lnTo>
                <a:lnTo>
                  <a:pt x="10975" y="4210"/>
                </a:lnTo>
                <a:lnTo>
                  <a:pt x="10951" y="4259"/>
                </a:lnTo>
                <a:lnTo>
                  <a:pt x="10951" y="4283"/>
                </a:lnTo>
                <a:lnTo>
                  <a:pt x="10951" y="4332"/>
                </a:lnTo>
                <a:lnTo>
                  <a:pt x="11024" y="4429"/>
                </a:lnTo>
                <a:lnTo>
                  <a:pt x="11121" y="4526"/>
                </a:lnTo>
                <a:lnTo>
                  <a:pt x="11218" y="4599"/>
                </a:lnTo>
                <a:lnTo>
                  <a:pt x="11340" y="4672"/>
                </a:lnTo>
                <a:lnTo>
                  <a:pt x="11608" y="4818"/>
                </a:lnTo>
                <a:lnTo>
                  <a:pt x="11826" y="4916"/>
                </a:lnTo>
                <a:lnTo>
                  <a:pt x="12143" y="5037"/>
                </a:lnTo>
                <a:lnTo>
                  <a:pt x="12313" y="5086"/>
                </a:lnTo>
                <a:lnTo>
                  <a:pt x="12410" y="5086"/>
                </a:lnTo>
                <a:lnTo>
                  <a:pt x="12483" y="5062"/>
                </a:lnTo>
                <a:lnTo>
                  <a:pt x="12483" y="5743"/>
                </a:lnTo>
                <a:lnTo>
                  <a:pt x="12289" y="5621"/>
                </a:lnTo>
                <a:lnTo>
                  <a:pt x="12094" y="5475"/>
                </a:lnTo>
                <a:lnTo>
                  <a:pt x="11608" y="5256"/>
                </a:lnTo>
                <a:lnTo>
                  <a:pt x="11194" y="5110"/>
                </a:lnTo>
                <a:lnTo>
                  <a:pt x="11024" y="5062"/>
                </a:lnTo>
                <a:lnTo>
                  <a:pt x="10926" y="5062"/>
                </a:lnTo>
                <a:lnTo>
                  <a:pt x="10902" y="5086"/>
                </a:lnTo>
                <a:lnTo>
                  <a:pt x="10878" y="5110"/>
                </a:lnTo>
                <a:lnTo>
                  <a:pt x="10951" y="5232"/>
                </a:lnTo>
                <a:lnTo>
                  <a:pt x="11024" y="5305"/>
                </a:lnTo>
                <a:lnTo>
                  <a:pt x="11121" y="5378"/>
                </a:lnTo>
                <a:lnTo>
                  <a:pt x="11267" y="5451"/>
                </a:lnTo>
                <a:lnTo>
                  <a:pt x="11535" y="5548"/>
                </a:lnTo>
                <a:lnTo>
                  <a:pt x="11754" y="5646"/>
                </a:lnTo>
                <a:lnTo>
                  <a:pt x="12094" y="5792"/>
                </a:lnTo>
                <a:lnTo>
                  <a:pt x="12240" y="5889"/>
                </a:lnTo>
                <a:lnTo>
                  <a:pt x="12386" y="6011"/>
                </a:lnTo>
                <a:lnTo>
                  <a:pt x="12483" y="6108"/>
                </a:lnTo>
                <a:lnTo>
                  <a:pt x="12483" y="6254"/>
                </a:lnTo>
                <a:lnTo>
                  <a:pt x="12337" y="6157"/>
                </a:lnTo>
                <a:lnTo>
                  <a:pt x="12191" y="6084"/>
                </a:lnTo>
                <a:lnTo>
                  <a:pt x="11899" y="5938"/>
                </a:lnTo>
                <a:lnTo>
                  <a:pt x="11705" y="5816"/>
                </a:lnTo>
                <a:lnTo>
                  <a:pt x="11510" y="5743"/>
                </a:lnTo>
                <a:lnTo>
                  <a:pt x="11291" y="5670"/>
                </a:lnTo>
                <a:lnTo>
                  <a:pt x="11194" y="5670"/>
                </a:lnTo>
                <a:lnTo>
                  <a:pt x="11097" y="5694"/>
                </a:lnTo>
                <a:lnTo>
                  <a:pt x="11072" y="5694"/>
                </a:lnTo>
                <a:lnTo>
                  <a:pt x="11072" y="5719"/>
                </a:lnTo>
                <a:lnTo>
                  <a:pt x="11145" y="5816"/>
                </a:lnTo>
                <a:lnTo>
                  <a:pt x="11218" y="5889"/>
                </a:lnTo>
                <a:lnTo>
                  <a:pt x="11413" y="6035"/>
                </a:lnTo>
                <a:lnTo>
                  <a:pt x="11826" y="6254"/>
                </a:lnTo>
                <a:lnTo>
                  <a:pt x="12143" y="6449"/>
                </a:lnTo>
                <a:lnTo>
                  <a:pt x="12289" y="6522"/>
                </a:lnTo>
                <a:lnTo>
                  <a:pt x="12459" y="6570"/>
                </a:lnTo>
                <a:lnTo>
                  <a:pt x="12459" y="6838"/>
                </a:lnTo>
                <a:lnTo>
                  <a:pt x="12459" y="6862"/>
                </a:lnTo>
                <a:lnTo>
                  <a:pt x="12337" y="6765"/>
                </a:lnTo>
                <a:lnTo>
                  <a:pt x="12216" y="6668"/>
                </a:lnTo>
                <a:lnTo>
                  <a:pt x="12094" y="6619"/>
                </a:lnTo>
                <a:lnTo>
                  <a:pt x="11924" y="6546"/>
                </a:lnTo>
                <a:lnTo>
                  <a:pt x="11729" y="6473"/>
                </a:lnTo>
                <a:lnTo>
                  <a:pt x="11486" y="6424"/>
                </a:lnTo>
                <a:lnTo>
                  <a:pt x="11267" y="6376"/>
                </a:lnTo>
                <a:lnTo>
                  <a:pt x="11072" y="6303"/>
                </a:lnTo>
                <a:lnTo>
                  <a:pt x="11048" y="6303"/>
                </a:lnTo>
                <a:lnTo>
                  <a:pt x="11048" y="6327"/>
                </a:lnTo>
                <a:lnTo>
                  <a:pt x="11145" y="6449"/>
                </a:lnTo>
                <a:lnTo>
                  <a:pt x="11267" y="6546"/>
                </a:lnTo>
                <a:lnTo>
                  <a:pt x="11389" y="6619"/>
                </a:lnTo>
                <a:lnTo>
                  <a:pt x="11535" y="6692"/>
                </a:lnTo>
                <a:lnTo>
                  <a:pt x="11948" y="6862"/>
                </a:lnTo>
                <a:lnTo>
                  <a:pt x="12143" y="6960"/>
                </a:lnTo>
                <a:lnTo>
                  <a:pt x="12216" y="7033"/>
                </a:lnTo>
                <a:lnTo>
                  <a:pt x="12289" y="7106"/>
                </a:lnTo>
                <a:lnTo>
                  <a:pt x="12362" y="7179"/>
                </a:lnTo>
                <a:lnTo>
                  <a:pt x="12459" y="7179"/>
                </a:lnTo>
                <a:lnTo>
                  <a:pt x="12459" y="7592"/>
                </a:lnTo>
                <a:lnTo>
                  <a:pt x="12264" y="7495"/>
                </a:lnTo>
                <a:lnTo>
                  <a:pt x="12070" y="7422"/>
                </a:lnTo>
                <a:lnTo>
                  <a:pt x="11802" y="7349"/>
                </a:lnTo>
                <a:lnTo>
                  <a:pt x="11389" y="7106"/>
                </a:lnTo>
                <a:lnTo>
                  <a:pt x="11121" y="7008"/>
                </a:lnTo>
                <a:lnTo>
                  <a:pt x="11024" y="6984"/>
                </a:lnTo>
                <a:lnTo>
                  <a:pt x="10999" y="6984"/>
                </a:lnTo>
                <a:lnTo>
                  <a:pt x="10975" y="7008"/>
                </a:lnTo>
                <a:lnTo>
                  <a:pt x="10975" y="7057"/>
                </a:lnTo>
                <a:lnTo>
                  <a:pt x="10975" y="7106"/>
                </a:lnTo>
                <a:lnTo>
                  <a:pt x="10999" y="7227"/>
                </a:lnTo>
                <a:lnTo>
                  <a:pt x="11097" y="7325"/>
                </a:lnTo>
                <a:lnTo>
                  <a:pt x="11194" y="7398"/>
                </a:lnTo>
                <a:lnTo>
                  <a:pt x="11437" y="7544"/>
                </a:lnTo>
                <a:lnTo>
                  <a:pt x="11632" y="7641"/>
                </a:lnTo>
                <a:lnTo>
                  <a:pt x="11997" y="7836"/>
                </a:lnTo>
                <a:lnTo>
                  <a:pt x="12240" y="7909"/>
                </a:lnTo>
                <a:lnTo>
                  <a:pt x="12362" y="7933"/>
                </a:lnTo>
                <a:lnTo>
                  <a:pt x="12459" y="7957"/>
                </a:lnTo>
                <a:lnTo>
                  <a:pt x="12459" y="8298"/>
                </a:lnTo>
                <a:lnTo>
                  <a:pt x="12216" y="8176"/>
                </a:lnTo>
                <a:lnTo>
                  <a:pt x="11972" y="8055"/>
                </a:lnTo>
                <a:lnTo>
                  <a:pt x="11754" y="7909"/>
                </a:lnTo>
                <a:lnTo>
                  <a:pt x="11535" y="7738"/>
                </a:lnTo>
                <a:lnTo>
                  <a:pt x="11413" y="7665"/>
                </a:lnTo>
                <a:lnTo>
                  <a:pt x="11291" y="7617"/>
                </a:lnTo>
                <a:lnTo>
                  <a:pt x="11170" y="7592"/>
                </a:lnTo>
                <a:lnTo>
                  <a:pt x="11048" y="7568"/>
                </a:lnTo>
                <a:lnTo>
                  <a:pt x="11048" y="7592"/>
                </a:lnTo>
                <a:lnTo>
                  <a:pt x="11024" y="7617"/>
                </a:lnTo>
                <a:lnTo>
                  <a:pt x="11072" y="7714"/>
                </a:lnTo>
                <a:lnTo>
                  <a:pt x="11145" y="7836"/>
                </a:lnTo>
                <a:lnTo>
                  <a:pt x="11243" y="7933"/>
                </a:lnTo>
                <a:lnTo>
                  <a:pt x="11364" y="8006"/>
                </a:lnTo>
                <a:lnTo>
                  <a:pt x="11583" y="8176"/>
                </a:lnTo>
                <a:lnTo>
                  <a:pt x="11802" y="8322"/>
                </a:lnTo>
                <a:lnTo>
                  <a:pt x="12118" y="8493"/>
                </a:lnTo>
                <a:lnTo>
                  <a:pt x="12289" y="8590"/>
                </a:lnTo>
                <a:lnTo>
                  <a:pt x="12459" y="8663"/>
                </a:lnTo>
                <a:lnTo>
                  <a:pt x="12483" y="9101"/>
                </a:lnTo>
                <a:lnTo>
                  <a:pt x="12435" y="9028"/>
                </a:lnTo>
                <a:lnTo>
                  <a:pt x="12386" y="8979"/>
                </a:lnTo>
                <a:lnTo>
                  <a:pt x="12216" y="8882"/>
                </a:lnTo>
                <a:lnTo>
                  <a:pt x="11899" y="8736"/>
                </a:lnTo>
                <a:lnTo>
                  <a:pt x="11559" y="8517"/>
                </a:lnTo>
                <a:lnTo>
                  <a:pt x="11364" y="8420"/>
                </a:lnTo>
                <a:lnTo>
                  <a:pt x="11291" y="8395"/>
                </a:lnTo>
                <a:lnTo>
                  <a:pt x="11194" y="8371"/>
                </a:lnTo>
                <a:lnTo>
                  <a:pt x="11170" y="8371"/>
                </a:lnTo>
                <a:lnTo>
                  <a:pt x="11170" y="8395"/>
                </a:lnTo>
                <a:lnTo>
                  <a:pt x="11194" y="8493"/>
                </a:lnTo>
                <a:lnTo>
                  <a:pt x="11218" y="8566"/>
                </a:lnTo>
                <a:lnTo>
                  <a:pt x="11364" y="8712"/>
                </a:lnTo>
                <a:lnTo>
                  <a:pt x="11535" y="8858"/>
                </a:lnTo>
                <a:lnTo>
                  <a:pt x="11681" y="8955"/>
                </a:lnTo>
                <a:lnTo>
                  <a:pt x="11851" y="9052"/>
                </a:lnTo>
                <a:lnTo>
                  <a:pt x="12070" y="9174"/>
                </a:lnTo>
                <a:lnTo>
                  <a:pt x="12167" y="9223"/>
                </a:lnTo>
                <a:lnTo>
                  <a:pt x="12264" y="9247"/>
                </a:lnTo>
                <a:lnTo>
                  <a:pt x="12362" y="9247"/>
                </a:lnTo>
                <a:lnTo>
                  <a:pt x="12459" y="9223"/>
                </a:lnTo>
                <a:lnTo>
                  <a:pt x="12483" y="9198"/>
                </a:lnTo>
                <a:lnTo>
                  <a:pt x="12508" y="10025"/>
                </a:lnTo>
                <a:lnTo>
                  <a:pt x="12386" y="9879"/>
                </a:lnTo>
                <a:lnTo>
                  <a:pt x="12240" y="9758"/>
                </a:lnTo>
                <a:lnTo>
                  <a:pt x="11924" y="9515"/>
                </a:lnTo>
                <a:lnTo>
                  <a:pt x="11608" y="9296"/>
                </a:lnTo>
                <a:lnTo>
                  <a:pt x="11267" y="9101"/>
                </a:lnTo>
                <a:lnTo>
                  <a:pt x="11243" y="9077"/>
                </a:lnTo>
                <a:lnTo>
                  <a:pt x="11218" y="9101"/>
                </a:lnTo>
                <a:lnTo>
                  <a:pt x="11218" y="9125"/>
                </a:lnTo>
                <a:lnTo>
                  <a:pt x="11218" y="9150"/>
                </a:lnTo>
                <a:lnTo>
                  <a:pt x="11340" y="9296"/>
                </a:lnTo>
                <a:lnTo>
                  <a:pt x="11462" y="9466"/>
                </a:lnTo>
                <a:lnTo>
                  <a:pt x="11608" y="9612"/>
                </a:lnTo>
                <a:lnTo>
                  <a:pt x="11754" y="9733"/>
                </a:lnTo>
                <a:lnTo>
                  <a:pt x="11924" y="9855"/>
                </a:lnTo>
                <a:lnTo>
                  <a:pt x="12094" y="9952"/>
                </a:lnTo>
                <a:lnTo>
                  <a:pt x="12289" y="10050"/>
                </a:lnTo>
                <a:lnTo>
                  <a:pt x="12459" y="10098"/>
                </a:lnTo>
                <a:lnTo>
                  <a:pt x="12508" y="10098"/>
                </a:lnTo>
                <a:lnTo>
                  <a:pt x="12508" y="10488"/>
                </a:lnTo>
                <a:lnTo>
                  <a:pt x="12289" y="10317"/>
                </a:lnTo>
                <a:lnTo>
                  <a:pt x="11802" y="10001"/>
                </a:lnTo>
                <a:lnTo>
                  <a:pt x="11608" y="9855"/>
                </a:lnTo>
                <a:lnTo>
                  <a:pt x="11486" y="9782"/>
                </a:lnTo>
                <a:lnTo>
                  <a:pt x="11389" y="9733"/>
                </a:lnTo>
                <a:lnTo>
                  <a:pt x="11364" y="9758"/>
                </a:lnTo>
                <a:lnTo>
                  <a:pt x="11364" y="9855"/>
                </a:lnTo>
                <a:lnTo>
                  <a:pt x="11389" y="9952"/>
                </a:lnTo>
                <a:lnTo>
                  <a:pt x="11437" y="10050"/>
                </a:lnTo>
                <a:lnTo>
                  <a:pt x="11510" y="10147"/>
                </a:lnTo>
                <a:lnTo>
                  <a:pt x="11681" y="10317"/>
                </a:lnTo>
                <a:lnTo>
                  <a:pt x="11851" y="10439"/>
                </a:lnTo>
                <a:lnTo>
                  <a:pt x="12094" y="10585"/>
                </a:lnTo>
                <a:lnTo>
                  <a:pt x="12313" y="10780"/>
                </a:lnTo>
                <a:lnTo>
                  <a:pt x="12410" y="10877"/>
                </a:lnTo>
                <a:lnTo>
                  <a:pt x="12508" y="10999"/>
                </a:lnTo>
                <a:lnTo>
                  <a:pt x="12483" y="11291"/>
                </a:lnTo>
                <a:lnTo>
                  <a:pt x="11875" y="10901"/>
                </a:lnTo>
                <a:lnTo>
                  <a:pt x="11705" y="10780"/>
                </a:lnTo>
                <a:lnTo>
                  <a:pt x="11535" y="10658"/>
                </a:lnTo>
                <a:lnTo>
                  <a:pt x="11462" y="10609"/>
                </a:lnTo>
                <a:lnTo>
                  <a:pt x="11364" y="10585"/>
                </a:lnTo>
                <a:lnTo>
                  <a:pt x="11267" y="10561"/>
                </a:lnTo>
                <a:lnTo>
                  <a:pt x="11145" y="10585"/>
                </a:lnTo>
                <a:lnTo>
                  <a:pt x="11121" y="10609"/>
                </a:lnTo>
                <a:lnTo>
                  <a:pt x="11145" y="10634"/>
                </a:lnTo>
                <a:lnTo>
                  <a:pt x="11291" y="10780"/>
                </a:lnTo>
                <a:lnTo>
                  <a:pt x="11413" y="10926"/>
                </a:lnTo>
                <a:lnTo>
                  <a:pt x="11535" y="11072"/>
                </a:lnTo>
                <a:lnTo>
                  <a:pt x="11705" y="11218"/>
                </a:lnTo>
                <a:lnTo>
                  <a:pt x="12070" y="11485"/>
                </a:lnTo>
                <a:lnTo>
                  <a:pt x="12483" y="11729"/>
                </a:lnTo>
                <a:lnTo>
                  <a:pt x="12459" y="12094"/>
                </a:lnTo>
                <a:lnTo>
                  <a:pt x="12191" y="11923"/>
                </a:lnTo>
                <a:lnTo>
                  <a:pt x="11948" y="11777"/>
                </a:lnTo>
                <a:lnTo>
                  <a:pt x="11559" y="11558"/>
                </a:lnTo>
                <a:lnTo>
                  <a:pt x="11170" y="11388"/>
                </a:lnTo>
                <a:lnTo>
                  <a:pt x="11145" y="11388"/>
                </a:lnTo>
                <a:lnTo>
                  <a:pt x="11145" y="11485"/>
                </a:lnTo>
                <a:lnTo>
                  <a:pt x="11170" y="11558"/>
                </a:lnTo>
                <a:lnTo>
                  <a:pt x="11243" y="11704"/>
                </a:lnTo>
                <a:lnTo>
                  <a:pt x="11364" y="11850"/>
                </a:lnTo>
                <a:lnTo>
                  <a:pt x="11510" y="11948"/>
                </a:lnTo>
                <a:lnTo>
                  <a:pt x="11754" y="12118"/>
                </a:lnTo>
                <a:lnTo>
                  <a:pt x="12021" y="12288"/>
                </a:lnTo>
                <a:lnTo>
                  <a:pt x="12216" y="12434"/>
                </a:lnTo>
                <a:lnTo>
                  <a:pt x="12435" y="12556"/>
                </a:lnTo>
                <a:lnTo>
                  <a:pt x="12435" y="12799"/>
                </a:lnTo>
                <a:lnTo>
                  <a:pt x="12337" y="12824"/>
                </a:lnTo>
                <a:lnTo>
                  <a:pt x="12264" y="12848"/>
                </a:lnTo>
                <a:lnTo>
                  <a:pt x="12143" y="12775"/>
                </a:lnTo>
                <a:lnTo>
                  <a:pt x="11972" y="12629"/>
                </a:lnTo>
                <a:lnTo>
                  <a:pt x="11802" y="12507"/>
                </a:lnTo>
                <a:lnTo>
                  <a:pt x="11632" y="12361"/>
                </a:lnTo>
                <a:lnTo>
                  <a:pt x="11462" y="12240"/>
                </a:lnTo>
                <a:lnTo>
                  <a:pt x="11413" y="12240"/>
                </a:lnTo>
                <a:lnTo>
                  <a:pt x="11413" y="12288"/>
                </a:lnTo>
                <a:lnTo>
                  <a:pt x="11413" y="12361"/>
                </a:lnTo>
                <a:lnTo>
                  <a:pt x="11413" y="12434"/>
                </a:lnTo>
                <a:lnTo>
                  <a:pt x="11486" y="12605"/>
                </a:lnTo>
                <a:lnTo>
                  <a:pt x="11389" y="12605"/>
                </a:lnTo>
                <a:lnTo>
                  <a:pt x="11267" y="12653"/>
                </a:lnTo>
                <a:lnTo>
                  <a:pt x="11243" y="12678"/>
                </a:lnTo>
                <a:lnTo>
                  <a:pt x="11218" y="12726"/>
                </a:lnTo>
                <a:lnTo>
                  <a:pt x="11218" y="12775"/>
                </a:lnTo>
                <a:lnTo>
                  <a:pt x="11218" y="12848"/>
                </a:lnTo>
                <a:lnTo>
                  <a:pt x="11291" y="12921"/>
                </a:lnTo>
                <a:lnTo>
                  <a:pt x="11364" y="12994"/>
                </a:lnTo>
                <a:lnTo>
                  <a:pt x="11486" y="13043"/>
                </a:lnTo>
                <a:lnTo>
                  <a:pt x="11583" y="13091"/>
                </a:lnTo>
                <a:lnTo>
                  <a:pt x="11705" y="13140"/>
                </a:lnTo>
                <a:lnTo>
                  <a:pt x="11802" y="13140"/>
                </a:lnTo>
                <a:lnTo>
                  <a:pt x="11924" y="13116"/>
                </a:lnTo>
                <a:lnTo>
                  <a:pt x="12021" y="13067"/>
                </a:lnTo>
                <a:lnTo>
                  <a:pt x="12240" y="13189"/>
                </a:lnTo>
                <a:lnTo>
                  <a:pt x="12410" y="13335"/>
                </a:lnTo>
                <a:lnTo>
                  <a:pt x="12386" y="13602"/>
                </a:lnTo>
                <a:lnTo>
                  <a:pt x="11802" y="13286"/>
                </a:lnTo>
                <a:lnTo>
                  <a:pt x="11510" y="13140"/>
                </a:lnTo>
                <a:lnTo>
                  <a:pt x="11194" y="13018"/>
                </a:lnTo>
                <a:lnTo>
                  <a:pt x="11170" y="13018"/>
                </a:lnTo>
                <a:lnTo>
                  <a:pt x="11145" y="13116"/>
                </a:lnTo>
                <a:lnTo>
                  <a:pt x="11170" y="13213"/>
                </a:lnTo>
                <a:lnTo>
                  <a:pt x="11218" y="13286"/>
                </a:lnTo>
                <a:lnTo>
                  <a:pt x="11291" y="13359"/>
                </a:lnTo>
                <a:lnTo>
                  <a:pt x="11437" y="13456"/>
                </a:lnTo>
                <a:lnTo>
                  <a:pt x="11608" y="13529"/>
                </a:lnTo>
                <a:lnTo>
                  <a:pt x="11802" y="13651"/>
                </a:lnTo>
                <a:lnTo>
                  <a:pt x="11997" y="13773"/>
                </a:lnTo>
                <a:lnTo>
                  <a:pt x="12191" y="13894"/>
                </a:lnTo>
                <a:lnTo>
                  <a:pt x="12386" y="14016"/>
                </a:lnTo>
                <a:lnTo>
                  <a:pt x="12386" y="14332"/>
                </a:lnTo>
                <a:lnTo>
                  <a:pt x="11851" y="13943"/>
                </a:lnTo>
                <a:lnTo>
                  <a:pt x="11705" y="13846"/>
                </a:lnTo>
                <a:lnTo>
                  <a:pt x="11510" y="13724"/>
                </a:lnTo>
                <a:lnTo>
                  <a:pt x="11413" y="13700"/>
                </a:lnTo>
                <a:lnTo>
                  <a:pt x="11316" y="13675"/>
                </a:lnTo>
                <a:lnTo>
                  <a:pt x="11218" y="13675"/>
                </a:lnTo>
                <a:lnTo>
                  <a:pt x="11121" y="13700"/>
                </a:lnTo>
                <a:lnTo>
                  <a:pt x="11121" y="13724"/>
                </a:lnTo>
                <a:lnTo>
                  <a:pt x="11121" y="13748"/>
                </a:lnTo>
                <a:lnTo>
                  <a:pt x="11145" y="13821"/>
                </a:lnTo>
                <a:lnTo>
                  <a:pt x="11218" y="13919"/>
                </a:lnTo>
                <a:lnTo>
                  <a:pt x="11364" y="14040"/>
                </a:lnTo>
                <a:lnTo>
                  <a:pt x="11729" y="14284"/>
                </a:lnTo>
                <a:lnTo>
                  <a:pt x="12045" y="14551"/>
                </a:lnTo>
                <a:lnTo>
                  <a:pt x="12191" y="14673"/>
                </a:lnTo>
                <a:lnTo>
                  <a:pt x="12386" y="14795"/>
                </a:lnTo>
                <a:lnTo>
                  <a:pt x="12386" y="15281"/>
                </a:lnTo>
                <a:lnTo>
                  <a:pt x="12289" y="15184"/>
                </a:lnTo>
                <a:lnTo>
                  <a:pt x="12167" y="15087"/>
                </a:lnTo>
                <a:lnTo>
                  <a:pt x="12021" y="14916"/>
                </a:lnTo>
                <a:lnTo>
                  <a:pt x="11851" y="14746"/>
                </a:lnTo>
                <a:lnTo>
                  <a:pt x="11656" y="14600"/>
                </a:lnTo>
                <a:lnTo>
                  <a:pt x="11413" y="14503"/>
                </a:lnTo>
                <a:lnTo>
                  <a:pt x="11170" y="14430"/>
                </a:lnTo>
                <a:lnTo>
                  <a:pt x="10926" y="14430"/>
                </a:lnTo>
                <a:lnTo>
                  <a:pt x="10902" y="14454"/>
                </a:lnTo>
                <a:lnTo>
                  <a:pt x="10902" y="14478"/>
                </a:lnTo>
                <a:lnTo>
                  <a:pt x="10975" y="14551"/>
                </a:lnTo>
                <a:lnTo>
                  <a:pt x="11024" y="14600"/>
                </a:lnTo>
                <a:lnTo>
                  <a:pt x="11194" y="14697"/>
                </a:lnTo>
                <a:lnTo>
                  <a:pt x="11462" y="14892"/>
                </a:lnTo>
                <a:lnTo>
                  <a:pt x="11608" y="14989"/>
                </a:lnTo>
                <a:lnTo>
                  <a:pt x="11729" y="15111"/>
                </a:lnTo>
                <a:lnTo>
                  <a:pt x="11875" y="15281"/>
                </a:lnTo>
                <a:lnTo>
                  <a:pt x="12021" y="15452"/>
                </a:lnTo>
                <a:lnTo>
                  <a:pt x="12118" y="15525"/>
                </a:lnTo>
                <a:lnTo>
                  <a:pt x="12191" y="15573"/>
                </a:lnTo>
                <a:lnTo>
                  <a:pt x="12313" y="15622"/>
                </a:lnTo>
                <a:lnTo>
                  <a:pt x="12410" y="15646"/>
                </a:lnTo>
                <a:lnTo>
                  <a:pt x="12435" y="16133"/>
                </a:lnTo>
                <a:lnTo>
                  <a:pt x="12386" y="16133"/>
                </a:lnTo>
                <a:lnTo>
                  <a:pt x="12362" y="16084"/>
                </a:lnTo>
                <a:lnTo>
                  <a:pt x="12240" y="15963"/>
                </a:lnTo>
                <a:lnTo>
                  <a:pt x="12070" y="15841"/>
                </a:lnTo>
                <a:lnTo>
                  <a:pt x="11754" y="15622"/>
                </a:lnTo>
                <a:lnTo>
                  <a:pt x="11413" y="15354"/>
                </a:lnTo>
                <a:lnTo>
                  <a:pt x="11243" y="15233"/>
                </a:lnTo>
                <a:lnTo>
                  <a:pt x="11072" y="15160"/>
                </a:lnTo>
                <a:lnTo>
                  <a:pt x="11048" y="15160"/>
                </a:lnTo>
                <a:lnTo>
                  <a:pt x="11024" y="15184"/>
                </a:lnTo>
                <a:lnTo>
                  <a:pt x="11048" y="15281"/>
                </a:lnTo>
                <a:lnTo>
                  <a:pt x="11072" y="15354"/>
                </a:lnTo>
                <a:lnTo>
                  <a:pt x="11170" y="15500"/>
                </a:lnTo>
                <a:lnTo>
                  <a:pt x="11291" y="15622"/>
                </a:lnTo>
                <a:lnTo>
                  <a:pt x="11437" y="15744"/>
                </a:lnTo>
                <a:lnTo>
                  <a:pt x="11218" y="15646"/>
                </a:lnTo>
                <a:lnTo>
                  <a:pt x="9564" y="14916"/>
                </a:lnTo>
                <a:lnTo>
                  <a:pt x="8055" y="14259"/>
                </a:lnTo>
                <a:lnTo>
                  <a:pt x="7301" y="13894"/>
                </a:lnTo>
                <a:lnTo>
                  <a:pt x="7130" y="13797"/>
                </a:lnTo>
                <a:lnTo>
                  <a:pt x="6863" y="13675"/>
                </a:lnTo>
                <a:lnTo>
                  <a:pt x="6863" y="13602"/>
                </a:lnTo>
                <a:lnTo>
                  <a:pt x="6814" y="12775"/>
                </a:lnTo>
                <a:lnTo>
                  <a:pt x="6765" y="11972"/>
                </a:lnTo>
                <a:lnTo>
                  <a:pt x="6692" y="11145"/>
                </a:lnTo>
                <a:lnTo>
                  <a:pt x="6668" y="10317"/>
                </a:lnTo>
                <a:lnTo>
                  <a:pt x="6668" y="9393"/>
                </a:lnTo>
                <a:lnTo>
                  <a:pt x="6692" y="8493"/>
                </a:lnTo>
                <a:lnTo>
                  <a:pt x="6717" y="7568"/>
                </a:lnTo>
                <a:lnTo>
                  <a:pt x="6717" y="6643"/>
                </a:lnTo>
                <a:lnTo>
                  <a:pt x="6717" y="5889"/>
                </a:lnTo>
                <a:lnTo>
                  <a:pt x="6863" y="5913"/>
                </a:lnTo>
                <a:lnTo>
                  <a:pt x="6936" y="5938"/>
                </a:lnTo>
                <a:lnTo>
                  <a:pt x="7033" y="5962"/>
                </a:lnTo>
                <a:lnTo>
                  <a:pt x="7130" y="5938"/>
                </a:lnTo>
                <a:lnTo>
                  <a:pt x="7228" y="5865"/>
                </a:lnTo>
                <a:lnTo>
                  <a:pt x="7252" y="5816"/>
                </a:lnTo>
                <a:lnTo>
                  <a:pt x="7276" y="5767"/>
                </a:lnTo>
                <a:lnTo>
                  <a:pt x="7276" y="5670"/>
                </a:lnTo>
                <a:lnTo>
                  <a:pt x="7252" y="5573"/>
                </a:lnTo>
                <a:lnTo>
                  <a:pt x="7179" y="5500"/>
                </a:lnTo>
                <a:lnTo>
                  <a:pt x="7082" y="5451"/>
                </a:lnTo>
                <a:lnTo>
                  <a:pt x="7033" y="5427"/>
                </a:lnTo>
                <a:lnTo>
                  <a:pt x="6960" y="5402"/>
                </a:lnTo>
                <a:lnTo>
                  <a:pt x="6887" y="5427"/>
                </a:lnTo>
                <a:lnTo>
                  <a:pt x="6814" y="5451"/>
                </a:lnTo>
                <a:lnTo>
                  <a:pt x="6790" y="5451"/>
                </a:lnTo>
                <a:lnTo>
                  <a:pt x="6692" y="5500"/>
                </a:lnTo>
                <a:lnTo>
                  <a:pt x="6644" y="3018"/>
                </a:lnTo>
                <a:lnTo>
                  <a:pt x="6644" y="1752"/>
                </a:lnTo>
                <a:lnTo>
                  <a:pt x="6668" y="512"/>
                </a:lnTo>
                <a:close/>
                <a:moveTo>
                  <a:pt x="6206" y="585"/>
                </a:moveTo>
                <a:lnTo>
                  <a:pt x="6181" y="852"/>
                </a:lnTo>
                <a:lnTo>
                  <a:pt x="6181" y="1096"/>
                </a:lnTo>
                <a:lnTo>
                  <a:pt x="6181" y="1874"/>
                </a:lnTo>
                <a:lnTo>
                  <a:pt x="6181" y="2653"/>
                </a:lnTo>
                <a:lnTo>
                  <a:pt x="6181" y="3602"/>
                </a:lnTo>
                <a:lnTo>
                  <a:pt x="6181" y="4551"/>
                </a:lnTo>
                <a:lnTo>
                  <a:pt x="6230" y="6449"/>
                </a:lnTo>
                <a:lnTo>
                  <a:pt x="6230" y="7373"/>
                </a:lnTo>
                <a:lnTo>
                  <a:pt x="6206" y="8298"/>
                </a:lnTo>
                <a:lnTo>
                  <a:pt x="6181" y="9198"/>
                </a:lnTo>
                <a:lnTo>
                  <a:pt x="6133" y="10123"/>
                </a:lnTo>
                <a:lnTo>
                  <a:pt x="6157" y="10926"/>
                </a:lnTo>
                <a:lnTo>
                  <a:pt x="6206" y="11729"/>
                </a:lnTo>
                <a:lnTo>
                  <a:pt x="6254" y="12532"/>
                </a:lnTo>
                <a:lnTo>
                  <a:pt x="6279" y="13335"/>
                </a:lnTo>
                <a:lnTo>
                  <a:pt x="6206" y="13359"/>
                </a:lnTo>
                <a:lnTo>
                  <a:pt x="5451" y="13748"/>
                </a:lnTo>
                <a:lnTo>
                  <a:pt x="4721" y="14186"/>
                </a:lnTo>
                <a:lnTo>
                  <a:pt x="3262" y="15087"/>
                </a:lnTo>
                <a:lnTo>
                  <a:pt x="2897" y="15281"/>
                </a:lnTo>
                <a:lnTo>
                  <a:pt x="2532" y="15476"/>
                </a:lnTo>
                <a:lnTo>
                  <a:pt x="2142" y="15671"/>
                </a:lnTo>
                <a:lnTo>
                  <a:pt x="1753" y="15841"/>
                </a:lnTo>
                <a:lnTo>
                  <a:pt x="950" y="16133"/>
                </a:lnTo>
                <a:lnTo>
                  <a:pt x="634" y="16255"/>
                </a:lnTo>
                <a:lnTo>
                  <a:pt x="634" y="16279"/>
                </a:lnTo>
                <a:lnTo>
                  <a:pt x="585" y="15938"/>
                </a:lnTo>
                <a:lnTo>
                  <a:pt x="561" y="15573"/>
                </a:lnTo>
                <a:lnTo>
                  <a:pt x="536" y="15208"/>
                </a:lnTo>
                <a:lnTo>
                  <a:pt x="512" y="14868"/>
                </a:lnTo>
                <a:lnTo>
                  <a:pt x="439" y="14430"/>
                </a:lnTo>
                <a:lnTo>
                  <a:pt x="415" y="13992"/>
                </a:lnTo>
                <a:lnTo>
                  <a:pt x="415" y="13578"/>
                </a:lnTo>
                <a:lnTo>
                  <a:pt x="439" y="13140"/>
                </a:lnTo>
                <a:lnTo>
                  <a:pt x="512" y="11461"/>
                </a:lnTo>
                <a:lnTo>
                  <a:pt x="561" y="10634"/>
                </a:lnTo>
                <a:lnTo>
                  <a:pt x="585" y="9782"/>
                </a:lnTo>
                <a:lnTo>
                  <a:pt x="609" y="8225"/>
                </a:lnTo>
                <a:lnTo>
                  <a:pt x="609" y="6668"/>
                </a:lnTo>
                <a:lnTo>
                  <a:pt x="561" y="5110"/>
                </a:lnTo>
                <a:lnTo>
                  <a:pt x="536" y="4356"/>
                </a:lnTo>
                <a:lnTo>
                  <a:pt x="488" y="3577"/>
                </a:lnTo>
                <a:lnTo>
                  <a:pt x="609" y="3504"/>
                </a:lnTo>
                <a:lnTo>
                  <a:pt x="755" y="3407"/>
                </a:lnTo>
                <a:lnTo>
                  <a:pt x="1145" y="3164"/>
                </a:lnTo>
                <a:lnTo>
                  <a:pt x="1558" y="2920"/>
                </a:lnTo>
                <a:lnTo>
                  <a:pt x="2337" y="2507"/>
                </a:lnTo>
                <a:lnTo>
                  <a:pt x="3116" y="2093"/>
                </a:lnTo>
                <a:lnTo>
                  <a:pt x="3529" y="1850"/>
                </a:lnTo>
                <a:lnTo>
                  <a:pt x="3967" y="1655"/>
                </a:lnTo>
                <a:lnTo>
                  <a:pt x="4405" y="1461"/>
                </a:lnTo>
                <a:lnTo>
                  <a:pt x="4843" y="1290"/>
                </a:lnTo>
                <a:lnTo>
                  <a:pt x="5208" y="1144"/>
                </a:lnTo>
                <a:lnTo>
                  <a:pt x="5549" y="974"/>
                </a:lnTo>
                <a:lnTo>
                  <a:pt x="6206" y="585"/>
                </a:lnTo>
                <a:close/>
                <a:moveTo>
                  <a:pt x="18542" y="804"/>
                </a:moveTo>
                <a:lnTo>
                  <a:pt x="18518" y="1023"/>
                </a:lnTo>
                <a:lnTo>
                  <a:pt x="18518" y="1266"/>
                </a:lnTo>
                <a:lnTo>
                  <a:pt x="18518" y="1752"/>
                </a:lnTo>
                <a:lnTo>
                  <a:pt x="18567" y="2263"/>
                </a:lnTo>
                <a:lnTo>
                  <a:pt x="18567" y="2726"/>
                </a:lnTo>
                <a:lnTo>
                  <a:pt x="18542" y="4648"/>
                </a:lnTo>
                <a:lnTo>
                  <a:pt x="18494" y="6546"/>
                </a:lnTo>
                <a:lnTo>
                  <a:pt x="18469" y="8249"/>
                </a:lnTo>
                <a:lnTo>
                  <a:pt x="18494" y="9952"/>
                </a:lnTo>
                <a:lnTo>
                  <a:pt x="18567" y="13359"/>
                </a:lnTo>
                <a:lnTo>
                  <a:pt x="18542" y="13359"/>
                </a:lnTo>
                <a:lnTo>
                  <a:pt x="18396" y="13505"/>
                </a:lnTo>
                <a:lnTo>
                  <a:pt x="18226" y="13651"/>
                </a:lnTo>
                <a:lnTo>
                  <a:pt x="18031" y="13748"/>
                </a:lnTo>
                <a:lnTo>
                  <a:pt x="17837" y="13846"/>
                </a:lnTo>
                <a:lnTo>
                  <a:pt x="17423" y="14016"/>
                </a:lnTo>
                <a:lnTo>
                  <a:pt x="17009" y="14186"/>
                </a:lnTo>
                <a:lnTo>
                  <a:pt x="16474" y="14454"/>
                </a:lnTo>
                <a:lnTo>
                  <a:pt x="15963" y="14746"/>
                </a:lnTo>
                <a:lnTo>
                  <a:pt x="15452" y="15038"/>
                </a:lnTo>
                <a:lnTo>
                  <a:pt x="14941" y="15330"/>
                </a:lnTo>
                <a:lnTo>
                  <a:pt x="14479" y="15598"/>
                </a:lnTo>
                <a:lnTo>
                  <a:pt x="14016" y="15865"/>
                </a:lnTo>
                <a:lnTo>
                  <a:pt x="13773" y="15987"/>
                </a:lnTo>
                <a:lnTo>
                  <a:pt x="13530" y="16109"/>
                </a:lnTo>
                <a:lnTo>
                  <a:pt x="13286" y="16182"/>
                </a:lnTo>
                <a:lnTo>
                  <a:pt x="13043" y="16255"/>
                </a:lnTo>
                <a:lnTo>
                  <a:pt x="12921" y="16303"/>
                </a:lnTo>
                <a:lnTo>
                  <a:pt x="12921" y="15987"/>
                </a:lnTo>
                <a:lnTo>
                  <a:pt x="12897" y="15671"/>
                </a:lnTo>
                <a:lnTo>
                  <a:pt x="12873" y="15379"/>
                </a:lnTo>
                <a:lnTo>
                  <a:pt x="12848" y="15062"/>
                </a:lnTo>
                <a:lnTo>
                  <a:pt x="12824" y="14770"/>
                </a:lnTo>
                <a:lnTo>
                  <a:pt x="12824" y="14016"/>
                </a:lnTo>
                <a:lnTo>
                  <a:pt x="12848" y="13943"/>
                </a:lnTo>
                <a:lnTo>
                  <a:pt x="12848" y="13894"/>
                </a:lnTo>
                <a:lnTo>
                  <a:pt x="12848" y="13359"/>
                </a:lnTo>
                <a:lnTo>
                  <a:pt x="12946" y="13335"/>
                </a:lnTo>
                <a:lnTo>
                  <a:pt x="13019" y="13310"/>
                </a:lnTo>
                <a:lnTo>
                  <a:pt x="13092" y="13262"/>
                </a:lnTo>
                <a:lnTo>
                  <a:pt x="13140" y="13213"/>
                </a:lnTo>
                <a:lnTo>
                  <a:pt x="13165" y="13116"/>
                </a:lnTo>
                <a:lnTo>
                  <a:pt x="13165" y="13018"/>
                </a:lnTo>
                <a:lnTo>
                  <a:pt x="13116" y="12921"/>
                </a:lnTo>
                <a:lnTo>
                  <a:pt x="13043" y="12872"/>
                </a:lnTo>
                <a:lnTo>
                  <a:pt x="12970" y="12848"/>
                </a:lnTo>
                <a:lnTo>
                  <a:pt x="12873" y="12848"/>
                </a:lnTo>
                <a:lnTo>
                  <a:pt x="12921" y="11826"/>
                </a:lnTo>
                <a:lnTo>
                  <a:pt x="12970" y="10804"/>
                </a:lnTo>
                <a:lnTo>
                  <a:pt x="12970" y="9806"/>
                </a:lnTo>
                <a:lnTo>
                  <a:pt x="12946" y="8809"/>
                </a:lnTo>
                <a:lnTo>
                  <a:pt x="12897" y="7836"/>
                </a:lnTo>
                <a:lnTo>
                  <a:pt x="12897" y="6838"/>
                </a:lnTo>
                <a:lnTo>
                  <a:pt x="12946" y="5986"/>
                </a:lnTo>
                <a:lnTo>
                  <a:pt x="12970" y="5110"/>
                </a:lnTo>
                <a:lnTo>
                  <a:pt x="12970" y="4672"/>
                </a:lnTo>
                <a:lnTo>
                  <a:pt x="12946" y="4234"/>
                </a:lnTo>
                <a:lnTo>
                  <a:pt x="12897" y="3821"/>
                </a:lnTo>
                <a:lnTo>
                  <a:pt x="12800" y="3383"/>
                </a:lnTo>
                <a:lnTo>
                  <a:pt x="13067" y="3285"/>
                </a:lnTo>
                <a:lnTo>
                  <a:pt x="13335" y="3164"/>
                </a:lnTo>
                <a:lnTo>
                  <a:pt x="13603" y="3042"/>
                </a:lnTo>
                <a:lnTo>
                  <a:pt x="13870" y="2920"/>
                </a:lnTo>
                <a:lnTo>
                  <a:pt x="14235" y="2750"/>
                </a:lnTo>
                <a:lnTo>
                  <a:pt x="14600" y="2555"/>
                </a:lnTo>
                <a:lnTo>
                  <a:pt x="15306" y="2142"/>
                </a:lnTo>
                <a:lnTo>
                  <a:pt x="15963" y="1752"/>
                </a:lnTo>
                <a:lnTo>
                  <a:pt x="16304" y="1558"/>
                </a:lnTo>
                <a:lnTo>
                  <a:pt x="16644" y="1388"/>
                </a:lnTo>
                <a:lnTo>
                  <a:pt x="17009" y="1242"/>
                </a:lnTo>
                <a:lnTo>
                  <a:pt x="17350" y="1096"/>
                </a:lnTo>
                <a:lnTo>
                  <a:pt x="17715" y="974"/>
                </a:lnTo>
                <a:lnTo>
                  <a:pt x="18104" y="877"/>
                </a:lnTo>
                <a:lnTo>
                  <a:pt x="18153" y="877"/>
                </a:lnTo>
                <a:lnTo>
                  <a:pt x="18202" y="828"/>
                </a:lnTo>
                <a:lnTo>
                  <a:pt x="18372" y="828"/>
                </a:lnTo>
                <a:lnTo>
                  <a:pt x="18542" y="804"/>
                </a:lnTo>
                <a:close/>
                <a:moveTo>
                  <a:pt x="6279" y="1"/>
                </a:moveTo>
                <a:lnTo>
                  <a:pt x="6206" y="25"/>
                </a:lnTo>
                <a:lnTo>
                  <a:pt x="5403" y="487"/>
                </a:lnTo>
                <a:lnTo>
                  <a:pt x="4989" y="682"/>
                </a:lnTo>
                <a:lnTo>
                  <a:pt x="4551" y="852"/>
                </a:lnTo>
                <a:lnTo>
                  <a:pt x="4113" y="1023"/>
                </a:lnTo>
                <a:lnTo>
                  <a:pt x="3700" y="1217"/>
                </a:lnTo>
                <a:lnTo>
                  <a:pt x="3286" y="1436"/>
                </a:lnTo>
                <a:lnTo>
                  <a:pt x="2872" y="1679"/>
                </a:lnTo>
                <a:lnTo>
                  <a:pt x="2021" y="2117"/>
                </a:lnTo>
                <a:lnTo>
                  <a:pt x="1607" y="2361"/>
                </a:lnTo>
                <a:lnTo>
                  <a:pt x="1193" y="2604"/>
                </a:lnTo>
                <a:lnTo>
                  <a:pt x="974" y="2726"/>
                </a:lnTo>
                <a:lnTo>
                  <a:pt x="731" y="2896"/>
                </a:lnTo>
                <a:lnTo>
                  <a:pt x="488" y="3066"/>
                </a:lnTo>
                <a:lnTo>
                  <a:pt x="390" y="3188"/>
                </a:lnTo>
                <a:lnTo>
                  <a:pt x="317" y="3285"/>
                </a:lnTo>
                <a:lnTo>
                  <a:pt x="269" y="3310"/>
                </a:lnTo>
                <a:lnTo>
                  <a:pt x="220" y="3358"/>
                </a:lnTo>
                <a:lnTo>
                  <a:pt x="171" y="3480"/>
                </a:lnTo>
                <a:lnTo>
                  <a:pt x="123" y="3626"/>
                </a:lnTo>
                <a:lnTo>
                  <a:pt x="98" y="3894"/>
                </a:lnTo>
                <a:lnTo>
                  <a:pt x="98" y="4186"/>
                </a:lnTo>
                <a:lnTo>
                  <a:pt x="123" y="4453"/>
                </a:lnTo>
                <a:lnTo>
                  <a:pt x="147" y="5329"/>
                </a:lnTo>
                <a:lnTo>
                  <a:pt x="171" y="6205"/>
                </a:lnTo>
                <a:lnTo>
                  <a:pt x="171" y="8006"/>
                </a:lnTo>
                <a:lnTo>
                  <a:pt x="147" y="9782"/>
                </a:lnTo>
                <a:lnTo>
                  <a:pt x="123" y="10658"/>
                </a:lnTo>
                <a:lnTo>
                  <a:pt x="98" y="11558"/>
                </a:lnTo>
                <a:lnTo>
                  <a:pt x="1" y="13335"/>
                </a:lnTo>
                <a:lnTo>
                  <a:pt x="1" y="13700"/>
                </a:lnTo>
                <a:lnTo>
                  <a:pt x="1" y="14065"/>
                </a:lnTo>
                <a:lnTo>
                  <a:pt x="25" y="14454"/>
                </a:lnTo>
                <a:lnTo>
                  <a:pt x="50" y="14819"/>
                </a:lnTo>
                <a:lnTo>
                  <a:pt x="98" y="15233"/>
                </a:lnTo>
                <a:lnTo>
                  <a:pt x="123" y="15646"/>
                </a:lnTo>
                <a:lnTo>
                  <a:pt x="147" y="16060"/>
                </a:lnTo>
                <a:lnTo>
                  <a:pt x="171" y="16255"/>
                </a:lnTo>
                <a:lnTo>
                  <a:pt x="220" y="16474"/>
                </a:lnTo>
                <a:lnTo>
                  <a:pt x="244" y="16547"/>
                </a:lnTo>
                <a:lnTo>
                  <a:pt x="317" y="16595"/>
                </a:lnTo>
                <a:lnTo>
                  <a:pt x="390" y="16620"/>
                </a:lnTo>
                <a:lnTo>
                  <a:pt x="463" y="16620"/>
                </a:lnTo>
                <a:lnTo>
                  <a:pt x="536" y="16644"/>
                </a:lnTo>
                <a:lnTo>
                  <a:pt x="707" y="16620"/>
                </a:lnTo>
                <a:lnTo>
                  <a:pt x="877" y="16595"/>
                </a:lnTo>
                <a:lnTo>
                  <a:pt x="1218" y="16474"/>
                </a:lnTo>
                <a:lnTo>
                  <a:pt x="1850" y="16230"/>
                </a:lnTo>
                <a:lnTo>
                  <a:pt x="2240" y="16060"/>
                </a:lnTo>
                <a:lnTo>
                  <a:pt x="2605" y="15890"/>
                </a:lnTo>
                <a:lnTo>
                  <a:pt x="2970" y="15719"/>
                </a:lnTo>
                <a:lnTo>
                  <a:pt x="3310" y="15525"/>
                </a:lnTo>
                <a:lnTo>
                  <a:pt x="4064" y="15062"/>
                </a:lnTo>
                <a:lnTo>
                  <a:pt x="4819" y="14624"/>
                </a:lnTo>
                <a:lnTo>
                  <a:pt x="5549" y="14162"/>
                </a:lnTo>
                <a:lnTo>
                  <a:pt x="5938" y="13967"/>
                </a:lnTo>
                <a:lnTo>
                  <a:pt x="6327" y="13748"/>
                </a:lnTo>
                <a:lnTo>
                  <a:pt x="6400" y="13821"/>
                </a:lnTo>
                <a:lnTo>
                  <a:pt x="6473" y="13870"/>
                </a:lnTo>
                <a:lnTo>
                  <a:pt x="6546" y="13894"/>
                </a:lnTo>
                <a:lnTo>
                  <a:pt x="6644" y="13870"/>
                </a:lnTo>
                <a:lnTo>
                  <a:pt x="6741" y="13992"/>
                </a:lnTo>
                <a:lnTo>
                  <a:pt x="6863" y="14089"/>
                </a:lnTo>
                <a:lnTo>
                  <a:pt x="7130" y="14259"/>
                </a:lnTo>
                <a:lnTo>
                  <a:pt x="7422" y="14405"/>
                </a:lnTo>
                <a:lnTo>
                  <a:pt x="7690" y="14551"/>
                </a:lnTo>
                <a:lnTo>
                  <a:pt x="8517" y="14916"/>
                </a:lnTo>
                <a:lnTo>
                  <a:pt x="9345" y="15306"/>
                </a:lnTo>
                <a:lnTo>
                  <a:pt x="10878" y="16011"/>
                </a:lnTo>
                <a:lnTo>
                  <a:pt x="11656" y="16352"/>
                </a:lnTo>
                <a:lnTo>
                  <a:pt x="12435" y="16644"/>
                </a:lnTo>
                <a:lnTo>
                  <a:pt x="12459" y="16668"/>
                </a:lnTo>
                <a:lnTo>
                  <a:pt x="12508" y="16741"/>
                </a:lnTo>
                <a:lnTo>
                  <a:pt x="12581" y="16766"/>
                </a:lnTo>
                <a:lnTo>
                  <a:pt x="12678" y="16766"/>
                </a:lnTo>
                <a:lnTo>
                  <a:pt x="12751" y="16741"/>
                </a:lnTo>
                <a:lnTo>
                  <a:pt x="12800" y="16693"/>
                </a:lnTo>
                <a:lnTo>
                  <a:pt x="12897" y="16717"/>
                </a:lnTo>
                <a:lnTo>
                  <a:pt x="13019" y="16717"/>
                </a:lnTo>
                <a:lnTo>
                  <a:pt x="13286" y="16668"/>
                </a:lnTo>
                <a:lnTo>
                  <a:pt x="13530" y="16595"/>
                </a:lnTo>
                <a:lnTo>
                  <a:pt x="13724" y="16522"/>
                </a:lnTo>
                <a:lnTo>
                  <a:pt x="14211" y="16279"/>
                </a:lnTo>
                <a:lnTo>
                  <a:pt x="14698" y="16036"/>
                </a:lnTo>
                <a:lnTo>
                  <a:pt x="15647" y="15500"/>
                </a:lnTo>
                <a:lnTo>
                  <a:pt x="16596" y="14965"/>
                </a:lnTo>
                <a:lnTo>
                  <a:pt x="17058" y="14697"/>
                </a:lnTo>
                <a:lnTo>
                  <a:pt x="17545" y="14478"/>
                </a:lnTo>
                <a:lnTo>
                  <a:pt x="17885" y="14332"/>
                </a:lnTo>
                <a:lnTo>
                  <a:pt x="18226" y="14186"/>
                </a:lnTo>
                <a:lnTo>
                  <a:pt x="18542" y="14016"/>
                </a:lnTo>
                <a:lnTo>
                  <a:pt x="18688" y="13894"/>
                </a:lnTo>
                <a:lnTo>
                  <a:pt x="18834" y="13773"/>
                </a:lnTo>
                <a:lnTo>
                  <a:pt x="18883" y="13748"/>
                </a:lnTo>
                <a:lnTo>
                  <a:pt x="18932" y="13724"/>
                </a:lnTo>
                <a:lnTo>
                  <a:pt x="18980" y="13651"/>
                </a:lnTo>
                <a:lnTo>
                  <a:pt x="18980" y="13578"/>
                </a:lnTo>
                <a:lnTo>
                  <a:pt x="18980" y="12726"/>
                </a:lnTo>
                <a:lnTo>
                  <a:pt x="18956" y="11875"/>
                </a:lnTo>
                <a:lnTo>
                  <a:pt x="18883" y="10171"/>
                </a:lnTo>
                <a:lnTo>
                  <a:pt x="18859" y="9271"/>
                </a:lnTo>
                <a:lnTo>
                  <a:pt x="18859" y="8347"/>
                </a:lnTo>
                <a:lnTo>
                  <a:pt x="18883" y="6546"/>
                </a:lnTo>
                <a:lnTo>
                  <a:pt x="18932" y="4648"/>
                </a:lnTo>
                <a:lnTo>
                  <a:pt x="18956" y="2726"/>
                </a:lnTo>
                <a:lnTo>
                  <a:pt x="18980" y="2215"/>
                </a:lnTo>
                <a:lnTo>
                  <a:pt x="18980" y="1679"/>
                </a:lnTo>
                <a:lnTo>
                  <a:pt x="18932" y="1144"/>
                </a:lnTo>
                <a:lnTo>
                  <a:pt x="18883" y="901"/>
                </a:lnTo>
                <a:lnTo>
                  <a:pt x="18834" y="633"/>
                </a:lnTo>
                <a:lnTo>
                  <a:pt x="18883" y="585"/>
                </a:lnTo>
                <a:lnTo>
                  <a:pt x="18883" y="512"/>
                </a:lnTo>
                <a:lnTo>
                  <a:pt x="18883" y="439"/>
                </a:lnTo>
                <a:lnTo>
                  <a:pt x="18834" y="366"/>
                </a:lnTo>
                <a:lnTo>
                  <a:pt x="18761" y="293"/>
                </a:lnTo>
                <a:lnTo>
                  <a:pt x="18664" y="244"/>
                </a:lnTo>
                <a:lnTo>
                  <a:pt x="18421" y="244"/>
                </a:lnTo>
                <a:lnTo>
                  <a:pt x="18177" y="317"/>
                </a:lnTo>
                <a:lnTo>
                  <a:pt x="17958" y="414"/>
                </a:lnTo>
                <a:lnTo>
                  <a:pt x="17715" y="487"/>
                </a:lnTo>
                <a:lnTo>
                  <a:pt x="17374" y="585"/>
                </a:lnTo>
                <a:lnTo>
                  <a:pt x="17058" y="706"/>
                </a:lnTo>
                <a:lnTo>
                  <a:pt x="16742" y="828"/>
                </a:lnTo>
                <a:lnTo>
                  <a:pt x="16425" y="974"/>
                </a:lnTo>
                <a:lnTo>
                  <a:pt x="15817" y="1290"/>
                </a:lnTo>
                <a:lnTo>
                  <a:pt x="15209" y="1655"/>
                </a:lnTo>
                <a:lnTo>
                  <a:pt x="14479" y="2117"/>
                </a:lnTo>
                <a:lnTo>
                  <a:pt x="14089" y="2312"/>
                </a:lnTo>
                <a:lnTo>
                  <a:pt x="13700" y="2507"/>
                </a:lnTo>
                <a:lnTo>
                  <a:pt x="13432" y="2628"/>
                </a:lnTo>
                <a:lnTo>
                  <a:pt x="13165" y="2750"/>
                </a:lnTo>
                <a:lnTo>
                  <a:pt x="12897" y="2920"/>
                </a:lnTo>
                <a:lnTo>
                  <a:pt x="12654" y="3091"/>
                </a:lnTo>
                <a:lnTo>
                  <a:pt x="12532" y="2969"/>
                </a:lnTo>
                <a:lnTo>
                  <a:pt x="12386" y="2896"/>
                </a:lnTo>
                <a:lnTo>
                  <a:pt x="12070" y="2750"/>
                </a:lnTo>
                <a:lnTo>
                  <a:pt x="11875" y="2653"/>
                </a:lnTo>
                <a:lnTo>
                  <a:pt x="11705" y="2555"/>
                </a:lnTo>
                <a:lnTo>
                  <a:pt x="11316" y="2336"/>
                </a:lnTo>
                <a:lnTo>
                  <a:pt x="11072" y="2190"/>
                </a:lnTo>
                <a:lnTo>
                  <a:pt x="10805" y="2093"/>
                </a:lnTo>
                <a:lnTo>
                  <a:pt x="10294" y="1874"/>
                </a:lnTo>
                <a:lnTo>
                  <a:pt x="9758" y="1679"/>
                </a:lnTo>
                <a:lnTo>
                  <a:pt x="9223" y="1485"/>
                </a:lnTo>
                <a:lnTo>
                  <a:pt x="8298" y="1071"/>
                </a:lnTo>
                <a:lnTo>
                  <a:pt x="7836" y="852"/>
                </a:lnTo>
                <a:lnTo>
                  <a:pt x="7398" y="609"/>
                </a:lnTo>
                <a:lnTo>
                  <a:pt x="7325" y="536"/>
                </a:lnTo>
                <a:lnTo>
                  <a:pt x="7228" y="439"/>
                </a:lnTo>
                <a:lnTo>
                  <a:pt x="7057" y="244"/>
                </a:lnTo>
                <a:lnTo>
                  <a:pt x="6936" y="147"/>
                </a:lnTo>
                <a:lnTo>
                  <a:pt x="6838" y="74"/>
                </a:lnTo>
                <a:lnTo>
                  <a:pt x="6741" y="25"/>
                </a:lnTo>
                <a:lnTo>
                  <a:pt x="6619" y="25"/>
                </a:lnTo>
                <a:lnTo>
                  <a:pt x="6571" y="1"/>
                </a:lnTo>
                <a:lnTo>
                  <a:pt x="6498" y="1"/>
                </a:lnTo>
                <a:lnTo>
                  <a:pt x="6449" y="25"/>
                </a:lnTo>
                <a:lnTo>
                  <a:pt x="640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 name="TextBox 5">
            <a:extLst>
              <a:ext uri="{FF2B5EF4-FFF2-40B4-BE49-F238E27FC236}">
                <a16:creationId xmlns:a16="http://schemas.microsoft.com/office/drawing/2014/main" id="{93E8960D-5048-189B-9A40-01324438A285}"/>
              </a:ext>
            </a:extLst>
          </p:cNvPr>
          <p:cNvSpPr txBox="1"/>
          <p:nvPr/>
        </p:nvSpPr>
        <p:spPr>
          <a:xfrm>
            <a:off x="278658" y="1616029"/>
            <a:ext cx="7131792" cy="430887"/>
          </a:xfrm>
          <a:prstGeom prst="rect">
            <a:avLst/>
          </a:prstGeom>
          <a:noFill/>
        </p:spPr>
        <p:txBody>
          <a:bodyPr wrap="square">
            <a:spAutoFit/>
          </a:bodyPr>
          <a:lstStyle/>
          <a:p>
            <a:pPr lvl="0" algn="l">
              <a:spcBef>
                <a:spcPts val="0"/>
              </a:spcBef>
              <a:spcAft>
                <a:spcPts val="0"/>
              </a:spcAft>
            </a:pPr>
            <a:r>
              <a:rPr lang="da-DK" sz="2200" b="1">
                <a:latin typeface="Amatic SC"/>
                <a:cs typeface="Amatic SC"/>
                <a:sym typeface="Quicksand"/>
              </a:rPr>
              <a:t>Evalueringen viser, at:</a:t>
            </a:r>
            <a:endParaRPr lang="da-DK" sz="2200" b="1">
              <a:latin typeface="Quicksand"/>
              <a:ea typeface="Quicksand"/>
              <a:cs typeface="Quicksand"/>
              <a:sym typeface="Quicksand"/>
            </a:endParaRPr>
          </a:p>
        </p:txBody>
      </p:sp>
      <p:sp>
        <p:nvSpPr>
          <p:cNvPr id="3" name="Oval 5">
            <a:extLst>
              <a:ext uri="{FF2B5EF4-FFF2-40B4-BE49-F238E27FC236}">
                <a16:creationId xmlns:a16="http://schemas.microsoft.com/office/drawing/2014/main" id="{E304D12D-4C60-EA41-FDD5-9AC4CCF18EBA}"/>
              </a:ext>
            </a:extLst>
          </p:cNvPr>
          <p:cNvSpPr/>
          <p:nvPr/>
        </p:nvSpPr>
        <p:spPr>
          <a:xfrm>
            <a:off x="346519" y="2326640"/>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1</a:t>
            </a:r>
            <a:endParaRPr lang="da-DK" sz="2000" noProof="0" dirty="0">
              <a:latin typeface="Quicksand" panose="020B0604020202020204" charset="0"/>
              <a:cs typeface="Quicksand" panose="020B0604020202020204" charset="0"/>
            </a:endParaRPr>
          </a:p>
        </p:txBody>
      </p:sp>
      <p:sp>
        <p:nvSpPr>
          <p:cNvPr id="9" name="Oval 6">
            <a:extLst>
              <a:ext uri="{FF2B5EF4-FFF2-40B4-BE49-F238E27FC236}">
                <a16:creationId xmlns:a16="http://schemas.microsoft.com/office/drawing/2014/main" id="{152EB922-DB34-BD02-24B7-19B6132CAED3}"/>
              </a:ext>
            </a:extLst>
          </p:cNvPr>
          <p:cNvSpPr/>
          <p:nvPr/>
        </p:nvSpPr>
        <p:spPr>
          <a:xfrm>
            <a:off x="346519" y="3042490"/>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11" name="Oval 7">
            <a:extLst>
              <a:ext uri="{FF2B5EF4-FFF2-40B4-BE49-F238E27FC236}">
                <a16:creationId xmlns:a16="http://schemas.microsoft.com/office/drawing/2014/main" id="{F6563514-BCB8-39AD-BC61-AF648F22E3B2}"/>
              </a:ext>
            </a:extLst>
          </p:cNvPr>
          <p:cNvSpPr/>
          <p:nvPr/>
        </p:nvSpPr>
        <p:spPr>
          <a:xfrm>
            <a:off x="346519" y="3756993"/>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spTree>
    <p:extLst>
      <p:ext uri="{BB962C8B-B14F-4D97-AF65-F5344CB8AC3E}">
        <p14:creationId xmlns:p14="http://schemas.microsoft.com/office/powerpoint/2010/main" val="9117879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14</a:t>
            </a:fld>
            <a:endParaRPr lang="da-DK"/>
          </a:p>
        </p:txBody>
      </p:sp>
      <p:sp>
        <p:nvSpPr>
          <p:cNvPr id="2" name="Slide Number Placeholder 3">
            <a:extLst>
              <a:ext uri="{FF2B5EF4-FFF2-40B4-BE49-F238E27FC236}">
                <a16:creationId xmlns:a16="http://schemas.microsoft.com/office/drawing/2014/main" id="{ED641A61-E366-695E-1407-D39F7C4A0DF4}"/>
              </a:ext>
            </a:extLst>
          </p:cNvPr>
          <p:cNvSpPr txBox="1">
            <a:spLocks/>
          </p:cNvSpPr>
          <p:nvPr/>
        </p:nvSpPr>
        <p:spPr>
          <a:xfrm>
            <a:off x="11206800" y="5242183"/>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Google Shape;846;p29">
            <a:extLst>
              <a:ext uri="{FF2B5EF4-FFF2-40B4-BE49-F238E27FC236}">
                <a16:creationId xmlns:a16="http://schemas.microsoft.com/office/drawing/2014/main" id="{50228FE9-2C29-4994-F9DB-F65B9358102D}"/>
              </a:ext>
            </a:extLst>
          </p:cNvPr>
          <p:cNvSpPr/>
          <p:nvPr/>
        </p:nvSpPr>
        <p:spPr>
          <a:xfrm>
            <a:off x="-1" y="347307"/>
            <a:ext cx="863030" cy="1010150"/>
          </a:xfrm>
          <a:prstGeom prst="homePlate">
            <a:avLst>
              <a:gd name="adj" fmla="val 50000"/>
            </a:avLst>
          </a:prstGeom>
          <a:solidFill>
            <a:schemeClr val="accent6"/>
          </a:solidFill>
          <a:ln>
            <a:noFill/>
          </a:ln>
        </p:spPr>
        <p:txBody>
          <a:bodyPr spcFirstLastPara="1" wrap="square" lIns="396000"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12" name="Google Shape;843;p29">
            <a:extLst>
              <a:ext uri="{FF2B5EF4-FFF2-40B4-BE49-F238E27FC236}">
                <a16:creationId xmlns:a16="http://schemas.microsoft.com/office/drawing/2014/main" id="{017D1C16-919E-15D6-36C3-28DA1B401F7F}"/>
              </a:ext>
            </a:extLst>
          </p:cNvPr>
          <p:cNvSpPr/>
          <p:nvPr/>
        </p:nvSpPr>
        <p:spPr>
          <a:xfrm>
            <a:off x="1" y="347492"/>
            <a:ext cx="12192000" cy="1019120"/>
          </a:xfrm>
          <a:prstGeom prst="chevron">
            <a:avLst>
              <a:gd name="adj" fmla="val 50000"/>
            </a:avLst>
          </a:prstGeom>
          <a:solidFill>
            <a:schemeClr val="accent6"/>
          </a:solidFill>
          <a:ln>
            <a:noFill/>
          </a:ln>
        </p:spPr>
        <p:txBody>
          <a:bodyPr spcFirstLastPara="1" wrap="square" lIns="91425" tIns="91425" rIns="91425" bIns="91425" anchor="ctr" anchorCtr="0">
            <a:noAutofit/>
          </a:bodyPr>
          <a:lstStyle/>
          <a:p>
            <a:pPr marL="0" lvl="0" indent="0" algn="ctr">
              <a:spcBef>
                <a:spcPts val="0"/>
              </a:spcBef>
              <a:spcAft>
                <a:spcPts val="0"/>
              </a:spcAft>
              <a:buNone/>
            </a:pPr>
            <a:r>
              <a:rPr lang="da-DK" sz="3200" b="1" dirty="0">
                <a:solidFill>
                  <a:schemeClr val="bg1"/>
                </a:solidFill>
                <a:latin typeface="Amatic SC"/>
                <a:ea typeface="Amatic SC"/>
                <a:cs typeface="Amatic SC"/>
                <a:sym typeface="Amatic SC"/>
              </a:rPr>
              <a:t>Teams er gode til at sætte prøvehandlinger i søen, </a:t>
            </a:r>
            <a:br>
              <a:rPr lang="da-DK" sz="3200" b="1" dirty="0">
                <a:solidFill>
                  <a:schemeClr val="bg1"/>
                </a:solidFill>
                <a:latin typeface="Amatic SC"/>
                <a:ea typeface="Amatic SC"/>
                <a:cs typeface="Amatic SC"/>
                <a:sym typeface="Amatic SC"/>
              </a:rPr>
            </a:br>
            <a:r>
              <a:rPr lang="da-DK" sz="3200" b="1" dirty="0">
                <a:solidFill>
                  <a:schemeClr val="bg1"/>
                </a:solidFill>
                <a:latin typeface="Amatic SC"/>
                <a:ea typeface="Amatic SC"/>
                <a:cs typeface="Amatic SC"/>
                <a:sym typeface="Amatic SC"/>
              </a:rPr>
              <a:t>men følger sjældent systematisk op på dem</a:t>
            </a:r>
          </a:p>
        </p:txBody>
      </p:sp>
      <p:sp>
        <p:nvSpPr>
          <p:cNvPr id="15" name="Google Shape;843;p29">
            <a:extLst>
              <a:ext uri="{FF2B5EF4-FFF2-40B4-BE49-F238E27FC236}">
                <a16:creationId xmlns:a16="http://schemas.microsoft.com/office/drawing/2014/main" id="{485B8004-BD36-C2C3-1A99-7BEBEEF0A6E2}"/>
              </a:ext>
            </a:extLst>
          </p:cNvPr>
          <p:cNvSpPr/>
          <p:nvPr/>
        </p:nvSpPr>
        <p:spPr>
          <a:xfrm>
            <a:off x="11591636" y="347492"/>
            <a:ext cx="600363" cy="1019120"/>
          </a:xfrm>
          <a:prstGeom prst="rect">
            <a:avLst/>
          </a:prstGeom>
          <a:solidFill>
            <a:schemeClr val="accent6"/>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16" name="Google Shape;843;p29">
            <a:extLst>
              <a:ext uri="{FF2B5EF4-FFF2-40B4-BE49-F238E27FC236}">
                <a16:creationId xmlns:a16="http://schemas.microsoft.com/office/drawing/2014/main" id="{DE4068FB-1745-9AA5-9935-0DC296F34596}"/>
              </a:ext>
            </a:extLst>
          </p:cNvPr>
          <p:cNvSpPr/>
          <p:nvPr/>
        </p:nvSpPr>
        <p:spPr>
          <a:xfrm>
            <a:off x="11033835" y="347677"/>
            <a:ext cx="1067334" cy="1019120"/>
          </a:xfrm>
          <a:prstGeom prst="chevron">
            <a:avLst>
              <a:gd name="adj" fmla="val 50000"/>
            </a:avLst>
          </a:prstGeom>
          <a:solidFill>
            <a:schemeClr val="accent6"/>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13" name="Rectangle 12">
            <a:extLst>
              <a:ext uri="{FF2B5EF4-FFF2-40B4-BE49-F238E27FC236}">
                <a16:creationId xmlns:a16="http://schemas.microsoft.com/office/drawing/2014/main" id="{89920114-6AEC-4471-34CF-BF5FFBE4C1F2}"/>
              </a:ext>
            </a:extLst>
          </p:cNvPr>
          <p:cNvSpPr/>
          <p:nvPr/>
        </p:nvSpPr>
        <p:spPr>
          <a:xfrm>
            <a:off x="6525730" y="1724400"/>
            <a:ext cx="5065906" cy="460800"/>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ctr"/>
            <a:r>
              <a:rPr lang="da-DK" sz="2000" b="1" dirty="0">
                <a:solidFill>
                  <a:schemeClr val="tx1"/>
                </a:solidFill>
                <a:latin typeface="Amatic SC" panose="00000500000000000000" pitchFamily="2" charset="-79"/>
                <a:cs typeface="Amatic SC" panose="00000500000000000000" pitchFamily="2" charset="-79"/>
              </a:rPr>
              <a:t> Fremadrettet kan det styrke praksis, at…</a:t>
            </a:r>
            <a:endParaRPr lang="da-DK" sz="2000" b="1" noProof="0" dirty="0">
              <a:solidFill>
                <a:schemeClr val="tx1"/>
              </a:solidFill>
              <a:latin typeface="Amatic SC" panose="00000500000000000000" pitchFamily="2" charset="-79"/>
              <a:cs typeface="Amatic SC" panose="00000500000000000000" pitchFamily="2" charset="-79"/>
            </a:endParaRPr>
          </a:p>
        </p:txBody>
      </p:sp>
      <p:sp>
        <p:nvSpPr>
          <p:cNvPr id="17" name="Rectangle 16">
            <a:extLst>
              <a:ext uri="{FF2B5EF4-FFF2-40B4-BE49-F238E27FC236}">
                <a16:creationId xmlns:a16="http://schemas.microsoft.com/office/drawing/2014/main" id="{D432FFD3-ABB7-DB0E-4451-0EC98AF2D4DD}"/>
              </a:ext>
            </a:extLst>
          </p:cNvPr>
          <p:cNvSpPr/>
          <p:nvPr/>
        </p:nvSpPr>
        <p:spPr>
          <a:xfrm>
            <a:off x="6525730" y="2185200"/>
            <a:ext cx="5065906" cy="251835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08000" bIns="36000" rtlCol="0" anchor="t"/>
          <a:lstStyle/>
          <a:p>
            <a:pPr marL="216000"/>
            <a:br>
              <a:rPr lang="da-DK" sz="1400" dirty="0">
                <a:solidFill>
                  <a:schemeClr val="tx1"/>
                </a:solidFill>
                <a:latin typeface="Quicksand" panose="020B0604020202020204" charset="0"/>
                <a:cs typeface="Quicksand" panose="020B0604020202020204" charset="0"/>
              </a:rPr>
            </a:br>
            <a:r>
              <a:rPr lang="da-DK" sz="1400" dirty="0">
                <a:solidFill>
                  <a:schemeClr val="tx1"/>
                </a:solidFill>
                <a:latin typeface="Quicksand" panose="020B0604020202020204"/>
              </a:rPr>
              <a:t>… </a:t>
            </a:r>
            <a:r>
              <a:rPr lang="da-DK" sz="1400" dirty="0">
                <a:solidFill>
                  <a:schemeClr val="tx1"/>
                </a:solidFill>
                <a:latin typeface="Quicksand" panose="020B0604020202020204" charset="0"/>
                <a:cs typeface="Quicksand" panose="020B0604020202020204" charset="0"/>
              </a:rPr>
              <a:t>skriftliggøre intentionen med prøvehandlingen og skabe </a:t>
            </a:r>
            <a:r>
              <a:rPr lang="da-DK" sz="1400" b="1" dirty="0">
                <a:solidFill>
                  <a:schemeClr val="tx1"/>
                </a:solidFill>
                <a:latin typeface="Quicksand" panose="020B0604020202020204" charset="0"/>
                <a:cs typeface="Quicksand" panose="020B0604020202020204" charset="0"/>
              </a:rPr>
              <a:t>simpel struktur for opfølgning.</a:t>
            </a:r>
            <a:endParaRPr lang="da-DK" sz="1400" dirty="0">
              <a:solidFill>
                <a:schemeClr val="tx1"/>
              </a:solidFill>
              <a:latin typeface="Quicksand" panose="020B0604020202020204" charset="0"/>
              <a:cs typeface="Quicksand" panose="020B0604020202020204" charset="0"/>
            </a:endParaRPr>
          </a:p>
          <a:p>
            <a:pPr marL="216000"/>
            <a:endParaRPr lang="da-DK" sz="1400" dirty="0">
              <a:solidFill>
                <a:schemeClr val="tx1"/>
              </a:solidFill>
              <a:latin typeface="Quicksand" panose="020B0604020202020204" charset="0"/>
            </a:endParaRPr>
          </a:p>
          <a:p>
            <a:pPr marL="216000"/>
            <a:r>
              <a:rPr lang="da-DK" sz="1400" dirty="0">
                <a:solidFill>
                  <a:schemeClr val="tx1"/>
                </a:solidFill>
                <a:latin typeface="Quicksand" panose="020B0604020202020204" charset="0"/>
              </a:rPr>
              <a:t>… inddrage kolleger, ressourcepersoner eller ledere i praksisudviklingen. Fx ved at </a:t>
            </a:r>
            <a:r>
              <a:rPr lang="da-DK" sz="1400" b="1" dirty="0">
                <a:solidFill>
                  <a:schemeClr val="tx1"/>
                </a:solidFill>
                <a:latin typeface="Quicksand" panose="020B0604020202020204" charset="0"/>
              </a:rPr>
              <a:t>anvende</a:t>
            </a:r>
            <a:r>
              <a:rPr lang="da-DK" sz="1400" dirty="0">
                <a:solidFill>
                  <a:schemeClr val="tx1"/>
                </a:solidFill>
                <a:latin typeface="Quicksand" panose="020B0604020202020204" charset="0"/>
              </a:rPr>
              <a:t> </a:t>
            </a:r>
            <a:r>
              <a:rPr lang="da-DK" sz="1400" b="1" dirty="0">
                <a:solidFill>
                  <a:schemeClr val="tx1"/>
                </a:solidFill>
                <a:latin typeface="Quicksand" panose="020B0604020202020204" charset="0"/>
              </a:rPr>
              <a:t>observation</a:t>
            </a:r>
            <a:r>
              <a:rPr lang="da-DK" sz="1400" dirty="0">
                <a:solidFill>
                  <a:schemeClr val="tx1"/>
                </a:solidFill>
                <a:latin typeface="Quicksand" panose="020B0604020202020204" charset="0"/>
              </a:rPr>
              <a:t> som genstand for læring.</a:t>
            </a:r>
            <a:br>
              <a:rPr lang="da-DK" sz="1400" dirty="0">
                <a:solidFill>
                  <a:schemeClr val="tx1"/>
                </a:solidFill>
                <a:latin typeface="Quicksand" panose="020B0604020202020204" charset="0"/>
              </a:rPr>
            </a:br>
            <a:endParaRPr lang="da-DK" sz="1400" dirty="0">
              <a:solidFill>
                <a:schemeClr val="tx1"/>
              </a:solidFill>
              <a:latin typeface="Quicksand" panose="020B0604020202020204"/>
              <a:cs typeface="Quicksand" panose="020B0604020202020204" charset="0"/>
            </a:endParaRPr>
          </a:p>
          <a:p>
            <a:pPr marL="216000"/>
            <a:r>
              <a:rPr lang="da-DK" sz="1400" dirty="0">
                <a:solidFill>
                  <a:schemeClr val="tx1"/>
                </a:solidFill>
                <a:latin typeface="Quicksand" panose="020B0604020202020204" charset="0"/>
              </a:rPr>
              <a:t>… </a:t>
            </a:r>
            <a:r>
              <a:rPr lang="da-DK" sz="1400" b="1" dirty="0">
                <a:solidFill>
                  <a:schemeClr val="tx1"/>
                </a:solidFill>
                <a:latin typeface="Quicksand" panose="020B0604020202020204" charset="0"/>
              </a:rPr>
              <a:t>være nysgerrig på elevernes perspektiver </a:t>
            </a:r>
            <a:r>
              <a:rPr lang="da-DK" sz="1400" dirty="0">
                <a:solidFill>
                  <a:schemeClr val="tx1"/>
                </a:solidFill>
                <a:latin typeface="Quicksand" panose="020B0604020202020204" charset="0"/>
              </a:rPr>
              <a:t>i planlægning, afprøvning og evaluering af prøvehandlinger.</a:t>
            </a:r>
          </a:p>
          <a:p>
            <a:pPr marL="216000"/>
            <a:endParaRPr lang="da-DK" sz="1400" dirty="0">
              <a:solidFill>
                <a:schemeClr val="tx1"/>
              </a:solidFill>
              <a:latin typeface="Quicksand" panose="020B0604020202020204" charset="0"/>
              <a:cs typeface="Quicksand" panose="020B0604020202020204" charset="0"/>
            </a:endParaRPr>
          </a:p>
          <a:p>
            <a:pPr marL="216000"/>
            <a:endParaRPr lang="da-DK" sz="1400" dirty="0">
              <a:solidFill>
                <a:schemeClr val="tx1"/>
              </a:solidFill>
              <a:latin typeface="Quicksand" panose="020B0604020202020204" charset="0"/>
              <a:cs typeface="Quicksand" panose="020B0604020202020204" charset="0"/>
            </a:endParaRPr>
          </a:p>
          <a:p>
            <a:pPr marL="216000"/>
            <a:endParaRPr lang="da-DK" sz="1400" dirty="0">
              <a:solidFill>
                <a:schemeClr val="tx1"/>
              </a:solidFill>
              <a:latin typeface="Quicksand" panose="020B0604020202020204" charset="0"/>
            </a:endParaRPr>
          </a:p>
          <a:p>
            <a:pPr marL="216000"/>
            <a:endParaRPr lang="da-DK" sz="1400" dirty="0">
              <a:solidFill>
                <a:schemeClr val="tx1"/>
              </a:solidFill>
              <a:latin typeface="Quicksand" panose="020B0604020202020204" charset="0"/>
            </a:endParaRPr>
          </a:p>
          <a:p>
            <a:pPr marL="216000"/>
            <a:endParaRPr lang="da-DK" sz="1500" dirty="0">
              <a:solidFill>
                <a:schemeClr val="tx1"/>
              </a:solidFill>
              <a:latin typeface="Quicksand" panose="020B0604020202020204" charset="0"/>
            </a:endParaRPr>
          </a:p>
        </p:txBody>
      </p:sp>
      <p:sp>
        <p:nvSpPr>
          <p:cNvPr id="18" name="Google Shape;1217;p48">
            <a:extLst>
              <a:ext uri="{FF2B5EF4-FFF2-40B4-BE49-F238E27FC236}">
                <a16:creationId xmlns:a16="http://schemas.microsoft.com/office/drawing/2014/main" id="{0638E998-CC92-D26B-768D-AF4E83F58C39}"/>
              </a:ext>
            </a:extLst>
          </p:cNvPr>
          <p:cNvSpPr/>
          <p:nvPr/>
        </p:nvSpPr>
        <p:spPr>
          <a:xfrm>
            <a:off x="7040617" y="1807031"/>
            <a:ext cx="321251" cy="269060"/>
          </a:xfrm>
          <a:custGeom>
            <a:avLst/>
            <a:gdLst/>
            <a:ahLst/>
            <a:cxnLst/>
            <a:rect l="l" t="t" r="r" b="b"/>
            <a:pathLst>
              <a:path w="18981" h="16766" extrusionOk="0">
                <a:moveTo>
                  <a:pt x="5451" y="5475"/>
                </a:moveTo>
                <a:lnTo>
                  <a:pt x="5257" y="5548"/>
                </a:lnTo>
                <a:lnTo>
                  <a:pt x="5159" y="5597"/>
                </a:lnTo>
                <a:lnTo>
                  <a:pt x="5062" y="5670"/>
                </a:lnTo>
                <a:lnTo>
                  <a:pt x="5013" y="5743"/>
                </a:lnTo>
                <a:lnTo>
                  <a:pt x="4965" y="5816"/>
                </a:lnTo>
                <a:lnTo>
                  <a:pt x="4940" y="5889"/>
                </a:lnTo>
                <a:lnTo>
                  <a:pt x="4965" y="5962"/>
                </a:lnTo>
                <a:lnTo>
                  <a:pt x="5013" y="6011"/>
                </a:lnTo>
                <a:lnTo>
                  <a:pt x="5086" y="6059"/>
                </a:lnTo>
                <a:lnTo>
                  <a:pt x="5208" y="6059"/>
                </a:lnTo>
                <a:lnTo>
                  <a:pt x="5354" y="6035"/>
                </a:lnTo>
                <a:lnTo>
                  <a:pt x="5476" y="6011"/>
                </a:lnTo>
                <a:lnTo>
                  <a:pt x="5695" y="6011"/>
                </a:lnTo>
                <a:lnTo>
                  <a:pt x="5792" y="5986"/>
                </a:lnTo>
                <a:lnTo>
                  <a:pt x="5865" y="5913"/>
                </a:lnTo>
                <a:lnTo>
                  <a:pt x="5914" y="5816"/>
                </a:lnTo>
                <a:lnTo>
                  <a:pt x="5938" y="5743"/>
                </a:lnTo>
                <a:lnTo>
                  <a:pt x="5938" y="5694"/>
                </a:lnTo>
                <a:lnTo>
                  <a:pt x="5889" y="5573"/>
                </a:lnTo>
                <a:lnTo>
                  <a:pt x="5792" y="5500"/>
                </a:lnTo>
                <a:lnTo>
                  <a:pt x="5670" y="5475"/>
                </a:lnTo>
                <a:close/>
                <a:moveTo>
                  <a:pt x="4575" y="5986"/>
                </a:moveTo>
                <a:lnTo>
                  <a:pt x="4454" y="6011"/>
                </a:lnTo>
                <a:lnTo>
                  <a:pt x="4356" y="6035"/>
                </a:lnTo>
                <a:lnTo>
                  <a:pt x="4259" y="6084"/>
                </a:lnTo>
                <a:lnTo>
                  <a:pt x="4113" y="6205"/>
                </a:lnTo>
                <a:lnTo>
                  <a:pt x="4040" y="6254"/>
                </a:lnTo>
                <a:lnTo>
                  <a:pt x="3991" y="6351"/>
                </a:lnTo>
                <a:lnTo>
                  <a:pt x="3967" y="6424"/>
                </a:lnTo>
                <a:lnTo>
                  <a:pt x="3991" y="6522"/>
                </a:lnTo>
                <a:lnTo>
                  <a:pt x="4064" y="6570"/>
                </a:lnTo>
                <a:lnTo>
                  <a:pt x="4162" y="6619"/>
                </a:lnTo>
                <a:lnTo>
                  <a:pt x="4283" y="6595"/>
                </a:lnTo>
                <a:lnTo>
                  <a:pt x="4429" y="6546"/>
                </a:lnTo>
                <a:lnTo>
                  <a:pt x="4527" y="6522"/>
                </a:lnTo>
                <a:lnTo>
                  <a:pt x="4551" y="6497"/>
                </a:lnTo>
                <a:lnTo>
                  <a:pt x="4648" y="6473"/>
                </a:lnTo>
                <a:lnTo>
                  <a:pt x="4721" y="6424"/>
                </a:lnTo>
                <a:lnTo>
                  <a:pt x="4794" y="6327"/>
                </a:lnTo>
                <a:lnTo>
                  <a:pt x="4794" y="6205"/>
                </a:lnTo>
                <a:lnTo>
                  <a:pt x="4770" y="6108"/>
                </a:lnTo>
                <a:lnTo>
                  <a:pt x="4673" y="6035"/>
                </a:lnTo>
                <a:lnTo>
                  <a:pt x="4575" y="5986"/>
                </a:lnTo>
                <a:close/>
                <a:moveTo>
                  <a:pt x="7593" y="5962"/>
                </a:moveTo>
                <a:lnTo>
                  <a:pt x="7495" y="6011"/>
                </a:lnTo>
                <a:lnTo>
                  <a:pt x="7447" y="6059"/>
                </a:lnTo>
                <a:lnTo>
                  <a:pt x="7398" y="6132"/>
                </a:lnTo>
                <a:lnTo>
                  <a:pt x="7398" y="6181"/>
                </a:lnTo>
                <a:lnTo>
                  <a:pt x="7422" y="6254"/>
                </a:lnTo>
                <a:lnTo>
                  <a:pt x="7520" y="6351"/>
                </a:lnTo>
                <a:lnTo>
                  <a:pt x="7593" y="6424"/>
                </a:lnTo>
                <a:lnTo>
                  <a:pt x="7641" y="6449"/>
                </a:lnTo>
                <a:lnTo>
                  <a:pt x="7666" y="6473"/>
                </a:lnTo>
                <a:lnTo>
                  <a:pt x="7690" y="6497"/>
                </a:lnTo>
                <a:lnTo>
                  <a:pt x="7714" y="6546"/>
                </a:lnTo>
                <a:lnTo>
                  <a:pt x="7763" y="6619"/>
                </a:lnTo>
                <a:lnTo>
                  <a:pt x="7787" y="6668"/>
                </a:lnTo>
                <a:lnTo>
                  <a:pt x="7812" y="6692"/>
                </a:lnTo>
                <a:lnTo>
                  <a:pt x="7909" y="6741"/>
                </a:lnTo>
                <a:lnTo>
                  <a:pt x="8031" y="6741"/>
                </a:lnTo>
                <a:lnTo>
                  <a:pt x="8128" y="6716"/>
                </a:lnTo>
                <a:lnTo>
                  <a:pt x="8201" y="6643"/>
                </a:lnTo>
                <a:lnTo>
                  <a:pt x="8250" y="6546"/>
                </a:lnTo>
                <a:lnTo>
                  <a:pt x="8250" y="6449"/>
                </a:lnTo>
                <a:lnTo>
                  <a:pt x="8225" y="6351"/>
                </a:lnTo>
                <a:lnTo>
                  <a:pt x="8177" y="6254"/>
                </a:lnTo>
                <a:lnTo>
                  <a:pt x="8104" y="6181"/>
                </a:lnTo>
                <a:lnTo>
                  <a:pt x="8006" y="6108"/>
                </a:lnTo>
                <a:lnTo>
                  <a:pt x="7909" y="6035"/>
                </a:lnTo>
                <a:lnTo>
                  <a:pt x="7812" y="5986"/>
                </a:lnTo>
                <a:lnTo>
                  <a:pt x="7690" y="5962"/>
                </a:lnTo>
                <a:close/>
                <a:moveTo>
                  <a:pt x="3578" y="6741"/>
                </a:moveTo>
                <a:lnTo>
                  <a:pt x="3456" y="6765"/>
                </a:lnTo>
                <a:lnTo>
                  <a:pt x="3359" y="6814"/>
                </a:lnTo>
                <a:lnTo>
                  <a:pt x="3286" y="6887"/>
                </a:lnTo>
                <a:lnTo>
                  <a:pt x="3189" y="6960"/>
                </a:lnTo>
                <a:lnTo>
                  <a:pt x="3140" y="7081"/>
                </a:lnTo>
                <a:lnTo>
                  <a:pt x="3091" y="7179"/>
                </a:lnTo>
                <a:lnTo>
                  <a:pt x="3067" y="7300"/>
                </a:lnTo>
                <a:lnTo>
                  <a:pt x="3067" y="7398"/>
                </a:lnTo>
                <a:lnTo>
                  <a:pt x="3091" y="7446"/>
                </a:lnTo>
                <a:lnTo>
                  <a:pt x="3116" y="7471"/>
                </a:lnTo>
                <a:lnTo>
                  <a:pt x="3189" y="7519"/>
                </a:lnTo>
                <a:lnTo>
                  <a:pt x="3286" y="7544"/>
                </a:lnTo>
                <a:lnTo>
                  <a:pt x="3359" y="7519"/>
                </a:lnTo>
                <a:lnTo>
                  <a:pt x="3481" y="7446"/>
                </a:lnTo>
                <a:lnTo>
                  <a:pt x="3554" y="7325"/>
                </a:lnTo>
                <a:lnTo>
                  <a:pt x="3627" y="7276"/>
                </a:lnTo>
                <a:lnTo>
                  <a:pt x="3651" y="7252"/>
                </a:lnTo>
                <a:lnTo>
                  <a:pt x="3700" y="7227"/>
                </a:lnTo>
                <a:lnTo>
                  <a:pt x="3773" y="7179"/>
                </a:lnTo>
                <a:lnTo>
                  <a:pt x="3821" y="7106"/>
                </a:lnTo>
                <a:lnTo>
                  <a:pt x="3821" y="7033"/>
                </a:lnTo>
                <a:lnTo>
                  <a:pt x="3821" y="6935"/>
                </a:lnTo>
                <a:lnTo>
                  <a:pt x="3797" y="6862"/>
                </a:lnTo>
                <a:lnTo>
                  <a:pt x="3724" y="6789"/>
                </a:lnTo>
                <a:lnTo>
                  <a:pt x="3651" y="6765"/>
                </a:lnTo>
                <a:lnTo>
                  <a:pt x="3578" y="6741"/>
                </a:lnTo>
                <a:close/>
                <a:moveTo>
                  <a:pt x="16863" y="4526"/>
                </a:moveTo>
                <a:lnTo>
                  <a:pt x="16766" y="4575"/>
                </a:lnTo>
                <a:lnTo>
                  <a:pt x="16693" y="4624"/>
                </a:lnTo>
                <a:lnTo>
                  <a:pt x="16620" y="4697"/>
                </a:lnTo>
                <a:lnTo>
                  <a:pt x="16498" y="4843"/>
                </a:lnTo>
                <a:lnTo>
                  <a:pt x="16401" y="5037"/>
                </a:lnTo>
                <a:lnTo>
                  <a:pt x="16158" y="5500"/>
                </a:lnTo>
                <a:lnTo>
                  <a:pt x="15914" y="5962"/>
                </a:lnTo>
                <a:lnTo>
                  <a:pt x="15647" y="5816"/>
                </a:lnTo>
                <a:lnTo>
                  <a:pt x="15501" y="5719"/>
                </a:lnTo>
                <a:lnTo>
                  <a:pt x="15355" y="5670"/>
                </a:lnTo>
                <a:lnTo>
                  <a:pt x="15233" y="5646"/>
                </a:lnTo>
                <a:lnTo>
                  <a:pt x="15087" y="5597"/>
                </a:lnTo>
                <a:lnTo>
                  <a:pt x="15038" y="5573"/>
                </a:lnTo>
                <a:lnTo>
                  <a:pt x="15014" y="5573"/>
                </a:lnTo>
                <a:lnTo>
                  <a:pt x="14917" y="5621"/>
                </a:lnTo>
                <a:lnTo>
                  <a:pt x="14892" y="5646"/>
                </a:lnTo>
                <a:lnTo>
                  <a:pt x="14844" y="5694"/>
                </a:lnTo>
                <a:lnTo>
                  <a:pt x="14844" y="5767"/>
                </a:lnTo>
                <a:lnTo>
                  <a:pt x="14868" y="5840"/>
                </a:lnTo>
                <a:lnTo>
                  <a:pt x="14892" y="5913"/>
                </a:lnTo>
                <a:lnTo>
                  <a:pt x="15087" y="6059"/>
                </a:lnTo>
                <a:lnTo>
                  <a:pt x="15282" y="6181"/>
                </a:lnTo>
                <a:lnTo>
                  <a:pt x="15671" y="6424"/>
                </a:lnTo>
                <a:lnTo>
                  <a:pt x="15355" y="6984"/>
                </a:lnTo>
                <a:lnTo>
                  <a:pt x="15160" y="7252"/>
                </a:lnTo>
                <a:lnTo>
                  <a:pt x="14965" y="7519"/>
                </a:lnTo>
                <a:lnTo>
                  <a:pt x="14941" y="7592"/>
                </a:lnTo>
                <a:lnTo>
                  <a:pt x="14941" y="7641"/>
                </a:lnTo>
                <a:lnTo>
                  <a:pt x="14941" y="7714"/>
                </a:lnTo>
                <a:lnTo>
                  <a:pt x="14965" y="7763"/>
                </a:lnTo>
                <a:lnTo>
                  <a:pt x="15014" y="7836"/>
                </a:lnTo>
                <a:lnTo>
                  <a:pt x="15063" y="7860"/>
                </a:lnTo>
                <a:lnTo>
                  <a:pt x="15111" y="7884"/>
                </a:lnTo>
                <a:lnTo>
                  <a:pt x="15184" y="7909"/>
                </a:lnTo>
                <a:lnTo>
                  <a:pt x="15257" y="7884"/>
                </a:lnTo>
                <a:lnTo>
                  <a:pt x="15355" y="7860"/>
                </a:lnTo>
                <a:lnTo>
                  <a:pt x="15501" y="7763"/>
                </a:lnTo>
                <a:lnTo>
                  <a:pt x="15622" y="7641"/>
                </a:lnTo>
                <a:lnTo>
                  <a:pt x="15744" y="7471"/>
                </a:lnTo>
                <a:lnTo>
                  <a:pt x="15866" y="7276"/>
                </a:lnTo>
                <a:lnTo>
                  <a:pt x="15963" y="7081"/>
                </a:lnTo>
                <a:lnTo>
                  <a:pt x="16133" y="6716"/>
                </a:lnTo>
                <a:lnTo>
                  <a:pt x="16328" y="6862"/>
                </a:lnTo>
                <a:lnTo>
                  <a:pt x="16523" y="7008"/>
                </a:lnTo>
                <a:lnTo>
                  <a:pt x="16742" y="7106"/>
                </a:lnTo>
                <a:lnTo>
                  <a:pt x="16839" y="7130"/>
                </a:lnTo>
                <a:lnTo>
                  <a:pt x="16961" y="7154"/>
                </a:lnTo>
                <a:lnTo>
                  <a:pt x="17034" y="7130"/>
                </a:lnTo>
                <a:lnTo>
                  <a:pt x="17082" y="7106"/>
                </a:lnTo>
                <a:lnTo>
                  <a:pt x="17131" y="7057"/>
                </a:lnTo>
                <a:lnTo>
                  <a:pt x="17155" y="7008"/>
                </a:lnTo>
                <a:lnTo>
                  <a:pt x="17180" y="6960"/>
                </a:lnTo>
                <a:lnTo>
                  <a:pt x="17180" y="6887"/>
                </a:lnTo>
                <a:lnTo>
                  <a:pt x="17155" y="6814"/>
                </a:lnTo>
                <a:lnTo>
                  <a:pt x="17131" y="6765"/>
                </a:lnTo>
                <a:lnTo>
                  <a:pt x="16961" y="6619"/>
                </a:lnTo>
                <a:lnTo>
                  <a:pt x="16766" y="6497"/>
                </a:lnTo>
                <a:lnTo>
                  <a:pt x="16377" y="6254"/>
                </a:lnTo>
                <a:lnTo>
                  <a:pt x="16644" y="5670"/>
                </a:lnTo>
                <a:lnTo>
                  <a:pt x="16766" y="5427"/>
                </a:lnTo>
                <a:lnTo>
                  <a:pt x="16912" y="5183"/>
                </a:lnTo>
                <a:lnTo>
                  <a:pt x="17034" y="4916"/>
                </a:lnTo>
                <a:lnTo>
                  <a:pt x="17082" y="4770"/>
                </a:lnTo>
                <a:lnTo>
                  <a:pt x="17082" y="4648"/>
                </a:lnTo>
                <a:lnTo>
                  <a:pt x="17082" y="4599"/>
                </a:lnTo>
                <a:lnTo>
                  <a:pt x="17058" y="4551"/>
                </a:lnTo>
                <a:lnTo>
                  <a:pt x="17009" y="4526"/>
                </a:lnTo>
                <a:close/>
                <a:moveTo>
                  <a:pt x="8420" y="6838"/>
                </a:moveTo>
                <a:lnTo>
                  <a:pt x="8371" y="6862"/>
                </a:lnTo>
                <a:lnTo>
                  <a:pt x="8298" y="6911"/>
                </a:lnTo>
                <a:lnTo>
                  <a:pt x="8274" y="6984"/>
                </a:lnTo>
                <a:lnTo>
                  <a:pt x="8250" y="7081"/>
                </a:lnTo>
                <a:lnTo>
                  <a:pt x="8274" y="7179"/>
                </a:lnTo>
                <a:lnTo>
                  <a:pt x="8298" y="7276"/>
                </a:lnTo>
                <a:lnTo>
                  <a:pt x="8347" y="7373"/>
                </a:lnTo>
                <a:lnTo>
                  <a:pt x="8420" y="7519"/>
                </a:lnTo>
                <a:lnTo>
                  <a:pt x="8444" y="7665"/>
                </a:lnTo>
                <a:lnTo>
                  <a:pt x="8444" y="7763"/>
                </a:lnTo>
                <a:lnTo>
                  <a:pt x="8493" y="7836"/>
                </a:lnTo>
                <a:lnTo>
                  <a:pt x="8566" y="7909"/>
                </a:lnTo>
                <a:lnTo>
                  <a:pt x="8663" y="7933"/>
                </a:lnTo>
                <a:lnTo>
                  <a:pt x="8761" y="7957"/>
                </a:lnTo>
                <a:lnTo>
                  <a:pt x="8882" y="7909"/>
                </a:lnTo>
                <a:lnTo>
                  <a:pt x="8980" y="7836"/>
                </a:lnTo>
                <a:lnTo>
                  <a:pt x="9004" y="7787"/>
                </a:lnTo>
                <a:lnTo>
                  <a:pt x="9028" y="7738"/>
                </a:lnTo>
                <a:lnTo>
                  <a:pt x="9028" y="7592"/>
                </a:lnTo>
                <a:lnTo>
                  <a:pt x="9004" y="7446"/>
                </a:lnTo>
                <a:lnTo>
                  <a:pt x="8955" y="7325"/>
                </a:lnTo>
                <a:lnTo>
                  <a:pt x="8882" y="7179"/>
                </a:lnTo>
                <a:lnTo>
                  <a:pt x="8809" y="7057"/>
                </a:lnTo>
                <a:lnTo>
                  <a:pt x="8712" y="6960"/>
                </a:lnTo>
                <a:lnTo>
                  <a:pt x="8663" y="6911"/>
                </a:lnTo>
                <a:lnTo>
                  <a:pt x="8615" y="6862"/>
                </a:lnTo>
                <a:lnTo>
                  <a:pt x="8542" y="6838"/>
                </a:lnTo>
                <a:close/>
                <a:moveTo>
                  <a:pt x="16255" y="7495"/>
                </a:moveTo>
                <a:lnTo>
                  <a:pt x="16206" y="7544"/>
                </a:lnTo>
                <a:lnTo>
                  <a:pt x="16158" y="7592"/>
                </a:lnTo>
                <a:lnTo>
                  <a:pt x="16158" y="7714"/>
                </a:lnTo>
                <a:lnTo>
                  <a:pt x="16158" y="7836"/>
                </a:lnTo>
                <a:lnTo>
                  <a:pt x="16206" y="7982"/>
                </a:lnTo>
                <a:lnTo>
                  <a:pt x="16231" y="8030"/>
                </a:lnTo>
                <a:lnTo>
                  <a:pt x="16279" y="8079"/>
                </a:lnTo>
                <a:lnTo>
                  <a:pt x="16304" y="8103"/>
                </a:lnTo>
                <a:lnTo>
                  <a:pt x="16377" y="8128"/>
                </a:lnTo>
                <a:lnTo>
                  <a:pt x="16474" y="8128"/>
                </a:lnTo>
                <a:lnTo>
                  <a:pt x="16523" y="8103"/>
                </a:lnTo>
                <a:lnTo>
                  <a:pt x="16547" y="8055"/>
                </a:lnTo>
                <a:lnTo>
                  <a:pt x="16571" y="8006"/>
                </a:lnTo>
                <a:lnTo>
                  <a:pt x="16571" y="7957"/>
                </a:lnTo>
                <a:lnTo>
                  <a:pt x="16547" y="7836"/>
                </a:lnTo>
                <a:lnTo>
                  <a:pt x="16523" y="7738"/>
                </a:lnTo>
                <a:lnTo>
                  <a:pt x="16474" y="7641"/>
                </a:lnTo>
                <a:lnTo>
                  <a:pt x="16401" y="7544"/>
                </a:lnTo>
                <a:lnTo>
                  <a:pt x="16328" y="7495"/>
                </a:lnTo>
                <a:close/>
                <a:moveTo>
                  <a:pt x="2897" y="7836"/>
                </a:moveTo>
                <a:lnTo>
                  <a:pt x="2799" y="7860"/>
                </a:lnTo>
                <a:lnTo>
                  <a:pt x="2702" y="7909"/>
                </a:lnTo>
                <a:lnTo>
                  <a:pt x="2629" y="7982"/>
                </a:lnTo>
                <a:lnTo>
                  <a:pt x="2556" y="8079"/>
                </a:lnTo>
                <a:lnTo>
                  <a:pt x="2507" y="8201"/>
                </a:lnTo>
                <a:lnTo>
                  <a:pt x="2507" y="8347"/>
                </a:lnTo>
                <a:lnTo>
                  <a:pt x="2507" y="8468"/>
                </a:lnTo>
                <a:lnTo>
                  <a:pt x="2556" y="8517"/>
                </a:lnTo>
                <a:lnTo>
                  <a:pt x="2580" y="8566"/>
                </a:lnTo>
                <a:lnTo>
                  <a:pt x="2678" y="8614"/>
                </a:lnTo>
                <a:lnTo>
                  <a:pt x="2799" y="8614"/>
                </a:lnTo>
                <a:lnTo>
                  <a:pt x="2848" y="8590"/>
                </a:lnTo>
                <a:lnTo>
                  <a:pt x="2897" y="8566"/>
                </a:lnTo>
                <a:lnTo>
                  <a:pt x="2970" y="8493"/>
                </a:lnTo>
                <a:lnTo>
                  <a:pt x="3018" y="8420"/>
                </a:lnTo>
                <a:lnTo>
                  <a:pt x="3116" y="8274"/>
                </a:lnTo>
                <a:lnTo>
                  <a:pt x="3140" y="8152"/>
                </a:lnTo>
                <a:lnTo>
                  <a:pt x="3140" y="8055"/>
                </a:lnTo>
                <a:lnTo>
                  <a:pt x="3091" y="7957"/>
                </a:lnTo>
                <a:lnTo>
                  <a:pt x="3018" y="7884"/>
                </a:lnTo>
                <a:lnTo>
                  <a:pt x="2897" y="7836"/>
                </a:lnTo>
                <a:close/>
                <a:moveTo>
                  <a:pt x="8955" y="8152"/>
                </a:moveTo>
                <a:lnTo>
                  <a:pt x="8882" y="8201"/>
                </a:lnTo>
                <a:lnTo>
                  <a:pt x="8858" y="8274"/>
                </a:lnTo>
                <a:lnTo>
                  <a:pt x="8858" y="8371"/>
                </a:lnTo>
                <a:lnTo>
                  <a:pt x="8858" y="8468"/>
                </a:lnTo>
                <a:lnTo>
                  <a:pt x="8907" y="8639"/>
                </a:lnTo>
                <a:lnTo>
                  <a:pt x="8955" y="8760"/>
                </a:lnTo>
                <a:lnTo>
                  <a:pt x="8980" y="8858"/>
                </a:lnTo>
                <a:lnTo>
                  <a:pt x="9053" y="8955"/>
                </a:lnTo>
                <a:lnTo>
                  <a:pt x="9101" y="9004"/>
                </a:lnTo>
                <a:lnTo>
                  <a:pt x="9150" y="9028"/>
                </a:lnTo>
                <a:lnTo>
                  <a:pt x="9296" y="9028"/>
                </a:lnTo>
                <a:lnTo>
                  <a:pt x="9369" y="8979"/>
                </a:lnTo>
                <a:lnTo>
                  <a:pt x="9393" y="8931"/>
                </a:lnTo>
                <a:lnTo>
                  <a:pt x="9418" y="8858"/>
                </a:lnTo>
                <a:lnTo>
                  <a:pt x="9418" y="8785"/>
                </a:lnTo>
                <a:lnTo>
                  <a:pt x="9393" y="8639"/>
                </a:lnTo>
                <a:lnTo>
                  <a:pt x="9369" y="8614"/>
                </a:lnTo>
                <a:lnTo>
                  <a:pt x="9345" y="8517"/>
                </a:lnTo>
                <a:lnTo>
                  <a:pt x="9247" y="8322"/>
                </a:lnTo>
                <a:lnTo>
                  <a:pt x="9199" y="8225"/>
                </a:lnTo>
                <a:lnTo>
                  <a:pt x="9101" y="8176"/>
                </a:lnTo>
                <a:lnTo>
                  <a:pt x="9028" y="8152"/>
                </a:lnTo>
                <a:close/>
                <a:moveTo>
                  <a:pt x="16352" y="8541"/>
                </a:moveTo>
                <a:lnTo>
                  <a:pt x="16279" y="8566"/>
                </a:lnTo>
                <a:lnTo>
                  <a:pt x="16231" y="8614"/>
                </a:lnTo>
                <a:lnTo>
                  <a:pt x="16206" y="8663"/>
                </a:lnTo>
                <a:lnTo>
                  <a:pt x="16182" y="8736"/>
                </a:lnTo>
                <a:lnTo>
                  <a:pt x="16182" y="8858"/>
                </a:lnTo>
                <a:lnTo>
                  <a:pt x="16206" y="8979"/>
                </a:lnTo>
                <a:lnTo>
                  <a:pt x="16231" y="9174"/>
                </a:lnTo>
                <a:lnTo>
                  <a:pt x="16255" y="9296"/>
                </a:lnTo>
                <a:lnTo>
                  <a:pt x="16304" y="9369"/>
                </a:lnTo>
                <a:lnTo>
                  <a:pt x="16401" y="9417"/>
                </a:lnTo>
                <a:lnTo>
                  <a:pt x="16498" y="9417"/>
                </a:lnTo>
                <a:lnTo>
                  <a:pt x="16596" y="9393"/>
                </a:lnTo>
                <a:lnTo>
                  <a:pt x="16669" y="9320"/>
                </a:lnTo>
                <a:lnTo>
                  <a:pt x="16693" y="9223"/>
                </a:lnTo>
                <a:lnTo>
                  <a:pt x="16693" y="9101"/>
                </a:lnTo>
                <a:lnTo>
                  <a:pt x="16644" y="8882"/>
                </a:lnTo>
                <a:lnTo>
                  <a:pt x="16596" y="8760"/>
                </a:lnTo>
                <a:lnTo>
                  <a:pt x="16547" y="8639"/>
                </a:lnTo>
                <a:lnTo>
                  <a:pt x="16523" y="8590"/>
                </a:lnTo>
                <a:lnTo>
                  <a:pt x="16474" y="8541"/>
                </a:lnTo>
                <a:close/>
                <a:moveTo>
                  <a:pt x="2434" y="9077"/>
                </a:moveTo>
                <a:lnTo>
                  <a:pt x="2337" y="9101"/>
                </a:lnTo>
                <a:lnTo>
                  <a:pt x="2264" y="9125"/>
                </a:lnTo>
                <a:lnTo>
                  <a:pt x="2191" y="9198"/>
                </a:lnTo>
                <a:lnTo>
                  <a:pt x="2142" y="9271"/>
                </a:lnTo>
                <a:lnTo>
                  <a:pt x="2118" y="9369"/>
                </a:lnTo>
                <a:lnTo>
                  <a:pt x="2094" y="9515"/>
                </a:lnTo>
                <a:lnTo>
                  <a:pt x="2094" y="9612"/>
                </a:lnTo>
                <a:lnTo>
                  <a:pt x="2094" y="9685"/>
                </a:lnTo>
                <a:lnTo>
                  <a:pt x="2118" y="9782"/>
                </a:lnTo>
                <a:lnTo>
                  <a:pt x="2191" y="9831"/>
                </a:lnTo>
                <a:lnTo>
                  <a:pt x="2240" y="9879"/>
                </a:lnTo>
                <a:lnTo>
                  <a:pt x="2337" y="9904"/>
                </a:lnTo>
                <a:lnTo>
                  <a:pt x="2410" y="9879"/>
                </a:lnTo>
                <a:lnTo>
                  <a:pt x="2483" y="9831"/>
                </a:lnTo>
                <a:lnTo>
                  <a:pt x="2556" y="9733"/>
                </a:lnTo>
                <a:lnTo>
                  <a:pt x="2580" y="9612"/>
                </a:lnTo>
                <a:lnTo>
                  <a:pt x="2653" y="9417"/>
                </a:lnTo>
                <a:lnTo>
                  <a:pt x="2653" y="9320"/>
                </a:lnTo>
                <a:lnTo>
                  <a:pt x="2653" y="9247"/>
                </a:lnTo>
                <a:lnTo>
                  <a:pt x="2605" y="9174"/>
                </a:lnTo>
                <a:lnTo>
                  <a:pt x="2532" y="9125"/>
                </a:lnTo>
                <a:lnTo>
                  <a:pt x="2434" y="9077"/>
                </a:lnTo>
                <a:close/>
                <a:moveTo>
                  <a:pt x="9272" y="9296"/>
                </a:moveTo>
                <a:lnTo>
                  <a:pt x="9199" y="9344"/>
                </a:lnTo>
                <a:lnTo>
                  <a:pt x="9101" y="9417"/>
                </a:lnTo>
                <a:lnTo>
                  <a:pt x="9077" y="9539"/>
                </a:lnTo>
                <a:lnTo>
                  <a:pt x="9053" y="9661"/>
                </a:lnTo>
                <a:lnTo>
                  <a:pt x="9077" y="9782"/>
                </a:lnTo>
                <a:lnTo>
                  <a:pt x="9126" y="9904"/>
                </a:lnTo>
                <a:lnTo>
                  <a:pt x="9174" y="10001"/>
                </a:lnTo>
                <a:lnTo>
                  <a:pt x="9247" y="10123"/>
                </a:lnTo>
                <a:lnTo>
                  <a:pt x="9320" y="10196"/>
                </a:lnTo>
                <a:lnTo>
                  <a:pt x="9393" y="10220"/>
                </a:lnTo>
                <a:lnTo>
                  <a:pt x="9442" y="10220"/>
                </a:lnTo>
                <a:lnTo>
                  <a:pt x="9564" y="10196"/>
                </a:lnTo>
                <a:lnTo>
                  <a:pt x="9612" y="10147"/>
                </a:lnTo>
                <a:lnTo>
                  <a:pt x="9661" y="10123"/>
                </a:lnTo>
                <a:lnTo>
                  <a:pt x="9685" y="10050"/>
                </a:lnTo>
                <a:lnTo>
                  <a:pt x="9685" y="10001"/>
                </a:lnTo>
                <a:lnTo>
                  <a:pt x="9685" y="9904"/>
                </a:lnTo>
                <a:lnTo>
                  <a:pt x="9637" y="9806"/>
                </a:lnTo>
                <a:lnTo>
                  <a:pt x="9539" y="9636"/>
                </a:lnTo>
                <a:lnTo>
                  <a:pt x="9515" y="9515"/>
                </a:lnTo>
                <a:lnTo>
                  <a:pt x="9442" y="9393"/>
                </a:lnTo>
                <a:lnTo>
                  <a:pt x="9393" y="9344"/>
                </a:lnTo>
                <a:lnTo>
                  <a:pt x="9345" y="9320"/>
                </a:lnTo>
                <a:lnTo>
                  <a:pt x="9272" y="9296"/>
                </a:lnTo>
                <a:close/>
                <a:moveTo>
                  <a:pt x="16231" y="9855"/>
                </a:moveTo>
                <a:lnTo>
                  <a:pt x="16231" y="9879"/>
                </a:lnTo>
                <a:lnTo>
                  <a:pt x="16182" y="9904"/>
                </a:lnTo>
                <a:lnTo>
                  <a:pt x="16133" y="9952"/>
                </a:lnTo>
                <a:lnTo>
                  <a:pt x="16060" y="10098"/>
                </a:lnTo>
                <a:lnTo>
                  <a:pt x="16012" y="10293"/>
                </a:lnTo>
                <a:lnTo>
                  <a:pt x="16012" y="10390"/>
                </a:lnTo>
                <a:lnTo>
                  <a:pt x="16012" y="10463"/>
                </a:lnTo>
                <a:lnTo>
                  <a:pt x="16085" y="10561"/>
                </a:lnTo>
                <a:lnTo>
                  <a:pt x="16182" y="10634"/>
                </a:lnTo>
                <a:lnTo>
                  <a:pt x="16304" y="10634"/>
                </a:lnTo>
                <a:lnTo>
                  <a:pt x="16352" y="10609"/>
                </a:lnTo>
                <a:lnTo>
                  <a:pt x="16401" y="10561"/>
                </a:lnTo>
                <a:lnTo>
                  <a:pt x="16450" y="10488"/>
                </a:lnTo>
                <a:lnTo>
                  <a:pt x="16474" y="10415"/>
                </a:lnTo>
                <a:lnTo>
                  <a:pt x="16498" y="10244"/>
                </a:lnTo>
                <a:lnTo>
                  <a:pt x="16498" y="10147"/>
                </a:lnTo>
                <a:lnTo>
                  <a:pt x="16498" y="10050"/>
                </a:lnTo>
                <a:lnTo>
                  <a:pt x="16474" y="9952"/>
                </a:lnTo>
                <a:lnTo>
                  <a:pt x="16425" y="9879"/>
                </a:lnTo>
                <a:lnTo>
                  <a:pt x="16328" y="9855"/>
                </a:lnTo>
                <a:close/>
                <a:moveTo>
                  <a:pt x="2167" y="10244"/>
                </a:moveTo>
                <a:lnTo>
                  <a:pt x="2045" y="10269"/>
                </a:lnTo>
                <a:lnTo>
                  <a:pt x="1972" y="10317"/>
                </a:lnTo>
                <a:lnTo>
                  <a:pt x="1875" y="10463"/>
                </a:lnTo>
                <a:lnTo>
                  <a:pt x="1826" y="10634"/>
                </a:lnTo>
                <a:lnTo>
                  <a:pt x="1802" y="10804"/>
                </a:lnTo>
                <a:lnTo>
                  <a:pt x="1850" y="10926"/>
                </a:lnTo>
                <a:lnTo>
                  <a:pt x="1923" y="11023"/>
                </a:lnTo>
                <a:lnTo>
                  <a:pt x="1948" y="11072"/>
                </a:lnTo>
                <a:lnTo>
                  <a:pt x="2021" y="11096"/>
                </a:lnTo>
                <a:lnTo>
                  <a:pt x="2118" y="11096"/>
                </a:lnTo>
                <a:lnTo>
                  <a:pt x="2191" y="11072"/>
                </a:lnTo>
                <a:lnTo>
                  <a:pt x="2215" y="11023"/>
                </a:lnTo>
                <a:lnTo>
                  <a:pt x="2288" y="10950"/>
                </a:lnTo>
                <a:lnTo>
                  <a:pt x="2313" y="10877"/>
                </a:lnTo>
                <a:lnTo>
                  <a:pt x="2337" y="10780"/>
                </a:lnTo>
                <a:lnTo>
                  <a:pt x="2337" y="10755"/>
                </a:lnTo>
                <a:lnTo>
                  <a:pt x="2337" y="10731"/>
                </a:lnTo>
                <a:lnTo>
                  <a:pt x="2386" y="10658"/>
                </a:lnTo>
                <a:lnTo>
                  <a:pt x="2410" y="10561"/>
                </a:lnTo>
                <a:lnTo>
                  <a:pt x="2434" y="10488"/>
                </a:lnTo>
                <a:lnTo>
                  <a:pt x="2410" y="10390"/>
                </a:lnTo>
                <a:lnTo>
                  <a:pt x="2337" y="10317"/>
                </a:lnTo>
                <a:lnTo>
                  <a:pt x="2264" y="10269"/>
                </a:lnTo>
                <a:lnTo>
                  <a:pt x="2167" y="10244"/>
                </a:lnTo>
                <a:close/>
                <a:moveTo>
                  <a:pt x="9661" y="10512"/>
                </a:moveTo>
                <a:lnTo>
                  <a:pt x="9612" y="10536"/>
                </a:lnTo>
                <a:lnTo>
                  <a:pt x="9539" y="10609"/>
                </a:lnTo>
                <a:lnTo>
                  <a:pt x="9491" y="10658"/>
                </a:lnTo>
                <a:lnTo>
                  <a:pt x="9491" y="10731"/>
                </a:lnTo>
                <a:lnTo>
                  <a:pt x="9491" y="10877"/>
                </a:lnTo>
                <a:lnTo>
                  <a:pt x="9539" y="11023"/>
                </a:lnTo>
                <a:lnTo>
                  <a:pt x="9588" y="11169"/>
                </a:lnTo>
                <a:lnTo>
                  <a:pt x="9637" y="11242"/>
                </a:lnTo>
                <a:lnTo>
                  <a:pt x="9710" y="11315"/>
                </a:lnTo>
                <a:lnTo>
                  <a:pt x="9783" y="11339"/>
                </a:lnTo>
                <a:lnTo>
                  <a:pt x="9880" y="11339"/>
                </a:lnTo>
                <a:lnTo>
                  <a:pt x="9977" y="11291"/>
                </a:lnTo>
                <a:lnTo>
                  <a:pt x="10026" y="11218"/>
                </a:lnTo>
                <a:lnTo>
                  <a:pt x="10075" y="11120"/>
                </a:lnTo>
                <a:lnTo>
                  <a:pt x="10050" y="11023"/>
                </a:lnTo>
                <a:lnTo>
                  <a:pt x="10002" y="10877"/>
                </a:lnTo>
                <a:lnTo>
                  <a:pt x="9929" y="10731"/>
                </a:lnTo>
                <a:lnTo>
                  <a:pt x="9831" y="10609"/>
                </a:lnTo>
                <a:lnTo>
                  <a:pt x="9783" y="10561"/>
                </a:lnTo>
                <a:lnTo>
                  <a:pt x="9710" y="10536"/>
                </a:lnTo>
                <a:lnTo>
                  <a:pt x="9661" y="10512"/>
                </a:lnTo>
                <a:close/>
                <a:moveTo>
                  <a:pt x="15987" y="10999"/>
                </a:moveTo>
                <a:lnTo>
                  <a:pt x="15890" y="11047"/>
                </a:lnTo>
                <a:lnTo>
                  <a:pt x="15817" y="11120"/>
                </a:lnTo>
                <a:lnTo>
                  <a:pt x="15720" y="11291"/>
                </a:lnTo>
                <a:lnTo>
                  <a:pt x="15598" y="11461"/>
                </a:lnTo>
                <a:lnTo>
                  <a:pt x="15525" y="11631"/>
                </a:lnTo>
                <a:lnTo>
                  <a:pt x="15525" y="11729"/>
                </a:lnTo>
                <a:lnTo>
                  <a:pt x="15549" y="11802"/>
                </a:lnTo>
                <a:lnTo>
                  <a:pt x="15598" y="11850"/>
                </a:lnTo>
                <a:lnTo>
                  <a:pt x="15647" y="11899"/>
                </a:lnTo>
                <a:lnTo>
                  <a:pt x="15720" y="11948"/>
                </a:lnTo>
                <a:lnTo>
                  <a:pt x="15793" y="11948"/>
                </a:lnTo>
                <a:lnTo>
                  <a:pt x="15866" y="11923"/>
                </a:lnTo>
                <a:lnTo>
                  <a:pt x="15939" y="11875"/>
                </a:lnTo>
                <a:lnTo>
                  <a:pt x="16036" y="11704"/>
                </a:lnTo>
                <a:lnTo>
                  <a:pt x="16109" y="11510"/>
                </a:lnTo>
                <a:lnTo>
                  <a:pt x="16182" y="11315"/>
                </a:lnTo>
                <a:lnTo>
                  <a:pt x="16206" y="11218"/>
                </a:lnTo>
                <a:lnTo>
                  <a:pt x="16206" y="11120"/>
                </a:lnTo>
                <a:lnTo>
                  <a:pt x="16182" y="11047"/>
                </a:lnTo>
                <a:lnTo>
                  <a:pt x="16133" y="11023"/>
                </a:lnTo>
                <a:lnTo>
                  <a:pt x="16060" y="10999"/>
                </a:lnTo>
                <a:close/>
                <a:moveTo>
                  <a:pt x="1996" y="11437"/>
                </a:moveTo>
                <a:lnTo>
                  <a:pt x="1948" y="11461"/>
                </a:lnTo>
                <a:lnTo>
                  <a:pt x="1875" y="11485"/>
                </a:lnTo>
                <a:lnTo>
                  <a:pt x="1826" y="11558"/>
                </a:lnTo>
                <a:lnTo>
                  <a:pt x="1802" y="11607"/>
                </a:lnTo>
                <a:lnTo>
                  <a:pt x="1777" y="11680"/>
                </a:lnTo>
                <a:lnTo>
                  <a:pt x="1777" y="11826"/>
                </a:lnTo>
                <a:lnTo>
                  <a:pt x="1777" y="11899"/>
                </a:lnTo>
                <a:lnTo>
                  <a:pt x="1802" y="12021"/>
                </a:lnTo>
                <a:lnTo>
                  <a:pt x="1850" y="12094"/>
                </a:lnTo>
                <a:lnTo>
                  <a:pt x="1899" y="12142"/>
                </a:lnTo>
                <a:lnTo>
                  <a:pt x="1972" y="12167"/>
                </a:lnTo>
                <a:lnTo>
                  <a:pt x="2069" y="12167"/>
                </a:lnTo>
                <a:lnTo>
                  <a:pt x="2118" y="12142"/>
                </a:lnTo>
                <a:lnTo>
                  <a:pt x="2191" y="12094"/>
                </a:lnTo>
                <a:lnTo>
                  <a:pt x="2215" y="12021"/>
                </a:lnTo>
                <a:lnTo>
                  <a:pt x="2264" y="11875"/>
                </a:lnTo>
                <a:lnTo>
                  <a:pt x="2288" y="11753"/>
                </a:lnTo>
                <a:lnTo>
                  <a:pt x="2288" y="11680"/>
                </a:lnTo>
                <a:lnTo>
                  <a:pt x="2288" y="11607"/>
                </a:lnTo>
                <a:lnTo>
                  <a:pt x="2264" y="11534"/>
                </a:lnTo>
                <a:lnTo>
                  <a:pt x="2215" y="11485"/>
                </a:lnTo>
                <a:lnTo>
                  <a:pt x="2142" y="11437"/>
                </a:lnTo>
                <a:close/>
                <a:moveTo>
                  <a:pt x="10221" y="11753"/>
                </a:moveTo>
                <a:lnTo>
                  <a:pt x="10123" y="11802"/>
                </a:lnTo>
                <a:lnTo>
                  <a:pt x="10075" y="11875"/>
                </a:lnTo>
                <a:lnTo>
                  <a:pt x="10075" y="11996"/>
                </a:lnTo>
                <a:lnTo>
                  <a:pt x="10123" y="12094"/>
                </a:lnTo>
                <a:lnTo>
                  <a:pt x="10172" y="12191"/>
                </a:lnTo>
                <a:lnTo>
                  <a:pt x="10342" y="12337"/>
                </a:lnTo>
                <a:lnTo>
                  <a:pt x="10440" y="12410"/>
                </a:lnTo>
                <a:lnTo>
                  <a:pt x="10561" y="12483"/>
                </a:lnTo>
                <a:lnTo>
                  <a:pt x="10683" y="12532"/>
                </a:lnTo>
                <a:lnTo>
                  <a:pt x="10829" y="12532"/>
                </a:lnTo>
                <a:lnTo>
                  <a:pt x="10926" y="12507"/>
                </a:lnTo>
                <a:lnTo>
                  <a:pt x="10999" y="12459"/>
                </a:lnTo>
                <a:lnTo>
                  <a:pt x="11048" y="12386"/>
                </a:lnTo>
                <a:lnTo>
                  <a:pt x="11072" y="12313"/>
                </a:lnTo>
                <a:lnTo>
                  <a:pt x="11072" y="12240"/>
                </a:lnTo>
                <a:lnTo>
                  <a:pt x="11048" y="12167"/>
                </a:lnTo>
                <a:lnTo>
                  <a:pt x="10975" y="12094"/>
                </a:lnTo>
                <a:lnTo>
                  <a:pt x="10902" y="12045"/>
                </a:lnTo>
                <a:lnTo>
                  <a:pt x="10756" y="12021"/>
                </a:lnTo>
                <a:lnTo>
                  <a:pt x="10634" y="11948"/>
                </a:lnTo>
                <a:lnTo>
                  <a:pt x="10488" y="11826"/>
                </a:lnTo>
                <a:lnTo>
                  <a:pt x="10415" y="11777"/>
                </a:lnTo>
                <a:lnTo>
                  <a:pt x="10318" y="11753"/>
                </a:lnTo>
                <a:close/>
                <a:moveTo>
                  <a:pt x="15306" y="11996"/>
                </a:moveTo>
                <a:lnTo>
                  <a:pt x="15257" y="12045"/>
                </a:lnTo>
                <a:lnTo>
                  <a:pt x="15136" y="12167"/>
                </a:lnTo>
                <a:lnTo>
                  <a:pt x="15014" y="12288"/>
                </a:lnTo>
                <a:lnTo>
                  <a:pt x="14868" y="12386"/>
                </a:lnTo>
                <a:lnTo>
                  <a:pt x="14795" y="12434"/>
                </a:lnTo>
                <a:lnTo>
                  <a:pt x="14722" y="12483"/>
                </a:lnTo>
                <a:lnTo>
                  <a:pt x="14698" y="12532"/>
                </a:lnTo>
                <a:lnTo>
                  <a:pt x="14698" y="12605"/>
                </a:lnTo>
                <a:lnTo>
                  <a:pt x="14722" y="12653"/>
                </a:lnTo>
                <a:lnTo>
                  <a:pt x="14746" y="12678"/>
                </a:lnTo>
                <a:lnTo>
                  <a:pt x="14868" y="12726"/>
                </a:lnTo>
                <a:lnTo>
                  <a:pt x="14990" y="12726"/>
                </a:lnTo>
                <a:lnTo>
                  <a:pt x="15111" y="12702"/>
                </a:lnTo>
                <a:lnTo>
                  <a:pt x="15209" y="12629"/>
                </a:lnTo>
                <a:lnTo>
                  <a:pt x="15330" y="12556"/>
                </a:lnTo>
                <a:lnTo>
                  <a:pt x="15428" y="12483"/>
                </a:lnTo>
                <a:lnTo>
                  <a:pt x="15501" y="12386"/>
                </a:lnTo>
                <a:lnTo>
                  <a:pt x="15574" y="12288"/>
                </a:lnTo>
                <a:lnTo>
                  <a:pt x="15598" y="12215"/>
                </a:lnTo>
                <a:lnTo>
                  <a:pt x="15598" y="12142"/>
                </a:lnTo>
                <a:lnTo>
                  <a:pt x="15574" y="12094"/>
                </a:lnTo>
                <a:lnTo>
                  <a:pt x="15525" y="12045"/>
                </a:lnTo>
                <a:lnTo>
                  <a:pt x="15452" y="11996"/>
                </a:lnTo>
                <a:close/>
                <a:moveTo>
                  <a:pt x="14114" y="12605"/>
                </a:moveTo>
                <a:lnTo>
                  <a:pt x="14041" y="12629"/>
                </a:lnTo>
                <a:lnTo>
                  <a:pt x="13968" y="12678"/>
                </a:lnTo>
                <a:lnTo>
                  <a:pt x="13895" y="12726"/>
                </a:lnTo>
                <a:lnTo>
                  <a:pt x="13797" y="12751"/>
                </a:lnTo>
                <a:lnTo>
                  <a:pt x="13700" y="12751"/>
                </a:lnTo>
                <a:lnTo>
                  <a:pt x="13578" y="12775"/>
                </a:lnTo>
                <a:lnTo>
                  <a:pt x="13481" y="12848"/>
                </a:lnTo>
                <a:lnTo>
                  <a:pt x="13432" y="12872"/>
                </a:lnTo>
                <a:lnTo>
                  <a:pt x="13408" y="12921"/>
                </a:lnTo>
                <a:lnTo>
                  <a:pt x="13408" y="12970"/>
                </a:lnTo>
                <a:lnTo>
                  <a:pt x="13432" y="13018"/>
                </a:lnTo>
                <a:lnTo>
                  <a:pt x="13457" y="13091"/>
                </a:lnTo>
                <a:lnTo>
                  <a:pt x="13505" y="13116"/>
                </a:lnTo>
                <a:lnTo>
                  <a:pt x="13603" y="13164"/>
                </a:lnTo>
                <a:lnTo>
                  <a:pt x="13724" y="13189"/>
                </a:lnTo>
                <a:lnTo>
                  <a:pt x="13870" y="13189"/>
                </a:lnTo>
                <a:lnTo>
                  <a:pt x="14016" y="13164"/>
                </a:lnTo>
                <a:lnTo>
                  <a:pt x="14162" y="13091"/>
                </a:lnTo>
                <a:lnTo>
                  <a:pt x="14284" y="12994"/>
                </a:lnTo>
                <a:lnTo>
                  <a:pt x="14333" y="12945"/>
                </a:lnTo>
                <a:lnTo>
                  <a:pt x="14357" y="12872"/>
                </a:lnTo>
                <a:lnTo>
                  <a:pt x="14357" y="12799"/>
                </a:lnTo>
                <a:lnTo>
                  <a:pt x="14357" y="12726"/>
                </a:lnTo>
                <a:lnTo>
                  <a:pt x="14333" y="12678"/>
                </a:lnTo>
                <a:lnTo>
                  <a:pt x="14284" y="12653"/>
                </a:lnTo>
                <a:lnTo>
                  <a:pt x="14235" y="12605"/>
                </a:lnTo>
                <a:close/>
                <a:moveTo>
                  <a:pt x="6668" y="512"/>
                </a:moveTo>
                <a:lnTo>
                  <a:pt x="6887" y="755"/>
                </a:lnTo>
                <a:lnTo>
                  <a:pt x="7130" y="950"/>
                </a:lnTo>
                <a:lnTo>
                  <a:pt x="7398" y="1120"/>
                </a:lnTo>
                <a:lnTo>
                  <a:pt x="7666" y="1290"/>
                </a:lnTo>
                <a:lnTo>
                  <a:pt x="8250" y="1558"/>
                </a:lnTo>
                <a:lnTo>
                  <a:pt x="8834" y="1801"/>
                </a:lnTo>
                <a:lnTo>
                  <a:pt x="9320" y="2020"/>
                </a:lnTo>
                <a:lnTo>
                  <a:pt x="9807" y="2215"/>
                </a:lnTo>
                <a:lnTo>
                  <a:pt x="10780" y="2604"/>
                </a:lnTo>
                <a:lnTo>
                  <a:pt x="11194" y="2799"/>
                </a:lnTo>
                <a:lnTo>
                  <a:pt x="11559" y="3018"/>
                </a:lnTo>
                <a:lnTo>
                  <a:pt x="11729" y="3115"/>
                </a:lnTo>
                <a:lnTo>
                  <a:pt x="11924" y="3188"/>
                </a:lnTo>
                <a:lnTo>
                  <a:pt x="12094" y="3261"/>
                </a:lnTo>
                <a:lnTo>
                  <a:pt x="12240" y="3358"/>
                </a:lnTo>
                <a:lnTo>
                  <a:pt x="12264" y="3407"/>
                </a:lnTo>
                <a:lnTo>
                  <a:pt x="12313" y="3456"/>
                </a:lnTo>
                <a:lnTo>
                  <a:pt x="12410" y="3480"/>
                </a:lnTo>
                <a:lnTo>
                  <a:pt x="12435" y="3942"/>
                </a:lnTo>
                <a:lnTo>
                  <a:pt x="11851" y="3650"/>
                </a:lnTo>
                <a:lnTo>
                  <a:pt x="11389" y="3407"/>
                </a:lnTo>
                <a:lnTo>
                  <a:pt x="11170" y="3310"/>
                </a:lnTo>
                <a:lnTo>
                  <a:pt x="10926" y="3237"/>
                </a:lnTo>
                <a:lnTo>
                  <a:pt x="10878" y="3237"/>
                </a:lnTo>
                <a:lnTo>
                  <a:pt x="10853" y="3261"/>
                </a:lnTo>
                <a:lnTo>
                  <a:pt x="10853" y="3285"/>
                </a:lnTo>
                <a:lnTo>
                  <a:pt x="10853" y="3310"/>
                </a:lnTo>
                <a:lnTo>
                  <a:pt x="11024" y="3480"/>
                </a:lnTo>
                <a:lnTo>
                  <a:pt x="11218" y="3626"/>
                </a:lnTo>
                <a:lnTo>
                  <a:pt x="11608" y="3869"/>
                </a:lnTo>
                <a:lnTo>
                  <a:pt x="12045" y="4113"/>
                </a:lnTo>
                <a:lnTo>
                  <a:pt x="12459" y="4307"/>
                </a:lnTo>
                <a:lnTo>
                  <a:pt x="12483" y="4818"/>
                </a:lnTo>
                <a:lnTo>
                  <a:pt x="12337" y="4770"/>
                </a:lnTo>
                <a:lnTo>
                  <a:pt x="12216" y="4721"/>
                </a:lnTo>
                <a:lnTo>
                  <a:pt x="12021" y="4672"/>
                </a:lnTo>
                <a:lnTo>
                  <a:pt x="11729" y="4526"/>
                </a:lnTo>
                <a:lnTo>
                  <a:pt x="11413" y="4380"/>
                </a:lnTo>
                <a:lnTo>
                  <a:pt x="11218" y="4259"/>
                </a:lnTo>
                <a:lnTo>
                  <a:pt x="11121" y="4234"/>
                </a:lnTo>
                <a:lnTo>
                  <a:pt x="11024" y="4210"/>
                </a:lnTo>
                <a:lnTo>
                  <a:pt x="10975" y="4210"/>
                </a:lnTo>
                <a:lnTo>
                  <a:pt x="10951" y="4259"/>
                </a:lnTo>
                <a:lnTo>
                  <a:pt x="10951" y="4283"/>
                </a:lnTo>
                <a:lnTo>
                  <a:pt x="10951" y="4332"/>
                </a:lnTo>
                <a:lnTo>
                  <a:pt x="11024" y="4429"/>
                </a:lnTo>
                <a:lnTo>
                  <a:pt x="11121" y="4526"/>
                </a:lnTo>
                <a:lnTo>
                  <a:pt x="11218" y="4599"/>
                </a:lnTo>
                <a:lnTo>
                  <a:pt x="11340" y="4672"/>
                </a:lnTo>
                <a:lnTo>
                  <a:pt x="11608" y="4818"/>
                </a:lnTo>
                <a:lnTo>
                  <a:pt x="11826" y="4916"/>
                </a:lnTo>
                <a:lnTo>
                  <a:pt x="12143" y="5037"/>
                </a:lnTo>
                <a:lnTo>
                  <a:pt x="12313" y="5086"/>
                </a:lnTo>
                <a:lnTo>
                  <a:pt x="12410" y="5086"/>
                </a:lnTo>
                <a:lnTo>
                  <a:pt x="12483" y="5062"/>
                </a:lnTo>
                <a:lnTo>
                  <a:pt x="12483" y="5743"/>
                </a:lnTo>
                <a:lnTo>
                  <a:pt x="12289" y="5621"/>
                </a:lnTo>
                <a:lnTo>
                  <a:pt x="12094" y="5475"/>
                </a:lnTo>
                <a:lnTo>
                  <a:pt x="11608" y="5256"/>
                </a:lnTo>
                <a:lnTo>
                  <a:pt x="11194" y="5110"/>
                </a:lnTo>
                <a:lnTo>
                  <a:pt x="11024" y="5062"/>
                </a:lnTo>
                <a:lnTo>
                  <a:pt x="10926" y="5062"/>
                </a:lnTo>
                <a:lnTo>
                  <a:pt x="10902" y="5086"/>
                </a:lnTo>
                <a:lnTo>
                  <a:pt x="10878" y="5110"/>
                </a:lnTo>
                <a:lnTo>
                  <a:pt x="10951" y="5232"/>
                </a:lnTo>
                <a:lnTo>
                  <a:pt x="11024" y="5305"/>
                </a:lnTo>
                <a:lnTo>
                  <a:pt x="11121" y="5378"/>
                </a:lnTo>
                <a:lnTo>
                  <a:pt x="11267" y="5451"/>
                </a:lnTo>
                <a:lnTo>
                  <a:pt x="11535" y="5548"/>
                </a:lnTo>
                <a:lnTo>
                  <a:pt x="11754" y="5646"/>
                </a:lnTo>
                <a:lnTo>
                  <a:pt x="12094" y="5792"/>
                </a:lnTo>
                <a:lnTo>
                  <a:pt x="12240" y="5889"/>
                </a:lnTo>
                <a:lnTo>
                  <a:pt x="12386" y="6011"/>
                </a:lnTo>
                <a:lnTo>
                  <a:pt x="12483" y="6108"/>
                </a:lnTo>
                <a:lnTo>
                  <a:pt x="12483" y="6254"/>
                </a:lnTo>
                <a:lnTo>
                  <a:pt x="12337" y="6157"/>
                </a:lnTo>
                <a:lnTo>
                  <a:pt x="12191" y="6084"/>
                </a:lnTo>
                <a:lnTo>
                  <a:pt x="11899" y="5938"/>
                </a:lnTo>
                <a:lnTo>
                  <a:pt x="11705" y="5816"/>
                </a:lnTo>
                <a:lnTo>
                  <a:pt x="11510" y="5743"/>
                </a:lnTo>
                <a:lnTo>
                  <a:pt x="11291" y="5670"/>
                </a:lnTo>
                <a:lnTo>
                  <a:pt x="11194" y="5670"/>
                </a:lnTo>
                <a:lnTo>
                  <a:pt x="11097" y="5694"/>
                </a:lnTo>
                <a:lnTo>
                  <a:pt x="11072" y="5694"/>
                </a:lnTo>
                <a:lnTo>
                  <a:pt x="11072" y="5719"/>
                </a:lnTo>
                <a:lnTo>
                  <a:pt x="11145" y="5816"/>
                </a:lnTo>
                <a:lnTo>
                  <a:pt x="11218" y="5889"/>
                </a:lnTo>
                <a:lnTo>
                  <a:pt x="11413" y="6035"/>
                </a:lnTo>
                <a:lnTo>
                  <a:pt x="11826" y="6254"/>
                </a:lnTo>
                <a:lnTo>
                  <a:pt x="12143" y="6449"/>
                </a:lnTo>
                <a:lnTo>
                  <a:pt x="12289" y="6522"/>
                </a:lnTo>
                <a:lnTo>
                  <a:pt x="12459" y="6570"/>
                </a:lnTo>
                <a:lnTo>
                  <a:pt x="12459" y="6838"/>
                </a:lnTo>
                <a:lnTo>
                  <a:pt x="12459" y="6862"/>
                </a:lnTo>
                <a:lnTo>
                  <a:pt x="12337" y="6765"/>
                </a:lnTo>
                <a:lnTo>
                  <a:pt x="12216" y="6668"/>
                </a:lnTo>
                <a:lnTo>
                  <a:pt x="12094" y="6619"/>
                </a:lnTo>
                <a:lnTo>
                  <a:pt x="11924" y="6546"/>
                </a:lnTo>
                <a:lnTo>
                  <a:pt x="11729" y="6473"/>
                </a:lnTo>
                <a:lnTo>
                  <a:pt x="11486" y="6424"/>
                </a:lnTo>
                <a:lnTo>
                  <a:pt x="11267" y="6376"/>
                </a:lnTo>
                <a:lnTo>
                  <a:pt x="11072" y="6303"/>
                </a:lnTo>
                <a:lnTo>
                  <a:pt x="11048" y="6303"/>
                </a:lnTo>
                <a:lnTo>
                  <a:pt x="11048" y="6327"/>
                </a:lnTo>
                <a:lnTo>
                  <a:pt x="11145" y="6449"/>
                </a:lnTo>
                <a:lnTo>
                  <a:pt x="11267" y="6546"/>
                </a:lnTo>
                <a:lnTo>
                  <a:pt x="11389" y="6619"/>
                </a:lnTo>
                <a:lnTo>
                  <a:pt x="11535" y="6692"/>
                </a:lnTo>
                <a:lnTo>
                  <a:pt x="11948" y="6862"/>
                </a:lnTo>
                <a:lnTo>
                  <a:pt x="12143" y="6960"/>
                </a:lnTo>
                <a:lnTo>
                  <a:pt x="12216" y="7033"/>
                </a:lnTo>
                <a:lnTo>
                  <a:pt x="12289" y="7106"/>
                </a:lnTo>
                <a:lnTo>
                  <a:pt x="12362" y="7179"/>
                </a:lnTo>
                <a:lnTo>
                  <a:pt x="12459" y="7179"/>
                </a:lnTo>
                <a:lnTo>
                  <a:pt x="12459" y="7592"/>
                </a:lnTo>
                <a:lnTo>
                  <a:pt x="12264" y="7495"/>
                </a:lnTo>
                <a:lnTo>
                  <a:pt x="12070" y="7422"/>
                </a:lnTo>
                <a:lnTo>
                  <a:pt x="11802" y="7349"/>
                </a:lnTo>
                <a:lnTo>
                  <a:pt x="11389" y="7106"/>
                </a:lnTo>
                <a:lnTo>
                  <a:pt x="11121" y="7008"/>
                </a:lnTo>
                <a:lnTo>
                  <a:pt x="11024" y="6984"/>
                </a:lnTo>
                <a:lnTo>
                  <a:pt x="10999" y="6984"/>
                </a:lnTo>
                <a:lnTo>
                  <a:pt x="10975" y="7008"/>
                </a:lnTo>
                <a:lnTo>
                  <a:pt x="10975" y="7057"/>
                </a:lnTo>
                <a:lnTo>
                  <a:pt x="10975" y="7106"/>
                </a:lnTo>
                <a:lnTo>
                  <a:pt x="10999" y="7227"/>
                </a:lnTo>
                <a:lnTo>
                  <a:pt x="11097" y="7325"/>
                </a:lnTo>
                <a:lnTo>
                  <a:pt x="11194" y="7398"/>
                </a:lnTo>
                <a:lnTo>
                  <a:pt x="11437" y="7544"/>
                </a:lnTo>
                <a:lnTo>
                  <a:pt x="11632" y="7641"/>
                </a:lnTo>
                <a:lnTo>
                  <a:pt x="11997" y="7836"/>
                </a:lnTo>
                <a:lnTo>
                  <a:pt x="12240" y="7909"/>
                </a:lnTo>
                <a:lnTo>
                  <a:pt x="12362" y="7933"/>
                </a:lnTo>
                <a:lnTo>
                  <a:pt x="12459" y="7957"/>
                </a:lnTo>
                <a:lnTo>
                  <a:pt x="12459" y="8298"/>
                </a:lnTo>
                <a:lnTo>
                  <a:pt x="12216" y="8176"/>
                </a:lnTo>
                <a:lnTo>
                  <a:pt x="11972" y="8055"/>
                </a:lnTo>
                <a:lnTo>
                  <a:pt x="11754" y="7909"/>
                </a:lnTo>
                <a:lnTo>
                  <a:pt x="11535" y="7738"/>
                </a:lnTo>
                <a:lnTo>
                  <a:pt x="11413" y="7665"/>
                </a:lnTo>
                <a:lnTo>
                  <a:pt x="11291" y="7617"/>
                </a:lnTo>
                <a:lnTo>
                  <a:pt x="11170" y="7592"/>
                </a:lnTo>
                <a:lnTo>
                  <a:pt x="11048" y="7568"/>
                </a:lnTo>
                <a:lnTo>
                  <a:pt x="11048" y="7592"/>
                </a:lnTo>
                <a:lnTo>
                  <a:pt x="11024" y="7617"/>
                </a:lnTo>
                <a:lnTo>
                  <a:pt x="11072" y="7714"/>
                </a:lnTo>
                <a:lnTo>
                  <a:pt x="11145" y="7836"/>
                </a:lnTo>
                <a:lnTo>
                  <a:pt x="11243" y="7933"/>
                </a:lnTo>
                <a:lnTo>
                  <a:pt x="11364" y="8006"/>
                </a:lnTo>
                <a:lnTo>
                  <a:pt x="11583" y="8176"/>
                </a:lnTo>
                <a:lnTo>
                  <a:pt x="11802" y="8322"/>
                </a:lnTo>
                <a:lnTo>
                  <a:pt x="12118" y="8493"/>
                </a:lnTo>
                <a:lnTo>
                  <a:pt x="12289" y="8590"/>
                </a:lnTo>
                <a:lnTo>
                  <a:pt x="12459" y="8663"/>
                </a:lnTo>
                <a:lnTo>
                  <a:pt x="12483" y="9101"/>
                </a:lnTo>
                <a:lnTo>
                  <a:pt x="12435" y="9028"/>
                </a:lnTo>
                <a:lnTo>
                  <a:pt x="12386" y="8979"/>
                </a:lnTo>
                <a:lnTo>
                  <a:pt x="12216" y="8882"/>
                </a:lnTo>
                <a:lnTo>
                  <a:pt x="11899" y="8736"/>
                </a:lnTo>
                <a:lnTo>
                  <a:pt x="11559" y="8517"/>
                </a:lnTo>
                <a:lnTo>
                  <a:pt x="11364" y="8420"/>
                </a:lnTo>
                <a:lnTo>
                  <a:pt x="11291" y="8395"/>
                </a:lnTo>
                <a:lnTo>
                  <a:pt x="11194" y="8371"/>
                </a:lnTo>
                <a:lnTo>
                  <a:pt x="11170" y="8371"/>
                </a:lnTo>
                <a:lnTo>
                  <a:pt x="11170" y="8395"/>
                </a:lnTo>
                <a:lnTo>
                  <a:pt x="11194" y="8493"/>
                </a:lnTo>
                <a:lnTo>
                  <a:pt x="11218" y="8566"/>
                </a:lnTo>
                <a:lnTo>
                  <a:pt x="11364" y="8712"/>
                </a:lnTo>
                <a:lnTo>
                  <a:pt x="11535" y="8858"/>
                </a:lnTo>
                <a:lnTo>
                  <a:pt x="11681" y="8955"/>
                </a:lnTo>
                <a:lnTo>
                  <a:pt x="11851" y="9052"/>
                </a:lnTo>
                <a:lnTo>
                  <a:pt x="12070" y="9174"/>
                </a:lnTo>
                <a:lnTo>
                  <a:pt x="12167" y="9223"/>
                </a:lnTo>
                <a:lnTo>
                  <a:pt x="12264" y="9247"/>
                </a:lnTo>
                <a:lnTo>
                  <a:pt x="12362" y="9247"/>
                </a:lnTo>
                <a:lnTo>
                  <a:pt x="12459" y="9223"/>
                </a:lnTo>
                <a:lnTo>
                  <a:pt x="12483" y="9198"/>
                </a:lnTo>
                <a:lnTo>
                  <a:pt x="12508" y="10025"/>
                </a:lnTo>
                <a:lnTo>
                  <a:pt x="12386" y="9879"/>
                </a:lnTo>
                <a:lnTo>
                  <a:pt x="12240" y="9758"/>
                </a:lnTo>
                <a:lnTo>
                  <a:pt x="11924" y="9515"/>
                </a:lnTo>
                <a:lnTo>
                  <a:pt x="11608" y="9296"/>
                </a:lnTo>
                <a:lnTo>
                  <a:pt x="11267" y="9101"/>
                </a:lnTo>
                <a:lnTo>
                  <a:pt x="11243" y="9077"/>
                </a:lnTo>
                <a:lnTo>
                  <a:pt x="11218" y="9101"/>
                </a:lnTo>
                <a:lnTo>
                  <a:pt x="11218" y="9125"/>
                </a:lnTo>
                <a:lnTo>
                  <a:pt x="11218" y="9150"/>
                </a:lnTo>
                <a:lnTo>
                  <a:pt x="11340" y="9296"/>
                </a:lnTo>
                <a:lnTo>
                  <a:pt x="11462" y="9466"/>
                </a:lnTo>
                <a:lnTo>
                  <a:pt x="11608" y="9612"/>
                </a:lnTo>
                <a:lnTo>
                  <a:pt x="11754" y="9733"/>
                </a:lnTo>
                <a:lnTo>
                  <a:pt x="11924" y="9855"/>
                </a:lnTo>
                <a:lnTo>
                  <a:pt x="12094" y="9952"/>
                </a:lnTo>
                <a:lnTo>
                  <a:pt x="12289" y="10050"/>
                </a:lnTo>
                <a:lnTo>
                  <a:pt x="12459" y="10098"/>
                </a:lnTo>
                <a:lnTo>
                  <a:pt x="12508" y="10098"/>
                </a:lnTo>
                <a:lnTo>
                  <a:pt x="12508" y="10488"/>
                </a:lnTo>
                <a:lnTo>
                  <a:pt x="12289" y="10317"/>
                </a:lnTo>
                <a:lnTo>
                  <a:pt x="11802" y="10001"/>
                </a:lnTo>
                <a:lnTo>
                  <a:pt x="11608" y="9855"/>
                </a:lnTo>
                <a:lnTo>
                  <a:pt x="11486" y="9782"/>
                </a:lnTo>
                <a:lnTo>
                  <a:pt x="11389" y="9733"/>
                </a:lnTo>
                <a:lnTo>
                  <a:pt x="11364" y="9758"/>
                </a:lnTo>
                <a:lnTo>
                  <a:pt x="11364" y="9855"/>
                </a:lnTo>
                <a:lnTo>
                  <a:pt x="11389" y="9952"/>
                </a:lnTo>
                <a:lnTo>
                  <a:pt x="11437" y="10050"/>
                </a:lnTo>
                <a:lnTo>
                  <a:pt x="11510" y="10147"/>
                </a:lnTo>
                <a:lnTo>
                  <a:pt x="11681" y="10317"/>
                </a:lnTo>
                <a:lnTo>
                  <a:pt x="11851" y="10439"/>
                </a:lnTo>
                <a:lnTo>
                  <a:pt x="12094" y="10585"/>
                </a:lnTo>
                <a:lnTo>
                  <a:pt x="12313" y="10780"/>
                </a:lnTo>
                <a:lnTo>
                  <a:pt x="12410" y="10877"/>
                </a:lnTo>
                <a:lnTo>
                  <a:pt x="12508" y="10999"/>
                </a:lnTo>
                <a:lnTo>
                  <a:pt x="12483" y="11291"/>
                </a:lnTo>
                <a:lnTo>
                  <a:pt x="11875" y="10901"/>
                </a:lnTo>
                <a:lnTo>
                  <a:pt x="11705" y="10780"/>
                </a:lnTo>
                <a:lnTo>
                  <a:pt x="11535" y="10658"/>
                </a:lnTo>
                <a:lnTo>
                  <a:pt x="11462" y="10609"/>
                </a:lnTo>
                <a:lnTo>
                  <a:pt x="11364" y="10585"/>
                </a:lnTo>
                <a:lnTo>
                  <a:pt x="11267" y="10561"/>
                </a:lnTo>
                <a:lnTo>
                  <a:pt x="11145" y="10585"/>
                </a:lnTo>
                <a:lnTo>
                  <a:pt x="11121" y="10609"/>
                </a:lnTo>
                <a:lnTo>
                  <a:pt x="11145" y="10634"/>
                </a:lnTo>
                <a:lnTo>
                  <a:pt x="11291" y="10780"/>
                </a:lnTo>
                <a:lnTo>
                  <a:pt x="11413" y="10926"/>
                </a:lnTo>
                <a:lnTo>
                  <a:pt x="11535" y="11072"/>
                </a:lnTo>
                <a:lnTo>
                  <a:pt x="11705" y="11218"/>
                </a:lnTo>
                <a:lnTo>
                  <a:pt x="12070" y="11485"/>
                </a:lnTo>
                <a:lnTo>
                  <a:pt x="12483" y="11729"/>
                </a:lnTo>
                <a:lnTo>
                  <a:pt x="12459" y="12094"/>
                </a:lnTo>
                <a:lnTo>
                  <a:pt x="12191" y="11923"/>
                </a:lnTo>
                <a:lnTo>
                  <a:pt x="11948" y="11777"/>
                </a:lnTo>
                <a:lnTo>
                  <a:pt x="11559" y="11558"/>
                </a:lnTo>
                <a:lnTo>
                  <a:pt x="11170" y="11388"/>
                </a:lnTo>
                <a:lnTo>
                  <a:pt x="11145" y="11388"/>
                </a:lnTo>
                <a:lnTo>
                  <a:pt x="11145" y="11485"/>
                </a:lnTo>
                <a:lnTo>
                  <a:pt x="11170" y="11558"/>
                </a:lnTo>
                <a:lnTo>
                  <a:pt x="11243" y="11704"/>
                </a:lnTo>
                <a:lnTo>
                  <a:pt x="11364" y="11850"/>
                </a:lnTo>
                <a:lnTo>
                  <a:pt x="11510" y="11948"/>
                </a:lnTo>
                <a:lnTo>
                  <a:pt x="11754" y="12118"/>
                </a:lnTo>
                <a:lnTo>
                  <a:pt x="12021" y="12288"/>
                </a:lnTo>
                <a:lnTo>
                  <a:pt x="12216" y="12434"/>
                </a:lnTo>
                <a:lnTo>
                  <a:pt x="12435" y="12556"/>
                </a:lnTo>
                <a:lnTo>
                  <a:pt x="12435" y="12799"/>
                </a:lnTo>
                <a:lnTo>
                  <a:pt x="12337" y="12824"/>
                </a:lnTo>
                <a:lnTo>
                  <a:pt x="12264" y="12848"/>
                </a:lnTo>
                <a:lnTo>
                  <a:pt x="12143" y="12775"/>
                </a:lnTo>
                <a:lnTo>
                  <a:pt x="11972" y="12629"/>
                </a:lnTo>
                <a:lnTo>
                  <a:pt x="11802" y="12507"/>
                </a:lnTo>
                <a:lnTo>
                  <a:pt x="11632" y="12361"/>
                </a:lnTo>
                <a:lnTo>
                  <a:pt x="11462" y="12240"/>
                </a:lnTo>
                <a:lnTo>
                  <a:pt x="11413" y="12240"/>
                </a:lnTo>
                <a:lnTo>
                  <a:pt x="11413" y="12288"/>
                </a:lnTo>
                <a:lnTo>
                  <a:pt x="11413" y="12361"/>
                </a:lnTo>
                <a:lnTo>
                  <a:pt x="11413" y="12434"/>
                </a:lnTo>
                <a:lnTo>
                  <a:pt x="11486" y="12605"/>
                </a:lnTo>
                <a:lnTo>
                  <a:pt x="11389" y="12605"/>
                </a:lnTo>
                <a:lnTo>
                  <a:pt x="11267" y="12653"/>
                </a:lnTo>
                <a:lnTo>
                  <a:pt x="11243" y="12678"/>
                </a:lnTo>
                <a:lnTo>
                  <a:pt x="11218" y="12726"/>
                </a:lnTo>
                <a:lnTo>
                  <a:pt x="11218" y="12775"/>
                </a:lnTo>
                <a:lnTo>
                  <a:pt x="11218" y="12848"/>
                </a:lnTo>
                <a:lnTo>
                  <a:pt x="11291" y="12921"/>
                </a:lnTo>
                <a:lnTo>
                  <a:pt x="11364" y="12994"/>
                </a:lnTo>
                <a:lnTo>
                  <a:pt x="11486" y="13043"/>
                </a:lnTo>
                <a:lnTo>
                  <a:pt x="11583" y="13091"/>
                </a:lnTo>
                <a:lnTo>
                  <a:pt x="11705" y="13140"/>
                </a:lnTo>
                <a:lnTo>
                  <a:pt x="11802" y="13140"/>
                </a:lnTo>
                <a:lnTo>
                  <a:pt x="11924" y="13116"/>
                </a:lnTo>
                <a:lnTo>
                  <a:pt x="12021" y="13067"/>
                </a:lnTo>
                <a:lnTo>
                  <a:pt x="12240" y="13189"/>
                </a:lnTo>
                <a:lnTo>
                  <a:pt x="12410" y="13335"/>
                </a:lnTo>
                <a:lnTo>
                  <a:pt x="12386" y="13602"/>
                </a:lnTo>
                <a:lnTo>
                  <a:pt x="11802" y="13286"/>
                </a:lnTo>
                <a:lnTo>
                  <a:pt x="11510" y="13140"/>
                </a:lnTo>
                <a:lnTo>
                  <a:pt x="11194" y="13018"/>
                </a:lnTo>
                <a:lnTo>
                  <a:pt x="11170" y="13018"/>
                </a:lnTo>
                <a:lnTo>
                  <a:pt x="11145" y="13116"/>
                </a:lnTo>
                <a:lnTo>
                  <a:pt x="11170" y="13213"/>
                </a:lnTo>
                <a:lnTo>
                  <a:pt x="11218" y="13286"/>
                </a:lnTo>
                <a:lnTo>
                  <a:pt x="11291" y="13359"/>
                </a:lnTo>
                <a:lnTo>
                  <a:pt x="11437" y="13456"/>
                </a:lnTo>
                <a:lnTo>
                  <a:pt x="11608" y="13529"/>
                </a:lnTo>
                <a:lnTo>
                  <a:pt x="11802" y="13651"/>
                </a:lnTo>
                <a:lnTo>
                  <a:pt x="11997" y="13773"/>
                </a:lnTo>
                <a:lnTo>
                  <a:pt x="12191" y="13894"/>
                </a:lnTo>
                <a:lnTo>
                  <a:pt x="12386" y="14016"/>
                </a:lnTo>
                <a:lnTo>
                  <a:pt x="12386" y="14332"/>
                </a:lnTo>
                <a:lnTo>
                  <a:pt x="11851" y="13943"/>
                </a:lnTo>
                <a:lnTo>
                  <a:pt x="11705" y="13846"/>
                </a:lnTo>
                <a:lnTo>
                  <a:pt x="11510" y="13724"/>
                </a:lnTo>
                <a:lnTo>
                  <a:pt x="11413" y="13700"/>
                </a:lnTo>
                <a:lnTo>
                  <a:pt x="11316" y="13675"/>
                </a:lnTo>
                <a:lnTo>
                  <a:pt x="11218" y="13675"/>
                </a:lnTo>
                <a:lnTo>
                  <a:pt x="11121" y="13700"/>
                </a:lnTo>
                <a:lnTo>
                  <a:pt x="11121" y="13724"/>
                </a:lnTo>
                <a:lnTo>
                  <a:pt x="11121" y="13748"/>
                </a:lnTo>
                <a:lnTo>
                  <a:pt x="11145" y="13821"/>
                </a:lnTo>
                <a:lnTo>
                  <a:pt x="11218" y="13919"/>
                </a:lnTo>
                <a:lnTo>
                  <a:pt x="11364" y="14040"/>
                </a:lnTo>
                <a:lnTo>
                  <a:pt x="11729" y="14284"/>
                </a:lnTo>
                <a:lnTo>
                  <a:pt x="12045" y="14551"/>
                </a:lnTo>
                <a:lnTo>
                  <a:pt x="12191" y="14673"/>
                </a:lnTo>
                <a:lnTo>
                  <a:pt x="12386" y="14795"/>
                </a:lnTo>
                <a:lnTo>
                  <a:pt x="12386" y="15281"/>
                </a:lnTo>
                <a:lnTo>
                  <a:pt x="12289" y="15184"/>
                </a:lnTo>
                <a:lnTo>
                  <a:pt x="12167" y="15087"/>
                </a:lnTo>
                <a:lnTo>
                  <a:pt x="12021" y="14916"/>
                </a:lnTo>
                <a:lnTo>
                  <a:pt x="11851" y="14746"/>
                </a:lnTo>
                <a:lnTo>
                  <a:pt x="11656" y="14600"/>
                </a:lnTo>
                <a:lnTo>
                  <a:pt x="11413" y="14503"/>
                </a:lnTo>
                <a:lnTo>
                  <a:pt x="11170" y="14430"/>
                </a:lnTo>
                <a:lnTo>
                  <a:pt x="10926" y="14430"/>
                </a:lnTo>
                <a:lnTo>
                  <a:pt x="10902" y="14454"/>
                </a:lnTo>
                <a:lnTo>
                  <a:pt x="10902" y="14478"/>
                </a:lnTo>
                <a:lnTo>
                  <a:pt x="10975" y="14551"/>
                </a:lnTo>
                <a:lnTo>
                  <a:pt x="11024" y="14600"/>
                </a:lnTo>
                <a:lnTo>
                  <a:pt x="11194" y="14697"/>
                </a:lnTo>
                <a:lnTo>
                  <a:pt x="11462" y="14892"/>
                </a:lnTo>
                <a:lnTo>
                  <a:pt x="11608" y="14989"/>
                </a:lnTo>
                <a:lnTo>
                  <a:pt x="11729" y="15111"/>
                </a:lnTo>
                <a:lnTo>
                  <a:pt x="11875" y="15281"/>
                </a:lnTo>
                <a:lnTo>
                  <a:pt x="12021" y="15452"/>
                </a:lnTo>
                <a:lnTo>
                  <a:pt x="12118" y="15525"/>
                </a:lnTo>
                <a:lnTo>
                  <a:pt x="12191" y="15573"/>
                </a:lnTo>
                <a:lnTo>
                  <a:pt x="12313" y="15622"/>
                </a:lnTo>
                <a:lnTo>
                  <a:pt x="12410" y="15646"/>
                </a:lnTo>
                <a:lnTo>
                  <a:pt x="12435" y="16133"/>
                </a:lnTo>
                <a:lnTo>
                  <a:pt x="12386" y="16133"/>
                </a:lnTo>
                <a:lnTo>
                  <a:pt x="12362" y="16084"/>
                </a:lnTo>
                <a:lnTo>
                  <a:pt x="12240" y="15963"/>
                </a:lnTo>
                <a:lnTo>
                  <a:pt x="12070" y="15841"/>
                </a:lnTo>
                <a:lnTo>
                  <a:pt x="11754" y="15622"/>
                </a:lnTo>
                <a:lnTo>
                  <a:pt x="11413" y="15354"/>
                </a:lnTo>
                <a:lnTo>
                  <a:pt x="11243" y="15233"/>
                </a:lnTo>
                <a:lnTo>
                  <a:pt x="11072" y="15160"/>
                </a:lnTo>
                <a:lnTo>
                  <a:pt x="11048" y="15160"/>
                </a:lnTo>
                <a:lnTo>
                  <a:pt x="11024" y="15184"/>
                </a:lnTo>
                <a:lnTo>
                  <a:pt x="11048" y="15281"/>
                </a:lnTo>
                <a:lnTo>
                  <a:pt x="11072" y="15354"/>
                </a:lnTo>
                <a:lnTo>
                  <a:pt x="11170" y="15500"/>
                </a:lnTo>
                <a:lnTo>
                  <a:pt x="11291" y="15622"/>
                </a:lnTo>
                <a:lnTo>
                  <a:pt x="11437" y="15744"/>
                </a:lnTo>
                <a:lnTo>
                  <a:pt x="11218" y="15646"/>
                </a:lnTo>
                <a:lnTo>
                  <a:pt x="9564" y="14916"/>
                </a:lnTo>
                <a:lnTo>
                  <a:pt x="8055" y="14259"/>
                </a:lnTo>
                <a:lnTo>
                  <a:pt x="7301" y="13894"/>
                </a:lnTo>
                <a:lnTo>
                  <a:pt x="7130" y="13797"/>
                </a:lnTo>
                <a:lnTo>
                  <a:pt x="6863" y="13675"/>
                </a:lnTo>
                <a:lnTo>
                  <a:pt x="6863" y="13602"/>
                </a:lnTo>
                <a:lnTo>
                  <a:pt x="6814" y="12775"/>
                </a:lnTo>
                <a:lnTo>
                  <a:pt x="6765" y="11972"/>
                </a:lnTo>
                <a:lnTo>
                  <a:pt x="6692" y="11145"/>
                </a:lnTo>
                <a:lnTo>
                  <a:pt x="6668" y="10317"/>
                </a:lnTo>
                <a:lnTo>
                  <a:pt x="6668" y="9393"/>
                </a:lnTo>
                <a:lnTo>
                  <a:pt x="6692" y="8493"/>
                </a:lnTo>
                <a:lnTo>
                  <a:pt x="6717" y="7568"/>
                </a:lnTo>
                <a:lnTo>
                  <a:pt x="6717" y="6643"/>
                </a:lnTo>
                <a:lnTo>
                  <a:pt x="6717" y="5889"/>
                </a:lnTo>
                <a:lnTo>
                  <a:pt x="6863" y="5913"/>
                </a:lnTo>
                <a:lnTo>
                  <a:pt x="6936" y="5938"/>
                </a:lnTo>
                <a:lnTo>
                  <a:pt x="7033" y="5962"/>
                </a:lnTo>
                <a:lnTo>
                  <a:pt x="7130" y="5938"/>
                </a:lnTo>
                <a:lnTo>
                  <a:pt x="7228" y="5865"/>
                </a:lnTo>
                <a:lnTo>
                  <a:pt x="7252" y="5816"/>
                </a:lnTo>
                <a:lnTo>
                  <a:pt x="7276" y="5767"/>
                </a:lnTo>
                <a:lnTo>
                  <a:pt x="7276" y="5670"/>
                </a:lnTo>
                <a:lnTo>
                  <a:pt x="7252" y="5573"/>
                </a:lnTo>
                <a:lnTo>
                  <a:pt x="7179" y="5500"/>
                </a:lnTo>
                <a:lnTo>
                  <a:pt x="7082" y="5451"/>
                </a:lnTo>
                <a:lnTo>
                  <a:pt x="7033" y="5427"/>
                </a:lnTo>
                <a:lnTo>
                  <a:pt x="6960" y="5402"/>
                </a:lnTo>
                <a:lnTo>
                  <a:pt x="6887" y="5427"/>
                </a:lnTo>
                <a:lnTo>
                  <a:pt x="6814" y="5451"/>
                </a:lnTo>
                <a:lnTo>
                  <a:pt x="6790" y="5451"/>
                </a:lnTo>
                <a:lnTo>
                  <a:pt x="6692" y="5500"/>
                </a:lnTo>
                <a:lnTo>
                  <a:pt x="6644" y="3018"/>
                </a:lnTo>
                <a:lnTo>
                  <a:pt x="6644" y="1752"/>
                </a:lnTo>
                <a:lnTo>
                  <a:pt x="6668" y="512"/>
                </a:lnTo>
                <a:close/>
                <a:moveTo>
                  <a:pt x="6206" y="585"/>
                </a:moveTo>
                <a:lnTo>
                  <a:pt x="6181" y="852"/>
                </a:lnTo>
                <a:lnTo>
                  <a:pt x="6181" y="1096"/>
                </a:lnTo>
                <a:lnTo>
                  <a:pt x="6181" y="1874"/>
                </a:lnTo>
                <a:lnTo>
                  <a:pt x="6181" y="2653"/>
                </a:lnTo>
                <a:lnTo>
                  <a:pt x="6181" y="3602"/>
                </a:lnTo>
                <a:lnTo>
                  <a:pt x="6181" y="4551"/>
                </a:lnTo>
                <a:lnTo>
                  <a:pt x="6230" y="6449"/>
                </a:lnTo>
                <a:lnTo>
                  <a:pt x="6230" y="7373"/>
                </a:lnTo>
                <a:lnTo>
                  <a:pt x="6206" y="8298"/>
                </a:lnTo>
                <a:lnTo>
                  <a:pt x="6181" y="9198"/>
                </a:lnTo>
                <a:lnTo>
                  <a:pt x="6133" y="10123"/>
                </a:lnTo>
                <a:lnTo>
                  <a:pt x="6157" y="10926"/>
                </a:lnTo>
                <a:lnTo>
                  <a:pt x="6206" y="11729"/>
                </a:lnTo>
                <a:lnTo>
                  <a:pt x="6254" y="12532"/>
                </a:lnTo>
                <a:lnTo>
                  <a:pt x="6279" y="13335"/>
                </a:lnTo>
                <a:lnTo>
                  <a:pt x="6206" y="13359"/>
                </a:lnTo>
                <a:lnTo>
                  <a:pt x="5451" y="13748"/>
                </a:lnTo>
                <a:lnTo>
                  <a:pt x="4721" y="14186"/>
                </a:lnTo>
                <a:lnTo>
                  <a:pt x="3262" y="15087"/>
                </a:lnTo>
                <a:lnTo>
                  <a:pt x="2897" y="15281"/>
                </a:lnTo>
                <a:lnTo>
                  <a:pt x="2532" y="15476"/>
                </a:lnTo>
                <a:lnTo>
                  <a:pt x="2142" y="15671"/>
                </a:lnTo>
                <a:lnTo>
                  <a:pt x="1753" y="15841"/>
                </a:lnTo>
                <a:lnTo>
                  <a:pt x="950" y="16133"/>
                </a:lnTo>
                <a:lnTo>
                  <a:pt x="634" y="16255"/>
                </a:lnTo>
                <a:lnTo>
                  <a:pt x="634" y="16279"/>
                </a:lnTo>
                <a:lnTo>
                  <a:pt x="585" y="15938"/>
                </a:lnTo>
                <a:lnTo>
                  <a:pt x="561" y="15573"/>
                </a:lnTo>
                <a:lnTo>
                  <a:pt x="536" y="15208"/>
                </a:lnTo>
                <a:lnTo>
                  <a:pt x="512" y="14868"/>
                </a:lnTo>
                <a:lnTo>
                  <a:pt x="439" y="14430"/>
                </a:lnTo>
                <a:lnTo>
                  <a:pt x="415" y="13992"/>
                </a:lnTo>
                <a:lnTo>
                  <a:pt x="415" y="13578"/>
                </a:lnTo>
                <a:lnTo>
                  <a:pt x="439" y="13140"/>
                </a:lnTo>
                <a:lnTo>
                  <a:pt x="512" y="11461"/>
                </a:lnTo>
                <a:lnTo>
                  <a:pt x="561" y="10634"/>
                </a:lnTo>
                <a:lnTo>
                  <a:pt x="585" y="9782"/>
                </a:lnTo>
                <a:lnTo>
                  <a:pt x="609" y="8225"/>
                </a:lnTo>
                <a:lnTo>
                  <a:pt x="609" y="6668"/>
                </a:lnTo>
                <a:lnTo>
                  <a:pt x="561" y="5110"/>
                </a:lnTo>
                <a:lnTo>
                  <a:pt x="536" y="4356"/>
                </a:lnTo>
                <a:lnTo>
                  <a:pt x="488" y="3577"/>
                </a:lnTo>
                <a:lnTo>
                  <a:pt x="609" y="3504"/>
                </a:lnTo>
                <a:lnTo>
                  <a:pt x="755" y="3407"/>
                </a:lnTo>
                <a:lnTo>
                  <a:pt x="1145" y="3164"/>
                </a:lnTo>
                <a:lnTo>
                  <a:pt x="1558" y="2920"/>
                </a:lnTo>
                <a:lnTo>
                  <a:pt x="2337" y="2507"/>
                </a:lnTo>
                <a:lnTo>
                  <a:pt x="3116" y="2093"/>
                </a:lnTo>
                <a:lnTo>
                  <a:pt x="3529" y="1850"/>
                </a:lnTo>
                <a:lnTo>
                  <a:pt x="3967" y="1655"/>
                </a:lnTo>
                <a:lnTo>
                  <a:pt x="4405" y="1461"/>
                </a:lnTo>
                <a:lnTo>
                  <a:pt x="4843" y="1290"/>
                </a:lnTo>
                <a:lnTo>
                  <a:pt x="5208" y="1144"/>
                </a:lnTo>
                <a:lnTo>
                  <a:pt x="5549" y="974"/>
                </a:lnTo>
                <a:lnTo>
                  <a:pt x="6206" y="585"/>
                </a:lnTo>
                <a:close/>
                <a:moveTo>
                  <a:pt x="18542" y="804"/>
                </a:moveTo>
                <a:lnTo>
                  <a:pt x="18518" y="1023"/>
                </a:lnTo>
                <a:lnTo>
                  <a:pt x="18518" y="1266"/>
                </a:lnTo>
                <a:lnTo>
                  <a:pt x="18518" y="1752"/>
                </a:lnTo>
                <a:lnTo>
                  <a:pt x="18567" y="2263"/>
                </a:lnTo>
                <a:lnTo>
                  <a:pt x="18567" y="2726"/>
                </a:lnTo>
                <a:lnTo>
                  <a:pt x="18542" y="4648"/>
                </a:lnTo>
                <a:lnTo>
                  <a:pt x="18494" y="6546"/>
                </a:lnTo>
                <a:lnTo>
                  <a:pt x="18469" y="8249"/>
                </a:lnTo>
                <a:lnTo>
                  <a:pt x="18494" y="9952"/>
                </a:lnTo>
                <a:lnTo>
                  <a:pt x="18567" y="13359"/>
                </a:lnTo>
                <a:lnTo>
                  <a:pt x="18542" y="13359"/>
                </a:lnTo>
                <a:lnTo>
                  <a:pt x="18396" y="13505"/>
                </a:lnTo>
                <a:lnTo>
                  <a:pt x="18226" y="13651"/>
                </a:lnTo>
                <a:lnTo>
                  <a:pt x="18031" y="13748"/>
                </a:lnTo>
                <a:lnTo>
                  <a:pt x="17837" y="13846"/>
                </a:lnTo>
                <a:lnTo>
                  <a:pt x="17423" y="14016"/>
                </a:lnTo>
                <a:lnTo>
                  <a:pt x="17009" y="14186"/>
                </a:lnTo>
                <a:lnTo>
                  <a:pt x="16474" y="14454"/>
                </a:lnTo>
                <a:lnTo>
                  <a:pt x="15963" y="14746"/>
                </a:lnTo>
                <a:lnTo>
                  <a:pt x="15452" y="15038"/>
                </a:lnTo>
                <a:lnTo>
                  <a:pt x="14941" y="15330"/>
                </a:lnTo>
                <a:lnTo>
                  <a:pt x="14479" y="15598"/>
                </a:lnTo>
                <a:lnTo>
                  <a:pt x="14016" y="15865"/>
                </a:lnTo>
                <a:lnTo>
                  <a:pt x="13773" y="15987"/>
                </a:lnTo>
                <a:lnTo>
                  <a:pt x="13530" y="16109"/>
                </a:lnTo>
                <a:lnTo>
                  <a:pt x="13286" y="16182"/>
                </a:lnTo>
                <a:lnTo>
                  <a:pt x="13043" y="16255"/>
                </a:lnTo>
                <a:lnTo>
                  <a:pt x="12921" y="16303"/>
                </a:lnTo>
                <a:lnTo>
                  <a:pt x="12921" y="15987"/>
                </a:lnTo>
                <a:lnTo>
                  <a:pt x="12897" y="15671"/>
                </a:lnTo>
                <a:lnTo>
                  <a:pt x="12873" y="15379"/>
                </a:lnTo>
                <a:lnTo>
                  <a:pt x="12848" y="15062"/>
                </a:lnTo>
                <a:lnTo>
                  <a:pt x="12824" y="14770"/>
                </a:lnTo>
                <a:lnTo>
                  <a:pt x="12824" y="14016"/>
                </a:lnTo>
                <a:lnTo>
                  <a:pt x="12848" y="13943"/>
                </a:lnTo>
                <a:lnTo>
                  <a:pt x="12848" y="13894"/>
                </a:lnTo>
                <a:lnTo>
                  <a:pt x="12848" y="13359"/>
                </a:lnTo>
                <a:lnTo>
                  <a:pt x="12946" y="13335"/>
                </a:lnTo>
                <a:lnTo>
                  <a:pt x="13019" y="13310"/>
                </a:lnTo>
                <a:lnTo>
                  <a:pt x="13092" y="13262"/>
                </a:lnTo>
                <a:lnTo>
                  <a:pt x="13140" y="13213"/>
                </a:lnTo>
                <a:lnTo>
                  <a:pt x="13165" y="13116"/>
                </a:lnTo>
                <a:lnTo>
                  <a:pt x="13165" y="13018"/>
                </a:lnTo>
                <a:lnTo>
                  <a:pt x="13116" y="12921"/>
                </a:lnTo>
                <a:lnTo>
                  <a:pt x="13043" y="12872"/>
                </a:lnTo>
                <a:lnTo>
                  <a:pt x="12970" y="12848"/>
                </a:lnTo>
                <a:lnTo>
                  <a:pt x="12873" y="12848"/>
                </a:lnTo>
                <a:lnTo>
                  <a:pt x="12921" y="11826"/>
                </a:lnTo>
                <a:lnTo>
                  <a:pt x="12970" y="10804"/>
                </a:lnTo>
                <a:lnTo>
                  <a:pt x="12970" y="9806"/>
                </a:lnTo>
                <a:lnTo>
                  <a:pt x="12946" y="8809"/>
                </a:lnTo>
                <a:lnTo>
                  <a:pt x="12897" y="7836"/>
                </a:lnTo>
                <a:lnTo>
                  <a:pt x="12897" y="6838"/>
                </a:lnTo>
                <a:lnTo>
                  <a:pt x="12946" y="5986"/>
                </a:lnTo>
                <a:lnTo>
                  <a:pt x="12970" y="5110"/>
                </a:lnTo>
                <a:lnTo>
                  <a:pt x="12970" y="4672"/>
                </a:lnTo>
                <a:lnTo>
                  <a:pt x="12946" y="4234"/>
                </a:lnTo>
                <a:lnTo>
                  <a:pt x="12897" y="3821"/>
                </a:lnTo>
                <a:lnTo>
                  <a:pt x="12800" y="3383"/>
                </a:lnTo>
                <a:lnTo>
                  <a:pt x="13067" y="3285"/>
                </a:lnTo>
                <a:lnTo>
                  <a:pt x="13335" y="3164"/>
                </a:lnTo>
                <a:lnTo>
                  <a:pt x="13603" y="3042"/>
                </a:lnTo>
                <a:lnTo>
                  <a:pt x="13870" y="2920"/>
                </a:lnTo>
                <a:lnTo>
                  <a:pt x="14235" y="2750"/>
                </a:lnTo>
                <a:lnTo>
                  <a:pt x="14600" y="2555"/>
                </a:lnTo>
                <a:lnTo>
                  <a:pt x="15306" y="2142"/>
                </a:lnTo>
                <a:lnTo>
                  <a:pt x="15963" y="1752"/>
                </a:lnTo>
                <a:lnTo>
                  <a:pt x="16304" y="1558"/>
                </a:lnTo>
                <a:lnTo>
                  <a:pt x="16644" y="1388"/>
                </a:lnTo>
                <a:lnTo>
                  <a:pt x="17009" y="1242"/>
                </a:lnTo>
                <a:lnTo>
                  <a:pt x="17350" y="1096"/>
                </a:lnTo>
                <a:lnTo>
                  <a:pt x="17715" y="974"/>
                </a:lnTo>
                <a:lnTo>
                  <a:pt x="18104" y="877"/>
                </a:lnTo>
                <a:lnTo>
                  <a:pt x="18153" y="877"/>
                </a:lnTo>
                <a:lnTo>
                  <a:pt x="18202" y="828"/>
                </a:lnTo>
                <a:lnTo>
                  <a:pt x="18372" y="828"/>
                </a:lnTo>
                <a:lnTo>
                  <a:pt x="18542" y="804"/>
                </a:lnTo>
                <a:close/>
                <a:moveTo>
                  <a:pt x="6279" y="1"/>
                </a:moveTo>
                <a:lnTo>
                  <a:pt x="6206" y="25"/>
                </a:lnTo>
                <a:lnTo>
                  <a:pt x="5403" y="487"/>
                </a:lnTo>
                <a:lnTo>
                  <a:pt x="4989" y="682"/>
                </a:lnTo>
                <a:lnTo>
                  <a:pt x="4551" y="852"/>
                </a:lnTo>
                <a:lnTo>
                  <a:pt x="4113" y="1023"/>
                </a:lnTo>
                <a:lnTo>
                  <a:pt x="3700" y="1217"/>
                </a:lnTo>
                <a:lnTo>
                  <a:pt x="3286" y="1436"/>
                </a:lnTo>
                <a:lnTo>
                  <a:pt x="2872" y="1679"/>
                </a:lnTo>
                <a:lnTo>
                  <a:pt x="2021" y="2117"/>
                </a:lnTo>
                <a:lnTo>
                  <a:pt x="1607" y="2361"/>
                </a:lnTo>
                <a:lnTo>
                  <a:pt x="1193" y="2604"/>
                </a:lnTo>
                <a:lnTo>
                  <a:pt x="974" y="2726"/>
                </a:lnTo>
                <a:lnTo>
                  <a:pt x="731" y="2896"/>
                </a:lnTo>
                <a:lnTo>
                  <a:pt x="488" y="3066"/>
                </a:lnTo>
                <a:lnTo>
                  <a:pt x="390" y="3188"/>
                </a:lnTo>
                <a:lnTo>
                  <a:pt x="317" y="3285"/>
                </a:lnTo>
                <a:lnTo>
                  <a:pt x="269" y="3310"/>
                </a:lnTo>
                <a:lnTo>
                  <a:pt x="220" y="3358"/>
                </a:lnTo>
                <a:lnTo>
                  <a:pt x="171" y="3480"/>
                </a:lnTo>
                <a:lnTo>
                  <a:pt x="123" y="3626"/>
                </a:lnTo>
                <a:lnTo>
                  <a:pt x="98" y="3894"/>
                </a:lnTo>
                <a:lnTo>
                  <a:pt x="98" y="4186"/>
                </a:lnTo>
                <a:lnTo>
                  <a:pt x="123" y="4453"/>
                </a:lnTo>
                <a:lnTo>
                  <a:pt x="147" y="5329"/>
                </a:lnTo>
                <a:lnTo>
                  <a:pt x="171" y="6205"/>
                </a:lnTo>
                <a:lnTo>
                  <a:pt x="171" y="8006"/>
                </a:lnTo>
                <a:lnTo>
                  <a:pt x="147" y="9782"/>
                </a:lnTo>
                <a:lnTo>
                  <a:pt x="123" y="10658"/>
                </a:lnTo>
                <a:lnTo>
                  <a:pt x="98" y="11558"/>
                </a:lnTo>
                <a:lnTo>
                  <a:pt x="1" y="13335"/>
                </a:lnTo>
                <a:lnTo>
                  <a:pt x="1" y="13700"/>
                </a:lnTo>
                <a:lnTo>
                  <a:pt x="1" y="14065"/>
                </a:lnTo>
                <a:lnTo>
                  <a:pt x="25" y="14454"/>
                </a:lnTo>
                <a:lnTo>
                  <a:pt x="50" y="14819"/>
                </a:lnTo>
                <a:lnTo>
                  <a:pt x="98" y="15233"/>
                </a:lnTo>
                <a:lnTo>
                  <a:pt x="123" y="15646"/>
                </a:lnTo>
                <a:lnTo>
                  <a:pt x="147" y="16060"/>
                </a:lnTo>
                <a:lnTo>
                  <a:pt x="171" y="16255"/>
                </a:lnTo>
                <a:lnTo>
                  <a:pt x="220" y="16474"/>
                </a:lnTo>
                <a:lnTo>
                  <a:pt x="244" y="16547"/>
                </a:lnTo>
                <a:lnTo>
                  <a:pt x="317" y="16595"/>
                </a:lnTo>
                <a:lnTo>
                  <a:pt x="390" y="16620"/>
                </a:lnTo>
                <a:lnTo>
                  <a:pt x="463" y="16620"/>
                </a:lnTo>
                <a:lnTo>
                  <a:pt x="536" y="16644"/>
                </a:lnTo>
                <a:lnTo>
                  <a:pt x="707" y="16620"/>
                </a:lnTo>
                <a:lnTo>
                  <a:pt x="877" y="16595"/>
                </a:lnTo>
                <a:lnTo>
                  <a:pt x="1218" y="16474"/>
                </a:lnTo>
                <a:lnTo>
                  <a:pt x="1850" y="16230"/>
                </a:lnTo>
                <a:lnTo>
                  <a:pt x="2240" y="16060"/>
                </a:lnTo>
                <a:lnTo>
                  <a:pt x="2605" y="15890"/>
                </a:lnTo>
                <a:lnTo>
                  <a:pt x="2970" y="15719"/>
                </a:lnTo>
                <a:lnTo>
                  <a:pt x="3310" y="15525"/>
                </a:lnTo>
                <a:lnTo>
                  <a:pt x="4064" y="15062"/>
                </a:lnTo>
                <a:lnTo>
                  <a:pt x="4819" y="14624"/>
                </a:lnTo>
                <a:lnTo>
                  <a:pt x="5549" y="14162"/>
                </a:lnTo>
                <a:lnTo>
                  <a:pt x="5938" y="13967"/>
                </a:lnTo>
                <a:lnTo>
                  <a:pt x="6327" y="13748"/>
                </a:lnTo>
                <a:lnTo>
                  <a:pt x="6400" y="13821"/>
                </a:lnTo>
                <a:lnTo>
                  <a:pt x="6473" y="13870"/>
                </a:lnTo>
                <a:lnTo>
                  <a:pt x="6546" y="13894"/>
                </a:lnTo>
                <a:lnTo>
                  <a:pt x="6644" y="13870"/>
                </a:lnTo>
                <a:lnTo>
                  <a:pt x="6741" y="13992"/>
                </a:lnTo>
                <a:lnTo>
                  <a:pt x="6863" y="14089"/>
                </a:lnTo>
                <a:lnTo>
                  <a:pt x="7130" y="14259"/>
                </a:lnTo>
                <a:lnTo>
                  <a:pt x="7422" y="14405"/>
                </a:lnTo>
                <a:lnTo>
                  <a:pt x="7690" y="14551"/>
                </a:lnTo>
                <a:lnTo>
                  <a:pt x="8517" y="14916"/>
                </a:lnTo>
                <a:lnTo>
                  <a:pt x="9345" y="15306"/>
                </a:lnTo>
                <a:lnTo>
                  <a:pt x="10878" y="16011"/>
                </a:lnTo>
                <a:lnTo>
                  <a:pt x="11656" y="16352"/>
                </a:lnTo>
                <a:lnTo>
                  <a:pt x="12435" y="16644"/>
                </a:lnTo>
                <a:lnTo>
                  <a:pt x="12459" y="16668"/>
                </a:lnTo>
                <a:lnTo>
                  <a:pt x="12508" y="16741"/>
                </a:lnTo>
                <a:lnTo>
                  <a:pt x="12581" y="16766"/>
                </a:lnTo>
                <a:lnTo>
                  <a:pt x="12678" y="16766"/>
                </a:lnTo>
                <a:lnTo>
                  <a:pt x="12751" y="16741"/>
                </a:lnTo>
                <a:lnTo>
                  <a:pt x="12800" y="16693"/>
                </a:lnTo>
                <a:lnTo>
                  <a:pt x="12897" y="16717"/>
                </a:lnTo>
                <a:lnTo>
                  <a:pt x="13019" y="16717"/>
                </a:lnTo>
                <a:lnTo>
                  <a:pt x="13286" y="16668"/>
                </a:lnTo>
                <a:lnTo>
                  <a:pt x="13530" y="16595"/>
                </a:lnTo>
                <a:lnTo>
                  <a:pt x="13724" y="16522"/>
                </a:lnTo>
                <a:lnTo>
                  <a:pt x="14211" y="16279"/>
                </a:lnTo>
                <a:lnTo>
                  <a:pt x="14698" y="16036"/>
                </a:lnTo>
                <a:lnTo>
                  <a:pt x="15647" y="15500"/>
                </a:lnTo>
                <a:lnTo>
                  <a:pt x="16596" y="14965"/>
                </a:lnTo>
                <a:lnTo>
                  <a:pt x="17058" y="14697"/>
                </a:lnTo>
                <a:lnTo>
                  <a:pt x="17545" y="14478"/>
                </a:lnTo>
                <a:lnTo>
                  <a:pt x="17885" y="14332"/>
                </a:lnTo>
                <a:lnTo>
                  <a:pt x="18226" y="14186"/>
                </a:lnTo>
                <a:lnTo>
                  <a:pt x="18542" y="14016"/>
                </a:lnTo>
                <a:lnTo>
                  <a:pt x="18688" y="13894"/>
                </a:lnTo>
                <a:lnTo>
                  <a:pt x="18834" y="13773"/>
                </a:lnTo>
                <a:lnTo>
                  <a:pt x="18883" y="13748"/>
                </a:lnTo>
                <a:lnTo>
                  <a:pt x="18932" y="13724"/>
                </a:lnTo>
                <a:lnTo>
                  <a:pt x="18980" y="13651"/>
                </a:lnTo>
                <a:lnTo>
                  <a:pt x="18980" y="13578"/>
                </a:lnTo>
                <a:lnTo>
                  <a:pt x="18980" y="12726"/>
                </a:lnTo>
                <a:lnTo>
                  <a:pt x="18956" y="11875"/>
                </a:lnTo>
                <a:lnTo>
                  <a:pt x="18883" y="10171"/>
                </a:lnTo>
                <a:lnTo>
                  <a:pt x="18859" y="9271"/>
                </a:lnTo>
                <a:lnTo>
                  <a:pt x="18859" y="8347"/>
                </a:lnTo>
                <a:lnTo>
                  <a:pt x="18883" y="6546"/>
                </a:lnTo>
                <a:lnTo>
                  <a:pt x="18932" y="4648"/>
                </a:lnTo>
                <a:lnTo>
                  <a:pt x="18956" y="2726"/>
                </a:lnTo>
                <a:lnTo>
                  <a:pt x="18980" y="2215"/>
                </a:lnTo>
                <a:lnTo>
                  <a:pt x="18980" y="1679"/>
                </a:lnTo>
                <a:lnTo>
                  <a:pt x="18932" y="1144"/>
                </a:lnTo>
                <a:lnTo>
                  <a:pt x="18883" y="901"/>
                </a:lnTo>
                <a:lnTo>
                  <a:pt x="18834" y="633"/>
                </a:lnTo>
                <a:lnTo>
                  <a:pt x="18883" y="585"/>
                </a:lnTo>
                <a:lnTo>
                  <a:pt x="18883" y="512"/>
                </a:lnTo>
                <a:lnTo>
                  <a:pt x="18883" y="439"/>
                </a:lnTo>
                <a:lnTo>
                  <a:pt x="18834" y="366"/>
                </a:lnTo>
                <a:lnTo>
                  <a:pt x="18761" y="293"/>
                </a:lnTo>
                <a:lnTo>
                  <a:pt x="18664" y="244"/>
                </a:lnTo>
                <a:lnTo>
                  <a:pt x="18421" y="244"/>
                </a:lnTo>
                <a:lnTo>
                  <a:pt x="18177" y="317"/>
                </a:lnTo>
                <a:lnTo>
                  <a:pt x="17958" y="414"/>
                </a:lnTo>
                <a:lnTo>
                  <a:pt x="17715" y="487"/>
                </a:lnTo>
                <a:lnTo>
                  <a:pt x="17374" y="585"/>
                </a:lnTo>
                <a:lnTo>
                  <a:pt x="17058" y="706"/>
                </a:lnTo>
                <a:lnTo>
                  <a:pt x="16742" y="828"/>
                </a:lnTo>
                <a:lnTo>
                  <a:pt x="16425" y="974"/>
                </a:lnTo>
                <a:lnTo>
                  <a:pt x="15817" y="1290"/>
                </a:lnTo>
                <a:lnTo>
                  <a:pt x="15209" y="1655"/>
                </a:lnTo>
                <a:lnTo>
                  <a:pt x="14479" y="2117"/>
                </a:lnTo>
                <a:lnTo>
                  <a:pt x="14089" y="2312"/>
                </a:lnTo>
                <a:lnTo>
                  <a:pt x="13700" y="2507"/>
                </a:lnTo>
                <a:lnTo>
                  <a:pt x="13432" y="2628"/>
                </a:lnTo>
                <a:lnTo>
                  <a:pt x="13165" y="2750"/>
                </a:lnTo>
                <a:lnTo>
                  <a:pt x="12897" y="2920"/>
                </a:lnTo>
                <a:lnTo>
                  <a:pt x="12654" y="3091"/>
                </a:lnTo>
                <a:lnTo>
                  <a:pt x="12532" y="2969"/>
                </a:lnTo>
                <a:lnTo>
                  <a:pt x="12386" y="2896"/>
                </a:lnTo>
                <a:lnTo>
                  <a:pt x="12070" y="2750"/>
                </a:lnTo>
                <a:lnTo>
                  <a:pt x="11875" y="2653"/>
                </a:lnTo>
                <a:lnTo>
                  <a:pt x="11705" y="2555"/>
                </a:lnTo>
                <a:lnTo>
                  <a:pt x="11316" y="2336"/>
                </a:lnTo>
                <a:lnTo>
                  <a:pt x="11072" y="2190"/>
                </a:lnTo>
                <a:lnTo>
                  <a:pt x="10805" y="2093"/>
                </a:lnTo>
                <a:lnTo>
                  <a:pt x="10294" y="1874"/>
                </a:lnTo>
                <a:lnTo>
                  <a:pt x="9758" y="1679"/>
                </a:lnTo>
                <a:lnTo>
                  <a:pt x="9223" y="1485"/>
                </a:lnTo>
                <a:lnTo>
                  <a:pt x="8298" y="1071"/>
                </a:lnTo>
                <a:lnTo>
                  <a:pt x="7836" y="852"/>
                </a:lnTo>
                <a:lnTo>
                  <a:pt x="7398" y="609"/>
                </a:lnTo>
                <a:lnTo>
                  <a:pt x="7325" y="536"/>
                </a:lnTo>
                <a:lnTo>
                  <a:pt x="7228" y="439"/>
                </a:lnTo>
                <a:lnTo>
                  <a:pt x="7057" y="244"/>
                </a:lnTo>
                <a:lnTo>
                  <a:pt x="6936" y="147"/>
                </a:lnTo>
                <a:lnTo>
                  <a:pt x="6838" y="74"/>
                </a:lnTo>
                <a:lnTo>
                  <a:pt x="6741" y="25"/>
                </a:lnTo>
                <a:lnTo>
                  <a:pt x="6619" y="25"/>
                </a:lnTo>
                <a:lnTo>
                  <a:pt x="6571" y="1"/>
                </a:lnTo>
                <a:lnTo>
                  <a:pt x="6498" y="1"/>
                </a:lnTo>
                <a:lnTo>
                  <a:pt x="6449" y="25"/>
                </a:lnTo>
                <a:lnTo>
                  <a:pt x="640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TextBox 2">
            <a:extLst>
              <a:ext uri="{FF2B5EF4-FFF2-40B4-BE49-F238E27FC236}">
                <a16:creationId xmlns:a16="http://schemas.microsoft.com/office/drawing/2014/main" id="{1231AB17-0499-6ADD-4A7B-4D516D4C52FB}"/>
              </a:ext>
            </a:extLst>
          </p:cNvPr>
          <p:cNvSpPr txBox="1"/>
          <p:nvPr/>
        </p:nvSpPr>
        <p:spPr>
          <a:xfrm>
            <a:off x="278658" y="1616029"/>
            <a:ext cx="7131792" cy="430887"/>
          </a:xfrm>
          <a:prstGeom prst="rect">
            <a:avLst/>
          </a:prstGeom>
          <a:noFill/>
        </p:spPr>
        <p:txBody>
          <a:bodyPr wrap="square">
            <a:spAutoFit/>
          </a:bodyPr>
          <a:lstStyle/>
          <a:p>
            <a:pPr lvl="0" algn="l">
              <a:spcBef>
                <a:spcPts val="0"/>
              </a:spcBef>
              <a:spcAft>
                <a:spcPts val="0"/>
              </a:spcAft>
            </a:pPr>
            <a:r>
              <a:rPr lang="da-DK" sz="2200" b="1">
                <a:latin typeface="Amatic SC"/>
                <a:cs typeface="Amatic SC"/>
                <a:sym typeface="Quicksand"/>
              </a:rPr>
              <a:t>Evalueringen viser, at:</a:t>
            </a:r>
            <a:endParaRPr lang="da-DK" sz="2200" b="1">
              <a:latin typeface="Quicksand"/>
              <a:ea typeface="Quicksand"/>
              <a:cs typeface="Quicksand"/>
              <a:sym typeface="Quicksand"/>
            </a:endParaRPr>
          </a:p>
        </p:txBody>
      </p:sp>
      <p:sp>
        <p:nvSpPr>
          <p:cNvPr id="11" name="Google Shape;847;p29">
            <a:extLst>
              <a:ext uri="{FF2B5EF4-FFF2-40B4-BE49-F238E27FC236}">
                <a16:creationId xmlns:a16="http://schemas.microsoft.com/office/drawing/2014/main" id="{1969C5A7-AEBD-B791-0C9F-F61964691695}"/>
              </a:ext>
            </a:extLst>
          </p:cNvPr>
          <p:cNvSpPr txBox="1"/>
          <p:nvPr/>
        </p:nvSpPr>
        <p:spPr>
          <a:xfrm>
            <a:off x="900000" y="2296800"/>
            <a:ext cx="5231179" cy="3626799"/>
          </a:xfrm>
          <a:prstGeom prst="rect">
            <a:avLst/>
          </a:prstGeom>
          <a:noFill/>
          <a:ln>
            <a:noFill/>
          </a:ln>
        </p:spPr>
        <p:txBody>
          <a:bodyPr spcFirstLastPara="1" wrap="square" lIns="0" tIns="0" rIns="0" bIns="0" anchor="t" anchorCtr="0">
            <a:noAutofit/>
          </a:bodyPr>
          <a:lstStyle/>
          <a:p>
            <a:pPr marL="0" lvl="1"/>
            <a:r>
              <a:rPr lang="da-DK" sz="1600" dirty="0">
                <a:latin typeface="Quicksand"/>
                <a:ea typeface="Quicksand"/>
                <a:cs typeface="Quicksand"/>
                <a:sym typeface="Quicksand"/>
              </a:rPr>
              <a:t>Teamenes egne evalueringer af prøvehandlinger ofte baseres på </a:t>
            </a:r>
            <a:r>
              <a:rPr lang="da-DK" sz="1600" b="1" dirty="0">
                <a:latin typeface="Quicksand"/>
                <a:ea typeface="Quicksand"/>
                <a:cs typeface="Quicksand"/>
                <a:sym typeface="Quicksand"/>
              </a:rPr>
              <a:t>intuition og umiddelbare mavefornemmelser</a:t>
            </a:r>
            <a:r>
              <a:rPr lang="da-DK" sz="1600" dirty="0">
                <a:latin typeface="Quicksand"/>
                <a:ea typeface="Quicksand"/>
                <a:cs typeface="Quicksand"/>
                <a:sym typeface="Quicksand"/>
              </a:rPr>
              <a:t>. </a:t>
            </a:r>
            <a:br>
              <a:rPr lang="da-DK" sz="1600" dirty="0">
                <a:latin typeface="Quicksand"/>
                <a:ea typeface="Quicksand"/>
                <a:cs typeface="Quicksand"/>
                <a:sym typeface="Quicksand"/>
              </a:rPr>
            </a:br>
            <a:endParaRPr lang="da-DK" sz="1600" dirty="0">
              <a:latin typeface="Quicksand"/>
              <a:ea typeface="Quicksand"/>
              <a:cs typeface="Quicksand"/>
              <a:sym typeface="Quicksand"/>
            </a:endParaRPr>
          </a:p>
          <a:p>
            <a:pPr marL="0" lvl="1"/>
            <a:r>
              <a:rPr lang="da-DK" sz="1600" dirty="0">
                <a:latin typeface="ui-sans-serif"/>
                <a:sym typeface="Quicksand"/>
              </a:rPr>
              <a:t>Der en </a:t>
            </a:r>
            <a:r>
              <a:rPr lang="da-DK" sz="1600" b="1" dirty="0">
                <a:latin typeface="ui-sans-serif"/>
                <a:sym typeface="Quicksand"/>
              </a:rPr>
              <a:t>risiko for, at udviklingsarbejdet går i stå, </a:t>
            </a:r>
            <a:r>
              <a:rPr lang="da-DK" sz="1600" dirty="0">
                <a:latin typeface="ui-sans-serif"/>
                <a:sym typeface="Quicksand"/>
              </a:rPr>
              <a:t>når prøvehandlinger ikke evalueres. </a:t>
            </a:r>
          </a:p>
          <a:p>
            <a:pPr marL="0" lvl="1">
              <a:buFont typeface="+mj-lt"/>
              <a:buAutoNum type="arabicPeriod"/>
            </a:pPr>
            <a:endParaRPr lang="da-DK" sz="1600" dirty="0">
              <a:latin typeface="ui-sans-serif"/>
              <a:sym typeface="Quicksand"/>
            </a:endParaRPr>
          </a:p>
          <a:p>
            <a:pPr marL="0" lvl="1"/>
            <a:r>
              <a:rPr lang="da-DK" sz="1600" dirty="0">
                <a:latin typeface="ui-sans-serif"/>
                <a:sym typeface="Quicksand"/>
              </a:rPr>
              <a:t>Pædagogisk personale ser en </a:t>
            </a:r>
            <a:r>
              <a:rPr lang="da-DK" sz="1600" b="1" dirty="0">
                <a:latin typeface="ui-sans-serif"/>
                <a:sym typeface="Quicksand"/>
              </a:rPr>
              <a:t>stor værdi i at inddrage elevernes perspektiver</a:t>
            </a:r>
            <a:r>
              <a:rPr lang="da-DK" sz="1600" dirty="0">
                <a:latin typeface="ui-sans-serif"/>
                <a:sym typeface="Quicksand"/>
              </a:rPr>
              <a:t> i arbejdet med prøvehandlinger, men fortsat sjældent gør det i praksis.</a:t>
            </a:r>
          </a:p>
          <a:p>
            <a:pPr marL="0" lvl="1"/>
            <a:endParaRPr lang="da-DK" b="1" dirty="0">
              <a:highlight>
                <a:srgbClr val="FFFF00"/>
              </a:highlight>
              <a:latin typeface="Quicksand" panose="020B0604020202020204"/>
              <a:ea typeface="Quicksand" panose="020B0604020202020204"/>
              <a:cs typeface="Quicksand" panose="020B0604020202020204"/>
              <a:sym typeface="Quicksand"/>
            </a:endParaRPr>
          </a:p>
          <a:p>
            <a:pPr lvl="0" algn="l">
              <a:spcBef>
                <a:spcPts val="0"/>
              </a:spcBef>
              <a:spcAft>
                <a:spcPts val="0"/>
              </a:spcAft>
            </a:pPr>
            <a:endParaRPr lang="da-DK" sz="1400" b="1" dirty="0">
              <a:latin typeface="Quicksand"/>
              <a:ea typeface="Quicksand"/>
              <a:cs typeface="Quicksand"/>
              <a:sym typeface="Quicksand"/>
            </a:endParaRPr>
          </a:p>
          <a:p>
            <a:pPr lvl="0" algn="l">
              <a:spcBef>
                <a:spcPts val="0"/>
              </a:spcBef>
              <a:spcAft>
                <a:spcPts val="0"/>
              </a:spcAft>
            </a:pPr>
            <a:endParaRPr lang="da-DK" sz="1400" dirty="0">
              <a:latin typeface="Quicksand"/>
              <a:ea typeface="Quicksand"/>
              <a:cs typeface="Quicksand"/>
              <a:sym typeface="Quicksand"/>
            </a:endParaRPr>
          </a:p>
          <a:p>
            <a:pPr lvl="0" algn="l">
              <a:spcBef>
                <a:spcPts val="0"/>
              </a:spcBef>
              <a:spcAft>
                <a:spcPts val="0"/>
              </a:spcAft>
            </a:pPr>
            <a:endParaRPr lang="da-DK" sz="1600" dirty="0">
              <a:latin typeface="Quicksand"/>
              <a:ea typeface="Quicksand"/>
              <a:cs typeface="Quicksand"/>
              <a:sym typeface="Quicksand"/>
            </a:endParaRPr>
          </a:p>
          <a:p>
            <a:pPr lvl="0" algn="l">
              <a:spcBef>
                <a:spcPts val="0"/>
              </a:spcBef>
              <a:spcAft>
                <a:spcPts val="0"/>
              </a:spcAft>
            </a:pPr>
            <a:endParaRPr lang="da-DK" sz="500" b="1" dirty="0">
              <a:latin typeface="Quicksand"/>
              <a:ea typeface="Quicksand"/>
              <a:cs typeface="Quicksand"/>
              <a:sym typeface="Quicksand"/>
            </a:endParaRPr>
          </a:p>
          <a:p>
            <a:pPr lvl="0" algn="l">
              <a:spcBef>
                <a:spcPts val="0"/>
              </a:spcBef>
              <a:spcAft>
                <a:spcPts val="0"/>
              </a:spcAft>
            </a:pPr>
            <a:endParaRPr lang="da-DK" sz="1600" b="1" dirty="0">
              <a:latin typeface="Quicksand"/>
              <a:ea typeface="Quicksand"/>
              <a:cs typeface="Quicksand"/>
              <a:sym typeface="Quicksand"/>
            </a:endParaRPr>
          </a:p>
        </p:txBody>
      </p:sp>
      <p:sp>
        <p:nvSpPr>
          <p:cNvPr id="6" name="Oval 5">
            <a:extLst>
              <a:ext uri="{FF2B5EF4-FFF2-40B4-BE49-F238E27FC236}">
                <a16:creationId xmlns:a16="http://schemas.microsoft.com/office/drawing/2014/main" id="{81B76702-878E-AF7B-7B34-CBF2F3F7A3ED}"/>
              </a:ext>
            </a:extLst>
          </p:cNvPr>
          <p:cNvSpPr/>
          <p:nvPr/>
        </p:nvSpPr>
        <p:spPr>
          <a:xfrm>
            <a:off x="346519" y="2326640"/>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1</a:t>
            </a:r>
            <a:endParaRPr lang="da-DK" sz="2000" noProof="0" dirty="0">
              <a:latin typeface="Quicksand" panose="020B0604020202020204" charset="0"/>
              <a:cs typeface="Quicksand" panose="020B0604020202020204" charset="0"/>
            </a:endParaRPr>
          </a:p>
        </p:txBody>
      </p:sp>
      <p:sp>
        <p:nvSpPr>
          <p:cNvPr id="7" name="Oval 6">
            <a:extLst>
              <a:ext uri="{FF2B5EF4-FFF2-40B4-BE49-F238E27FC236}">
                <a16:creationId xmlns:a16="http://schemas.microsoft.com/office/drawing/2014/main" id="{886BC6F7-2AF2-A39D-406E-E486D2885549}"/>
              </a:ext>
            </a:extLst>
          </p:cNvPr>
          <p:cNvSpPr/>
          <p:nvPr/>
        </p:nvSpPr>
        <p:spPr>
          <a:xfrm>
            <a:off x="346519" y="3042490"/>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8" name="Oval 7">
            <a:extLst>
              <a:ext uri="{FF2B5EF4-FFF2-40B4-BE49-F238E27FC236}">
                <a16:creationId xmlns:a16="http://schemas.microsoft.com/office/drawing/2014/main" id="{26FDC7F4-DD76-0CE1-069D-D932D49A3412}"/>
              </a:ext>
            </a:extLst>
          </p:cNvPr>
          <p:cNvSpPr/>
          <p:nvPr/>
        </p:nvSpPr>
        <p:spPr>
          <a:xfrm>
            <a:off x="346519" y="3756993"/>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spTree>
    <p:extLst>
      <p:ext uri="{BB962C8B-B14F-4D97-AF65-F5344CB8AC3E}">
        <p14:creationId xmlns:p14="http://schemas.microsoft.com/office/powerpoint/2010/main" val="38334608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C2C6A4-7126-6133-BDE9-8899A50474E6}"/>
              </a:ext>
            </a:extLst>
          </p:cNvPr>
          <p:cNvSpPr>
            <a:spLocks noGrp="1"/>
          </p:cNvSpPr>
          <p:nvPr>
            <p:ph type="sldNum" sz="quarter" idx="12"/>
          </p:nvPr>
        </p:nvSpPr>
        <p:spPr/>
        <p:txBody>
          <a:bodyPr/>
          <a:lstStyle/>
          <a:p>
            <a:fld id="{23AA811B-2EBD-4900-905E-5BE206449611}" type="slidenum">
              <a:rPr lang="da-DK" smtClean="0"/>
              <a:pPr/>
              <a:t>15</a:t>
            </a:fld>
            <a:endParaRPr lang="da-DK"/>
          </a:p>
        </p:txBody>
      </p:sp>
      <p:grpSp>
        <p:nvGrpSpPr>
          <p:cNvPr id="3" name="Google Shape;22;p2">
            <a:extLst>
              <a:ext uri="{FF2B5EF4-FFF2-40B4-BE49-F238E27FC236}">
                <a16:creationId xmlns:a16="http://schemas.microsoft.com/office/drawing/2014/main" id="{F856A1E5-536D-22E8-AB91-F684A9EBED34}"/>
              </a:ext>
            </a:extLst>
          </p:cNvPr>
          <p:cNvGrpSpPr/>
          <p:nvPr/>
        </p:nvGrpSpPr>
        <p:grpSpPr>
          <a:xfrm>
            <a:off x="81519" y="-84327"/>
            <a:ext cx="12028962" cy="7026653"/>
            <a:chOff x="-85500" y="-168653"/>
            <a:chExt cx="9290344" cy="5426904"/>
          </a:xfrm>
        </p:grpSpPr>
        <p:grpSp>
          <p:nvGrpSpPr>
            <p:cNvPr id="4" name="Google Shape;23;p2">
              <a:extLst>
                <a:ext uri="{FF2B5EF4-FFF2-40B4-BE49-F238E27FC236}">
                  <a16:creationId xmlns:a16="http://schemas.microsoft.com/office/drawing/2014/main" id="{777CEB8E-787E-36F4-EB77-4C29ADC59783}"/>
                </a:ext>
              </a:extLst>
            </p:cNvPr>
            <p:cNvGrpSpPr/>
            <p:nvPr/>
          </p:nvGrpSpPr>
          <p:grpSpPr>
            <a:xfrm>
              <a:off x="3870624" y="271731"/>
              <a:ext cx="531017" cy="704779"/>
              <a:chOff x="3870624" y="271731"/>
              <a:chExt cx="531017" cy="704779"/>
            </a:xfrm>
          </p:grpSpPr>
          <p:sp>
            <p:nvSpPr>
              <p:cNvPr id="88" name="Google Shape;24;p2">
                <a:extLst>
                  <a:ext uri="{FF2B5EF4-FFF2-40B4-BE49-F238E27FC236}">
                    <a16:creationId xmlns:a16="http://schemas.microsoft.com/office/drawing/2014/main" id="{097165CA-8507-FF16-369E-D689DA43B8EB}"/>
                  </a:ext>
                </a:extLst>
              </p:cNvPr>
              <p:cNvSpPr/>
              <p:nvPr/>
            </p:nvSpPr>
            <p:spPr>
              <a:xfrm>
                <a:off x="3870624" y="311200"/>
                <a:ext cx="425807" cy="385849"/>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9" name="Google Shape;25;p2">
                <a:extLst>
                  <a:ext uri="{FF2B5EF4-FFF2-40B4-BE49-F238E27FC236}">
                    <a16:creationId xmlns:a16="http://schemas.microsoft.com/office/drawing/2014/main" id="{5C015839-285A-E806-C927-D71B9E4F2F71}"/>
                  </a:ext>
                </a:extLst>
              </p:cNvPr>
              <p:cNvSpPr/>
              <p:nvPr/>
            </p:nvSpPr>
            <p:spPr>
              <a:xfrm>
                <a:off x="3901992" y="271731"/>
                <a:ext cx="499650" cy="70477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5" name="Google Shape;26;p2">
              <a:extLst>
                <a:ext uri="{FF2B5EF4-FFF2-40B4-BE49-F238E27FC236}">
                  <a16:creationId xmlns:a16="http://schemas.microsoft.com/office/drawing/2014/main" id="{26D3CC53-84FD-A8C6-95C0-057FDDAC8962}"/>
                </a:ext>
              </a:extLst>
            </p:cNvPr>
            <p:cNvGrpSpPr/>
            <p:nvPr/>
          </p:nvGrpSpPr>
          <p:grpSpPr>
            <a:xfrm>
              <a:off x="-85500" y="4299338"/>
              <a:ext cx="612915" cy="585559"/>
              <a:chOff x="8158724" y="4646275"/>
              <a:chExt cx="612915" cy="585559"/>
            </a:xfrm>
          </p:grpSpPr>
          <p:sp>
            <p:nvSpPr>
              <p:cNvPr id="86" name="Google Shape;27;p2">
                <a:extLst>
                  <a:ext uri="{FF2B5EF4-FFF2-40B4-BE49-F238E27FC236}">
                    <a16:creationId xmlns:a16="http://schemas.microsoft.com/office/drawing/2014/main" id="{E3D10441-523F-090F-6345-7C9A7C6DB1D2}"/>
                  </a:ext>
                </a:extLst>
              </p:cNvPr>
              <p:cNvSpPr/>
              <p:nvPr/>
            </p:nvSpPr>
            <p:spPr>
              <a:xfrm>
                <a:off x="8158724" y="4646275"/>
                <a:ext cx="511423" cy="463431"/>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7" name="Google Shape;28;p2">
                <a:extLst>
                  <a:ext uri="{FF2B5EF4-FFF2-40B4-BE49-F238E27FC236}">
                    <a16:creationId xmlns:a16="http://schemas.microsoft.com/office/drawing/2014/main" id="{3D9B1AC4-3008-D157-C9D6-CAEDB29B15BE}"/>
                  </a:ext>
                </a:extLst>
              </p:cNvPr>
              <p:cNvSpPr/>
              <p:nvPr/>
            </p:nvSpPr>
            <p:spPr>
              <a:xfrm>
                <a:off x="8170373" y="4682299"/>
                <a:ext cx="601266" cy="549535"/>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 name="Google Shape;29;p2">
              <a:extLst>
                <a:ext uri="{FF2B5EF4-FFF2-40B4-BE49-F238E27FC236}">
                  <a16:creationId xmlns:a16="http://schemas.microsoft.com/office/drawing/2014/main" id="{7FF340DC-09D0-98AB-EEBF-6FCD2DE87370}"/>
                </a:ext>
              </a:extLst>
            </p:cNvPr>
            <p:cNvSpPr/>
            <p:nvPr/>
          </p:nvSpPr>
          <p:spPr>
            <a:xfrm rot="2001982">
              <a:off x="136143" y="2216866"/>
              <a:ext cx="321474" cy="709766"/>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7" name="Google Shape;30;p2">
              <a:extLst>
                <a:ext uri="{FF2B5EF4-FFF2-40B4-BE49-F238E27FC236}">
                  <a16:creationId xmlns:a16="http://schemas.microsoft.com/office/drawing/2014/main" id="{DC82E49F-826B-D395-190A-F7D1EAA117B3}"/>
                </a:ext>
              </a:extLst>
            </p:cNvPr>
            <p:cNvGrpSpPr/>
            <p:nvPr/>
          </p:nvGrpSpPr>
          <p:grpSpPr>
            <a:xfrm>
              <a:off x="968652" y="3696885"/>
              <a:ext cx="565312" cy="602473"/>
              <a:chOff x="813652" y="3801560"/>
              <a:chExt cx="565312" cy="602473"/>
            </a:xfrm>
          </p:grpSpPr>
          <p:sp>
            <p:nvSpPr>
              <p:cNvPr id="84" name="Google Shape;31;p2">
                <a:extLst>
                  <a:ext uri="{FF2B5EF4-FFF2-40B4-BE49-F238E27FC236}">
                    <a16:creationId xmlns:a16="http://schemas.microsoft.com/office/drawing/2014/main" id="{87922206-C33D-BD38-1916-ACABE2183F3A}"/>
                  </a:ext>
                </a:extLst>
              </p:cNvPr>
              <p:cNvSpPr/>
              <p:nvPr/>
            </p:nvSpPr>
            <p:spPr>
              <a:xfrm rot="6264782">
                <a:off x="849950" y="3919090"/>
                <a:ext cx="380679" cy="370162"/>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5" name="Google Shape;32;p2">
                <a:extLst>
                  <a:ext uri="{FF2B5EF4-FFF2-40B4-BE49-F238E27FC236}">
                    <a16:creationId xmlns:a16="http://schemas.microsoft.com/office/drawing/2014/main" id="{EB20F055-BCC2-7683-A739-FBB728AE5104}"/>
                  </a:ext>
                </a:extLst>
              </p:cNvPr>
              <p:cNvSpPr/>
              <p:nvPr/>
            </p:nvSpPr>
            <p:spPr>
              <a:xfrm rot="-1974315">
                <a:off x="996275" y="3825647"/>
                <a:ext cx="252371" cy="554298"/>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8" name="Google Shape;33;p2">
              <a:extLst>
                <a:ext uri="{FF2B5EF4-FFF2-40B4-BE49-F238E27FC236}">
                  <a16:creationId xmlns:a16="http://schemas.microsoft.com/office/drawing/2014/main" id="{8B6C04EB-E36E-4A39-C463-8BF150D41B21}"/>
                </a:ext>
              </a:extLst>
            </p:cNvPr>
            <p:cNvSpPr/>
            <p:nvPr/>
          </p:nvSpPr>
          <p:spPr>
            <a:xfrm>
              <a:off x="4101001" y="4649180"/>
              <a:ext cx="376856" cy="254902"/>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9" name="Google Shape;34;p2">
              <a:extLst>
                <a:ext uri="{FF2B5EF4-FFF2-40B4-BE49-F238E27FC236}">
                  <a16:creationId xmlns:a16="http://schemas.microsoft.com/office/drawing/2014/main" id="{A01C4DF0-E35C-CDFB-C449-51F9CC3BF05A}"/>
                </a:ext>
              </a:extLst>
            </p:cNvPr>
            <p:cNvSpPr/>
            <p:nvPr/>
          </p:nvSpPr>
          <p:spPr>
            <a:xfrm>
              <a:off x="8091625" y="827000"/>
              <a:ext cx="485245" cy="329049"/>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0" name="Google Shape;35;p2">
              <a:extLst>
                <a:ext uri="{FF2B5EF4-FFF2-40B4-BE49-F238E27FC236}">
                  <a16:creationId xmlns:a16="http://schemas.microsoft.com/office/drawing/2014/main" id="{B74C21B7-2E50-5D92-DB50-8366A92B1F21}"/>
                </a:ext>
              </a:extLst>
            </p:cNvPr>
            <p:cNvSpPr/>
            <p:nvPr/>
          </p:nvSpPr>
          <p:spPr>
            <a:xfrm rot="3971375">
              <a:off x="3138581" y="4622816"/>
              <a:ext cx="362909" cy="668479"/>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1" name="Google Shape;36;p2">
              <a:extLst>
                <a:ext uri="{FF2B5EF4-FFF2-40B4-BE49-F238E27FC236}">
                  <a16:creationId xmlns:a16="http://schemas.microsoft.com/office/drawing/2014/main" id="{2E6BCD2C-0E6E-1608-432A-D57EC3350DA9}"/>
                </a:ext>
              </a:extLst>
            </p:cNvPr>
            <p:cNvSpPr/>
            <p:nvPr/>
          </p:nvSpPr>
          <p:spPr>
            <a:xfrm rot="-3375824">
              <a:off x="8508205" y="4088864"/>
              <a:ext cx="623152" cy="166730"/>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2" name="Google Shape;37;p2">
              <a:extLst>
                <a:ext uri="{FF2B5EF4-FFF2-40B4-BE49-F238E27FC236}">
                  <a16:creationId xmlns:a16="http://schemas.microsoft.com/office/drawing/2014/main" id="{486D3B1C-D1CD-E11F-08BF-E2BD6657B7BA}"/>
                </a:ext>
              </a:extLst>
            </p:cNvPr>
            <p:cNvSpPr/>
            <p:nvPr/>
          </p:nvSpPr>
          <p:spPr>
            <a:xfrm rot="3011666">
              <a:off x="3210524" y="657803"/>
              <a:ext cx="199800" cy="513948"/>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3" name="Google Shape;38;p2">
              <a:extLst>
                <a:ext uri="{FF2B5EF4-FFF2-40B4-BE49-F238E27FC236}">
                  <a16:creationId xmlns:a16="http://schemas.microsoft.com/office/drawing/2014/main" id="{CE69955E-B189-D7BE-FBD5-145B7021E767}"/>
                </a:ext>
              </a:extLst>
            </p:cNvPr>
            <p:cNvSpPr/>
            <p:nvPr/>
          </p:nvSpPr>
          <p:spPr>
            <a:xfrm rot="2196195">
              <a:off x="6146037" y="457710"/>
              <a:ext cx="248001" cy="64914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14" name="Google Shape;39;p2">
              <a:extLst>
                <a:ext uri="{FF2B5EF4-FFF2-40B4-BE49-F238E27FC236}">
                  <a16:creationId xmlns:a16="http://schemas.microsoft.com/office/drawing/2014/main" id="{1F88CAAB-4904-D051-ED3B-70FA24389717}"/>
                </a:ext>
              </a:extLst>
            </p:cNvPr>
            <p:cNvGrpSpPr/>
            <p:nvPr/>
          </p:nvGrpSpPr>
          <p:grpSpPr>
            <a:xfrm>
              <a:off x="5462677" y="4575203"/>
              <a:ext cx="497752" cy="491681"/>
              <a:chOff x="7559440" y="3972390"/>
              <a:chExt cx="497752" cy="491681"/>
            </a:xfrm>
          </p:grpSpPr>
          <p:sp>
            <p:nvSpPr>
              <p:cNvPr id="82" name="Google Shape;40;p2">
                <a:extLst>
                  <a:ext uri="{FF2B5EF4-FFF2-40B4-BE49-F238E27FC236}">
                    <a16:creationId xmlns:a16="http://schemas.microsoft.com/office/drawing/2014/main" id="{EF7704F7-3C84-6630-4B8A-45C1E89B8991}"/>
                  </a:ext>
                </a:extLst>
              </p:cNvPr>
              <p:cNvSpPr/>
              <p:nvPr/>
            </p:nvSpPr>
            <p:spPr>
              <a:xfrm rot="1226546">
                <a:off x="7692589" y="4106488"/>
                <a:ext cx="320298" cy="311457"/>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3" name="Google Shape;41;p2">
                <a:extLst>
                  <a:ext uri="{FF2B5EF4-FFF2-40B4-BE49-F238E27FC236}">
                    <a16:creationId xmlns:a16="http://schemas.microsoft.com/office/drawing/2014/main" id="{AC72388D-9E25-7A53-ABE7-23ACA3361EA4}"/>
                  </a:ext>
                </a:extLst>
              </p:cNvPr>
              <p:cNvSpPr/>
              <p:nvPr/>
            </p:nvSpPr>
            <p:spPr>
              <a:xfrm rot="9911830">
                <a:off x="7595186" y="4010311"/>
                <a:ext cx="338915" cy="323847"/>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15" name="Google Shape;42;p2">
              <a:extLst>
                <a:ext uri="{FF2B5EF4-FFF2-40B4-BE49-F238E27FC236}">
                  <a16:creationId xmlns:a16="http://schemas.microsoft.com/office/drawing/2014/main" id="{2FA37B22-1DE2-5F27-6F96-FDFC8A2BCDD7}"/>
                </a:ext>
              </a:extLst>
            </p:cNvPr>
            <p:cNvGrpSpPr/>
            <p:nvPr/>
          </p:nvGrpSpPr>
          <p:grpSpPr>
            <a:xfrm>
              <a:off x="510215" y="271717"/>
              <a:ext cx="557022" cy="619823"/>
              <a:chOff x="510215" y="271717"/>
              <a:chExt cx="557022" cy="619823"/>
            </a:xfrm>
          </p:grpSpPr>
          <p:sp>
            <p:nvSpPr>
              <p:cNvPr id="80" name="Google Shape;43;p2">
                <a:extLst>
                  <a:ext uri="{FF2B5EF4-FFF2-40B4-BE49-F238E27FC236}">
                    <a16:creationId xmlns:a16="http://schemas.microsoft.com/office/drawing/2014/main" id="{B6D4D1E2-4683-9C14-7A57-CA44D6522F4E}"/>
                  </a:ext>
                </a:extLst>
              </p:cNvPr>
              <p:cNvSpPr/>
              <p:nvPr/>
            </p:nvSpPr>
            <p:spPr>
              <a:xfrm>
                <a:off x="676827" y="376200"/>
                <a:ext cx="316843" cy="32088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1" name="Google Shape;44;p2">
                <a:extLst>
                  <a:ext uri="{FF2B5EF4-FFF2-40B4-BE49-F238E27FC236}">
                    <a16:creationId xmlns:a16="http://schemas.microsoft.com/office/drawing/2014/main" id="{F1A5F68C-7E89-AD0B-EB86-A331CFF2857B}"/>
                  </a:ext>
                </a:extLst>
              </p:cNvPr>
              <p:cNvSpPr/>
              <p:nvPr/>
            </p:nvSpPr>
            <p:spPr>
              <a:xfrm>
                <a:off x="510215" y="271717"/>
                <a:ext cx="557022" cy="619823"/>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16" name="Google Shape;45;p2">
              <a:extLst>
                <a:ext uri="{FF2B5EF4-FFF2-40B4-BE49-F238E27FC236}">
                  <a16:creationId xmlns:a16="http://schemas.microsoft.com/office/drawing/2014/main" id="{0A0A4635-AF84-F54B-EF5C-360525760775}"/>
                </a:ext>
              </a:extLst>
            </p:cNvPr>
            <p:cNvSpPr/>
            <p:nvPr/>
          </p:nvSpPr>
          <p:spPr>
            <a:xfrm>
              <a:off x="1778886" y="4237081"/>
              <a:ext cx="556337" cy="631409"/>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7" name="Google Shape;46;p2">
              <a:extLst>
                <a:ext uri="{FF2B5EF4-FFF2-40B4-BE49-F238E27FC236}">
                  <a16:creationId xmlns:a16="http://schemas.microsoft.com/office/drawing/2014/main" id="{89B02591-9CEA-715F-D5D3-19646A0A3814}"/>
                </a:ext>
              </a:extLst>
            </p:cNvPr>
            <p:cNvSpPr/>
            <p:nvPr/>
          </p:nvSpPr>
          <p:spPr>
            <a:xfrm rot="-982808">
              <a:off x="7867083" y="4603094"/>
              <a:ext cx="701993" cy="56769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8" name="Google Shape;47;p2">
              <a:extLst>
                <a:ext uri="{FF2B5EF4-FFF2-40B4-BE49-F238E27FC236}">
                  <a16:creationId xmlns:a16="http://schemas.microsoft.com/office/drawing/2014/main" id="{D8AAA867-947C-5CA1-0B14-800859DB9D4E}"/>
                </a:ext>
              </a:extLst>
            </p:cNvPr>
            <p:cNvSpPr/>
            <p:nvPr/>
          </p:nvSpPr>
          <p:spPr>
            <a:xfrm rot="1185294">
              <a:off x="4798350" y="3885963"/>
              <a:ext cx="616477" cy="671778"/>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9" name="Google Shape;48;p2">
              <a:extLst>
                <a:ext uri="{FF2B5EF4-FFF2-40B4-BE49-F238E27FC236}">
                  <a16:creationId xmlns:a16="http://schemas.microsoft.com/office/drawing/2014/main" id="{5B73BE1E-2D35-BD46-2CA1-AE547411BD0F}"/>
                </a:ext>
              </a:extLst>
            </p:cNvPr>
            <p:cNvSpPr/>
            <p:nvPr/>
          </p:nvSpPr>
          <p:spPr>
            <a:xfrm>
              <a:off x="1393062" y="748927"/>
              <a:ext cx="579203" cy="652168"/>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0" name="Google Shape;49;p2">
              <a:extLst>
                <a:ext uri="{FF2B5EF4-FFF2-40B4-BE49-F238E27FC236}">
                  <a16:creationId xmlns:a16="http://schemas.microsoft.com/office/drawing/2014/main" id="{0217332C-902F-5C40-3444-5C3EBA1D43BB}"/>
                </a:ext>
              </a:extLst>
            </p:cNvPr>
            <p:cNvSpPr/>
            <p:nvPr/>
          </p:nvSpPr>
          <p:spPr>
            <a:xfrm>
              <a:off x="7317433" y="2956555"/>
              <a:ext cx="716315" cy="573888"/>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1" name="Google Shape;50;p2">
              <a:extLst>
                <a:ext uri="{FF2B5EF4-FFF2-40B4-BE49-F238E27FC236}">
                  <a16:creationId xmlns:a16="http://schemas.microsoft.com/office/drawing/2014/main" id="{F4891475-3AFC-9B20-65BA-5A24C9363ABD}"/>
                </a:ext>
              </a:extLst>
            </p:cNvPr>
            <p:cNvSpPr/>
            <p:nvPr/>
          </p:nvSpPr>
          <p:spPr>
            <a:xfrm>
              <a:off x="8750637" y="1716146"/>
              <a:ext cx="454206" cy="406096"/>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2" name="Google Shape;51;p2">
              <a:extLst>
                <a:ext uri="{FF2B5EF4-FFF2-40B4-BE49-F238E27FC236}">
                  <a16:creationId xmlns:a16="http://schemas.microsoft.com/office/drawing/2014/main" id="{49026444-46C5-42C7-1A23-4BCACFEE0BFA}"/>
                </a:ext>
              </a:extLst>
            </p:cNvPr>
            <p:cNvSpPr/>
            <p:nvPr/>
          </p:nvSpPr>
          <p:spPr>
            <a:xfrm rot="-2424156">
              <a:off x="2052510" y="-106317"/>
              <a:ext cx="373867" cy="493313"/>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3" name="Google Shape;52;p2">
              <a:extLst>
                <a:ext uri="{FF2B5EF4-FFF2-40B4-BE49-F238E27FC236}">
                  <a16:creationId xmlns:a16="http://schemas.microsoft.com/office/drawing/2014/main" id="{4D078995-9A4D-40F2-6DB7-184B5712A632}"/>
                </a:ext>
              </a:extLst>
            </p:cNvPr>
            <p:cNvSpPr/>
            <p:nvPr/>
          </p:nvSpPr>
          <p:spPr>
            <a:xfrm>
              <a:off x="5960437" y="3855732"/>
              <a:ext cx="712864" cy="419317"/>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24" name="Google Shape;53;p2">
              <a:extLst>
                <a:ext uri="{FF2B5EF4-FFF2-40B4-BE49-F238E27FC236}">
                  <a16:creationId xmlns:a16="http://schemas.microsoft.com/office/drawing/2014/main" id="{3E106C1B-0A4E-42E8-DC62-29F515C5EEC9}"/>
                </a:ext>
              </a:extLst>
            </p:cNvPr>
            <p:cNvGrpSpPr/>
            <p:nvPr/>
          </p:nvGrpSpPr>
          <p:grpSpPr>
            <a:xfrm rot="891035">
              <a:off x="1165229" y="1691730"/>
              <a:ext cx="657771" cy="386113"/>
              <a:chOff x="1429156" y="1387535"/>
              <a:chExt cx="657769" cy="386112"/>
            </a:xfrm>
          </p:grpSpPr>
          <p:sp>
            <p:nvSpPr>
              <p:cNvPr id="78" name="Google Shape;54;p2">
                <a:extLst>
                  <a:ext uri="{FF2B5EF4-FFF2-40B4-BE49-F238E27FC236}">
                    <a16:creationId xmlns:a16="http://schemas.microsoft.com/office/drawing/2014/main" id="{4F9C3FAA-A991-3DE5-51C2-CB82C0FB7E6A}"/>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9" name="Google Shape;55;p2">
                <a:extLst>
                  <a:ext uri="{FF2B5EF4-FFF2-40B4-BE49-F238E27FC236}">
                    <a16:creationId xmlns:a16="http://schemas.microsoft.com/office/drawing/2014/main" id="{0EF30F4D-63BD-C2FA-2338-0F5A315557F4}"/>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5" name="Google Shape;56;p2">
              <a:extLst>
                <a:ext uri="{FF2B5EF4-FFF2-40B4-BE49-F238E27FC236}">
                  <a16:creationId xmlns:a16="http://schemas.microsoft.com/office/drawing/2014/main" id="{D6A4D23F-73FC-5D55-6E79-9E3DCCF10818}"/>
                </a:ext>
              </a:extLst>
            </p:cNvPr>
            <p:cNvSpPr/>
            <p:nvPr/>
          </p:nvSpPr>
          <p:spPr>
            <a:xfrm rot="-1696692">
              <a:off x="7441723" y="1525254"/>
              <a:ext cx="760522" cy="200454"/>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6" name="Google Shape;57;p2">
              <a:extLst>
                <a:ext uri="{FF2B5EF4-FFF2-40B4-BE49-F238E27FC236}">
                  <a16:creationId xmlns:a16="http://schemas.microsoft.com/office/drawing/2014/main" id="{2F7E8455-20E3-959C-7A74-2510861948A0}"/>
                </a:ext>
              </a:extLst>
            </p:cNvPr>
            <p:cNvSpPr/>
            <p:nvPr/>
          </p:nvSpPr>
          <p:spPr>
            <a:xfrm>
              <a:off x="1161548" y="2558031"/>
              <a:ext cx="665135" cy="522113"/>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27" name="Google Shape;58;p2">
              <a:extLst>
                <a:ext uri="{FF2B5EF4-FFF2-40B4-BE49-F238E27FC236}">
                  <a16:creationId xmlns:a16="http://schemas.microsoft.com/office/drawing/2014/main" id="{BFC6B312-A3C9-1523-7ABA-1F8BDD3DB47C}"/>
                </a:ext>
              </a:extLst>
            </p:cNvPr>
            <p:cNvGrpSpPr/>
            <p:nvPr/>
          </p:nvGrpSpPr>
          <p:grpSpPr>
            <a:xfrm>
              <a:off x="346827" y="3411153"/>
              <a:ext cx="376916" cy="455685"/>
              <a:chOff x="1010452" y="1144365"/>
              <a:chExt cx="376916" cy="455685"/>
            </a:xfrm>
          </p:grpSpPr>
          <p:sp>
            <p:nvSpPr>
              <p:cNvPr id="76" name="Google Shape;59;p2">
                <a:extLst>
                  <a:ext uri="{FF2B5EF4-FFF2-40B4-BE49-F238E27FC236}">
                    <a16:creationId xmlns:a16="http://schemas.microsoft.com/office/drawing/2014/main" id="{E30C08A6-F7BE-F853-2A92-90C2AF436FC2}"/>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7" name="Google Shape;60;p2">
                <a:extLst>
                  <a:ext uri="{FF2B5EF4-FFF2-40B4-BE49-F238E27FC236}">
                    <a16:creationId xmlns:a16="http://schemas.microsoft.com/office/drawing/2014/main" id="{BCA30151-56DA-9D77-6AE6-81CE1B3C031B}"/>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28" name="Google Shape;61;p2">
              <a:extLst>
                <a:ext uri="{FF2B5EF4-FFF2-40B4-BE49-F238E27FC236}">
                  <a16:creationId xmlns:a16="http://schemas.microsoft.com/office/drawing/2014/main" id="{21C29430-C694-D107-00E8-6C0CE6007BF8}"/>
                </a:ext>
              </a:extLst>
            </p:cNvPr>
            <p:cNvGrpSpPr/>
            <p:nvPr/>
          </p:nvGrpSpPr>
          <p:grpSpPr>
            <a:xfrm>
              <a:off x="7439637" y="3918577"/>
              <a:ext cx="503800" cy="507307"/>
              <a:chOff x="7439637" y="3918577"/>
              <a:chExt cx="503800" cy="507307"/>
            </a:xfrm>
          </p:grpSpPr>
          <p:sp>
            <p:nvSpPr>
              <p:cNvPr id="74" name="Google Shape;62;p2">
                <a:extLst>
                  <a:ext uri="{FF2B5EF4-FFF2-40B4-BE49-F238E27FC236}">
                    <a16:creationId xmlns:a16="http://schemas.microsoft.com/office/drawing/2014/main" id="{20BDEA82-9E5C-C598-FBB4-0D7E981DEE17}"/>
                  </a:ext>
                </a:extLst>
              </p:cNvPr>
              <p:cNvSpPr/>
              <p:nvPr/>
            </p:nvSpPr>
            <p:spPr>
              <a:xfrm>
                <a:off x="7547126" y="4133375"/>
                <a:ext cx="332324"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5" name="Google Shape;63;p2">
                <a:extLst>
                  <a:ext uri="{FF2B5EF4-FFF2-40B4-BE49-F238E27FC236}">
                    <a16:creationId xmlns:a16="http://schemas.microsoft.com/office/drawing/2014/main" id="{2435F8E0-AF17-512A-C5F4-F31B03BE3459}"/>
                  </a:ext>
                </a:extLst>
              </p:cNvPr>
              <p:cNvSpPr/>
              <p:nvPr/>
            </p:nvSpPr>
            <p:spPr>
              <a:xfrm rot="-1109260">
                <a:off x="7493180" y="3971096"/>
                <a:ext cx="396713" cy="402269"/>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9" name="Google Shape;64;p2">
              <a:extLst>
                <a:ext uri="{FF2B5EF4-FFF2-40B4-BE49-F238E27FC236}">
                  <a16:creationId xmlns:a16="http://schemas.microsoft.com/office/drawing/2014/main" id="{D17B555B-2B1F-85D9-21F2-579B49474F85}"/>
                </a:ext>
              </a:extLst>
            </p:cNvPr>
            <p:cNvSpPr/>
            <p:nvPr/>
          </p:nvSpPr>
          <p:spPr>
            <a:xfrm>
              <a:off x="6255960" y="791694"/>
              <a:ext cx="453103" cy="511439"/>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0" name="Google Shape;65;p2">
              <a:extLst>
                <a:ext uri="{FF2B5EF4-FFF2-40B4-BE49-F238E27FC236}">
                  <a16:creationId xmlns:a16="http://schemas.microsoft.com/office/drawing/2014/main" id="{DFAA52B6-2EBD-64E6-66A4-F653A975BC5A}"/>
                </a:ext>
              </a:extLst>
            </p:cNvPr>
            <p:cNvSpPr/>
            <p:nvPr/>
          </p:nvSpPr>
          <p:spPr>
            <a:xfrm rot="1799564">
              <a:off x="7155158" y="4556613"/>
              <a:ext cx="351219" cy="440001"/>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1" name="Google Shape;66;p2">
              <a:extLst>
                <a:ext uri="{FF2B5EF4-FFF2-40B4-BE49-F238E27FC236}">
                  <a16:creationId xmlns:a16="http://schemas.microsoft.com/office/drawing/2014/main" id="{9F4696AF-4B3E-3D95-9597-FCE11C407156}"/>
                </a:ext>
              </a:extLst>
            </p:cNvPr>
            <p:cNvGrpSpPr/>
            <p:nvPr/>
          </p:nvGrpSpPr>
          <p:grpSpPr>
            <a:xfrm>
              <a:off x="7413193" y="740389"/>
              <a:ext cx="289739" cy="482318"/>
              <a:chOff x="4912930" y="846902"/>
              <a:chExt cx="289739" cy="482318"/>
            </a:xfrm>
          </p:grpSpPr>
          <p:sp>
            <p:nvSpPr>
              <p:cNvPr id="72" name="Google Shape;67;p2">
                <a:extLst>
                  <a:ext uri="{FF2B5EF4-FFF2-40B4-BE49-F238E27FC236}">
                    <a16:creationId xmlns:a16="http://schemas.microsoft.com/office/drawing/2014/main" id="{D773526C-931B-F3CB-7906-FB0BC9656610}"/>
                  </a:ext>
                </a:extLst>
              </p:cNvPr>
              <p:cNvSpPr/>
              <p:nvPr/>
            </p:nvSpPr>
            <p:spPr>
              <a:xfrm rot="-539734">
                <a:off x="4946894" y="1102828"/>
                <a:ext cx="216728" cy="21074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3" name="Google Shape;68;p2">
                <a:extLst>
                  <a:ext uri="{FF2B5EF4-FFF2-40B4-BE49-F238E27FC236}">
                    <a16:creationId xmlns:a16="http://schemas.microsoft.com/office/drawing/2014/main" id="{5AFDCD18-D9A8-FB15-63ED-84F58DCCCD76}"/>
                  </a:ext>
                </a:extLst>
              </p:cNvPr>
              <p:cNvSpPr/>
              <p:nvPr/>
            </p:nvSpPr>
            <p:spPr>
              <a:xfrm>
                <a:off x="4912930" y="846902"/>
                <a:ext cx="289739" cy="45623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2" name="Google Shape;69;p2">
              <a:extLst>
                <a:ext uri="{FF2B5EF4-FFF2-40B4-BE49-F238E27FC236}">
                  <a16:creationId xmlns:a16="http://schemas.microsoft.com/office/drawing/2014/main" id="{B36AC2DF-4135-822C-7575-21C32E4C8404}"/>
                </a:ext>
              </a:extLst>
            </p:cNvPr>
            <p:cNvSpPr/>
            <p:nvPr/>
          </p:nvSpPr>
          <p:spPr>
            <a:xfrm>
              <a:off x="7082287" y="-53997"/>
              <a:ext cx="602898" cy="641121"/>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3" name="Google Shape;70;p2">
              <a:extLst>
                <a:ext uri="{FF2B5EF4-FFF2-40B4-BE49-F238E27FC236}">
                  <a16:creationId xmlns:a16="http://schemas.microsoft.com/office/drawing/2014/main" id="{3CACFAE5-3DB5-446E-E7FB-6798235EA165}"/>
                </a:ext>
              </a:extLst>
            </p:cNvPr>
            <p:cNvSpPr/>
            <p:nvPr/>
          </p:nvSpPr>
          <p:spPr>
            <a:xfrm>
              <a:off x="4981978" y="271723"/>
              <a:ext cx="738779" cy="460515"/>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4" name="Google Shape;71;p2">
              <a:extLst>
                <a:ext uri="{FF2B5EF4-FFF2-40B4-BE49-F238E27FC236}">
                  <a16:creationId xmlns:a16="http://schemas.microsoft.com/office/drawing/2014/main" id="{1D6F03D5-F33E-5C8D-81D7-4B5601BD1C28}"/>
                </a:ext>
              </a:extLst>
            </p:cNvPr>
            <p:cNvGrpSpPr/>
            <p:nvPr/>
          </p:nvGrpSpPr>
          <p:grpSpPr>
            <a:xfrm>
              <a:off x="7801268" y="2011644"/>
              <a:ext cx="583849" cy="670195"/>
              <a:chOff x="7801268" y="2011644"/>
              <a:chExt cx="583849" cy="670195"/>
            </a:xfrm>
          </p:grpSpPr>
          <p:sp>
            <p:nvSpPr>
              <p:cNvPr id="70" name="Google Shape;72;p2">
                <a:extLst>
                  <a:ext uri="{FF2B5EF4-FFF2-40B4-BE49-F238E27FC236}">
                    <a16:creationId xmlns:a16="http://schemas.microsoft.com/office/drawing/2014/main" id="{D8FD9A3F-A34E-FBA9-7736-127DD725330E}"/>
                  </a:ext>
                </a:extLst>
              </p:cNvPr>
              <p:cNvSpPr/>
              <p:nvPr/>
            </p:nvSpPr>
            <p:spPr>
              <a:xfrm rot="6678441">
                <a:off x="7840657" y="2123048"/>
                <a:ext cx="518922" cy="40942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1" name="Google Shape;73;p2">
                <a:extLst>
                  <a:ext uri="{FF2B5EF4-FFF2-40B4-BE49-F238E27FC236}">
                    <a16:creationId xmlns:a16="http://schemas.microsoft.com/office/drawing/2014/main" id="{27916505-AB15-6E35-2F55-20DA739C69E8}"/>
                  </a:ext>
                </a:extLst>
              </p:cNvPr>
              <p:cNvSpPr/>
              <p:nvPr/>
            </p:nvSpPr>
            <p:spPr>
              <a:xfrm rot="-1245048">
                <a:off x="7884626" y="2097617"/>
                <a:ext cx="363919" cy="537176"/>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35" name="Google Shape;74;p2">
              <a:extLst>
                <a:ext uri="{FF2B5EF4-FFF2-40B4-BE49-F238E27FC236}">
                  <a16:creationId xmlns:a16="http://schemas.microsoft.com/office/drawing/2014/main" id="{C9AE4188-F958-F315-AAA6-BFD7AA0877F4}"/>
                </a:ext>
              </a:extLst>
            </p:cNvPr>
            <p:cNvGrpSpPr/>
            <p:nvPr/>
          </p:nvGrpSpPr>
          <p:grpSpPr>
            <a:xfrm>
              <a:off x="286734" y="1360788"/>
              <a:ext cx="437027" cy="515682"/>
              <a:chOff x="286734" y="1360788"/>
              <a:chExt cx="437027" cy="515682"/>
            </a:xfrm>
          </p:grpSpPr>
          <p:sp>
            <p:nvSpPr>
              <p:cNvPr id="68" name="Google Shape;75;p2">
                <a:extLst>
                  <a:ext uri="{FF2B5EF4-FFF2-40B4-BE49-F238E27FC236}">
                    <a16:creationId xmlns:a16="http://schemas.microsoft.com/office/drawing/2014/main" id="{69989F46-730F-F9DB-D857-1C762223FF01}"/>
                  </a:ext>
                </a:extLst>
              </p:cNvPr>
              <p:cNvSpPr/>
              <p:nvPr/>
            </p:nvSpPr>
            <p:spPr>
              <a:xfrm>
                <a:off x="286734" y="1396113"/>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69" name="Google Shape;76;p2">
                <a:extLst>
                  <a:ext uri="{FF2B5EF4-FFF2-40B4-BE49-F238E27FC236}">
                    <a16:creationId xmlns:a16="http://schemas.microsoft.com/office/drawing/2014/main" id="{A51DF1F5-F1BA-559C-2635-34AE2B3D064F}"/>
                  </a:ext>
                </a:extLst>
              </p:cNvPr>
              <p:cNvSpPr/>
              <p:nvPr/>
            </p:nvSpPr>
            <p:spPr>
              <a:xfrm>
                <a:off x="313599" y="1360788"/>
                <a:ext cx="410163" cy="515682"/>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6" name="Google Shape;77;p2">
              <a:extLst>
                <a:ext uri="{FF2B5EF4-FFF2-40B4-BE49-F238E27FC236}">
                  <a16:creationId xmlns:a16="http://schemas.microsoft.com/office/drawing/2014/main" id="{4CF55771-5B8A-5AE8-803E-BFCB7426B2FA}"/>
                </a:ext>
              </a:extLst>
            </p:cNvPr>
            <p:cNvSpPr/>
            <p:nvPr/>
          </p:nvSpPr>
          <p:spPr>
            <a:xfrm>
              <a:off x="2688787" y="4098763"/>
              <a:ext cx="455682" cy="43272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7" name="Google Shape;78;p2">
              <a:extLst>
                <a:ext uri="{FF2B5EF4-FFF2-40B4-BE49-F238E27FC236}">
                  <a16:creationId xmlns:a16="http://schemas.microsoft.com/office/drawing/2014/main" id="{45369EE2-9B33-69FC-CFAC-8AF8A6D6F40D}"/>
                </a:ext>
              </a:extLst>
            </p:cNvPr>
            <p:cNvSpPr/>
            <p:nvPr/>
          </p:nvSpPr>
          <p:spPr>
            <a:xfrm>
              <a:off x="933400" y="1069738"/>
              <a:ext cx="175646" cy="373020"/>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8" name="Google Shape;79;p2">
              <a:extLst>
                <a:ext uri="{FF2B5EF4-FFF2-40B4-BE49-F238E27FC236}">
                  <a16:creationId xmlns:a16="http://schemas.microsoft.com/office/drawing/2014/main" id="{D548CCC1-DE1D-12B7-4828-5739296F94D7}"/>
                </a:ext>
              </a:extLst>
            </p:cNvPr>
            <p:cNvSpPr/>
            <p:nvPr/>
          </p:nvSpPr>
          <p:spPr>
            <a:xfrm>
              <a:off x="8204352" y="3801552"/>
              <a:ext cx="240787" cy="203050"/>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9" name="Google Shape;80;p2">
              <a:extLst>
                <a:ext uri="{FF2B5EF4-FFF2-40B4-BE49-F238E27FC236}">
                  <a16:creationId xmlns:a16="http://schemas.microsoft.com/office/drawing/2014/main" id="{9FC860A3-BF50-C322-70CF-5B4222B05D62}"/>
                </a:ext>
              </a:extLst>
            </p:cNvPr>
            <p:cNvSpPr/>
            <p:nvPr/>
          </p:nvSpPr>
          <p:spPr>
            <a:xfrm>
              <a:off x="8204357" y="240186"/>
              <a:ext cx="175884" cy="17472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0" name="Google Shape;81;p2">
              <a:extLst>
                <a:ext uri="{FF2B5EF4-FFF2-40B4-BE49-F238E27FC236}">
                  <a16:creationId xmlns:a16="http://schemas.microsoft.com/office/drawing/2014/main" id="{582C6EAB-009D-B557-C84A-628DEFCBC62E}"/>
                </a:ext>
              </a:extLst>
            </p:cNvPr>
            <p:cNvGrpSpPr/>
            <p:nvPr/>
          </p:nvGrpSpPr>
          <p:grpSpPr>
            <a:xfrm>
              <a:off x="8513660" y="3273951"/>
              <a:ext cx="236955" cy="259508"/>
              <a:chOff x="1624551" y="3569952"/>
              <a:chExt cx="236955" cy="259508"/>
            </a:xfrm>
          </p:grpSpPr>
          <p:sp>
            <p:nvSpPr>
              <p:cNvPr id="66" name="Google Shape;82;p2">
                <a:extLst>
                  <a:ext uri="{FF2B5EF4-FFF2-40B4-BE49-F238E27FC236}">
                    <a16:creationId xmlns:a16="http://schemas.microsoft.com/office/drawing/2014/main" id="{CDC21685-E1C7-7FDA-2031-266D08A5E5D8}"/>
                  </a:ext>
                </a:extLst>
              </p:cNvPr>
              <p:cNvSpPr/>
              <p:nvPr/>
            </p:nvSpPr>
            <p:spPr>
              <a:xfrm>
                <a:off x="1624551" y="3569952"/>
                <a:ext cx="224786" cy="22765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67" name="Google Shape;83;p2">
                <a:extLst>
                  <a:ext uri="{FF2B5EF4-FFF2-40B4-BE49-F238E27FC236}">
                    <a16:creationId xmlns:a16="http://schemas.microsoft.com/office/drawing/2014/main" id="{1F721E40-7EC0-6BB6-EC2E-212ED3665036}"/>
                  </a:ext>
                </a:extLst>
              </p:cNvPr>
              <p:cNvSpPr/>
              <p:nvPr/>
            </p:nvSpPr>
            <p:spPr>
              <a:xfrm>
                <a:off x="1625368" y="3599553"/>
                <a:ext cx="236138" cy="229907"/>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41" name="Google Shape;84;p2">
              <a:extLst>
                <a:ext uri="{FF2B5EF4-FFF2-40B4-BE49-F238E27FC236}">
                  <a16:creationId xmlns:a16="http://schemas.microsoft.com/office/drawing/2014/main" id="{AE4CE9A8-6BBC-085E-5AD7-07E934EAD4F7}"/>
                </a:ext>
              </a:extLst>
            </p:cNvPr>
            <p:cNvGrpSpPr/>
            <p:nvPr/>
          </p:nvGrpSpPr>
          <p:grpSpPr>
            <a:xfrm>
              <a:off x="3637530" y="4055057"/>
              <a:ext cx="418773" cy="520154"/>
              <a:chOff x="3637530" y="4055057"/>
              <a:chExt cx="418773" cy="520154"/>
            </a:xfrm>
          </p:grpSpPr>
          <p:sp>
            <p:nvSpPr>
              <p:cNvPr id="64" name="Google Shape;85;p2">
                <a:extLst>
                  <a:ext uri="{FF2B5EF4-FFF2-40B4-BE49-F238E27FC236}">
                    <a16:creationId xmlns:a16="http://schemas.microsoft.com/office/drawing/2014/main" id="{D1B15141-5FD4-715D-1DBA-659D196DF66D}"/>
                  </a:ext>
                </a:extLst>
              </p:cNvPr>
              <p:cNvSpPr/>
              <p:nvPr/>
            </p:nvSpPr>
            <p:spPr>
              <a:xfrm rot="5542319">
                <a:off x="3769303" y="4204066"/>
                <a:ext cx="285154" cy="277283"/>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65" name="Google Shape;86;p2">
                <a:extLst>
                  <a:ext uri="{FF2B5EF4-FFF2-40B4-BE49-F238E27FC236}">
                    <a16:creationId xmlns:a16="http://schemas.microsoft.com/office/drawing/2014/main" id="{4621EA85-404E-C693-C1CC-2B61F79D4A3D}"/>
                  </a:ext>
                </a:extLst>
              </p:cNvPr>
              <p:cNvSpPr/>
              <p:nvPr/>
            </p:nvSpPr>
            <p:spPr>
              <a:xfrm rot="9304419">
                <a:off x="3726725" y="4079275"/>
                <a:ext cx="219185" cy="471718"/>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2" name="Google Shape;87;p2">
              <a:extLst>
                <a:ext uri="{FF2B5EF4-FFF2-40B4-BE49-F238E27FC236}">
                  <a16:creationId xmlns:a16="http://schemas.microsoft.com/office/drawing/2014/main" id="{C4C9C763-BBBA-D0D4-25B2-B8622EC39397}"/>
                </a:ext>
              </a:extLst>
            </p:cNvPr>
            <p:cNvSpPr/>
            <p:nvPr/>
          </p:nvSpPr>
          <p:spPr>
            <a:xfrm>
              <a:off x="3033704" y="205770"/>
              <a:ext cx="238646" cy="243555"/>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3" name="Google Shape;88;p2">
              <a:extLst>
                <a:ext uri="{FF2B5EF4-FFF2-40B4-BE49-F238E27FC236}">
                  <a16:creationId xmlns:a16="http://schemas.microsoft.com/office/drawing/2014/main" id="{B92A7D41-26B8-B67B-2A59-E8D08A8AB14F}"/>
                </a:ext>
              </a:extLst>
            </p:cNvPr>
            <p:cNvSpPr/>
            <p:nvPr/>
          </p:nvSpPr>
          <p:spPr>
            <a:xfrm>
              <a:off x="8737650" y="439219"/>
              <a:ext cx="257856" cy="284838"/>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4" name="Google Shape;89;p2">
              <a:extLst>
                <a:ext uri="{FF2B5EF4-FFF2-40B4-BE49-F238E27FC236}">
                  <a16:creationId xmlns:a16="http://schemas.microsoft.com/office/drawing/2014/main" id="{7EB4C793-261D-DEEA-4004-707B1C8ADBDB}"/>
                </a:ext>
              </a:extLst>
            </p:cNvPr>
            <p:cNvSpPr/>
            <p:nvPr/>
          </p:nvSpPr>
          <p:spPr>
            <a:xfrm>
              <a:off x="1334256" y="207258"/>
              <a:ext cx="223503" cy="240600"/>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5" name="Google Shape;90;p2">
              <a:extLst>
                <a:ext uri="{FF2B5EF4-FFF2-40B4-BE49-F238E27FC236}">
                  <a16:creationId xmlns:a16="http://schemas.microsoft.com/office/drawing/2014/main" id="{78DF96FD-2E9E-1589-6FEC-14689CD72B91}"/>
                </a:ext>
              </a:extLst>
            </p:cNvPr>
            <p:cNvSpPr/>
            <p:nvPr/>
          </p:nvSpPr>
          <p:spPr>
            <a:xfrm>
              <a:off x="7053257" y="3763614"/>
              <a:ext cx="204383" cy="27891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6" name="Google Shape;91;p2">
              <a:extLst>
                <a:ext uri="{FF2B5EF4-FFF2-40B4-BE49-F238E27FC236}">
                  <a16:creationId xmlns:a16="http://schemas.microsoft.com/office/drawing/2014/main" id="{DE79D083-7F87-FEFF-FE01-971784A84E3F}"/>
                </a:ext>
              </a:extLst>
            </p:cNvPr>
            <p:cNvSpPr/>
            <p:nvPr/>
          </p:nvSpPr>
          <p:spPr>
            <a:xfrm>
              <a:off x="711508" y="3001159"/>
              <a:ext cx="154433" cy="272786"/>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7" name="Google Shape;92;p2">
              <a:extLst>
                <a:ext uri="{FF2B5EF4-FFF2-40B4-BE49-F238E27FC236}">
                  <a16:creationId xmlns:a16="http://schemas.microsoft.com/office/drawing/2014/main" id="{C2797596-6630-E1E6-0873-C106FCDA5C82}"/>
                </a:ext>
              </a:extLst>
            </p:cNvPr>
            <p:cNvSpPr/>
            <p:nvPr/>
          </p:nvSpPr>
          <p:spPr>
            <a:xfrm>
              <a:off x="8576875" y="2558027"/>
              <a:ext cx="223822" cy="307981"/>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8" name="Google Shape;93;p2">
              <a:extLst>
                <a:ext uri="{FF2B5EF4-FFF2-40B4-BE49-F238E27FC236}">
                  <a16:creationId xmlns:a16="http://schemas.microsoft.com/office/drawing/2014/main" id="{377B33BA-23F3-E454-F33B-4B5ADAB79869}"/>
                </a:ext>
              </a:extLst>
            </p:cNvPr>
            <p:cNvSpPr/>
            <p:nvPr/>
          </p:nvSpPr>
          <p:spPr>
            <a:xfrm>
              <a:off x="140852" y="836409"/>
              <a:ext cx="224053" cy="290283"/>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9" name="Google Shape;94;p2">
              <a:extLst>
                <a:ext uri="{FF2B5EF4-FFF2-40B4-BE49-F238E27FC236}">
                  <a16:creationId xmlns:a16="http://schemas.microsoft.com/office/drawing/2014/main" id="{E162715E-6D06-C29F-D196-3CE9D9887758}"/>
                </a:ext>
              </a:extLst>
            </p:cNvPr>
            <p:cNvGrpSpPr/>
            <p:nvPr/>
          </p:nvGrpSpPr>
          <p:grpSpPr>
            <a:xfrm>
              <a:off x="6457245" y="4530131"/>
              <a:ext cx="216066" cy="276377"/>
              <a:chOff x="6422295" y="3351500"/>
              <a:chExt cx="252856" cy="323399"/>
            </a:xfrm>
          </p:grpSpPr>
          <p:sp>
            <p:nvSpPr>
              <p:cNvPr id="62" name="Google Shape;95;p2">
                <a:extLst>
                  <a:ext uri="{FF2B5EF4-FFF2-40B4-BE49-F238E27FC236}">
                    <a16:creationId xmlns:a16="http://schemas.microsoft.com/office/drawing/2014/main" id="{1CE1CC33-7D7E-82A9-EAAC-23408940B84C}"/>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3" name="Google Shape;96;p2">
                <a:extLst>
                  <a:ext uri="{FF2B5EF4-FFF2-40B4-BE49-F238E27FC236}">
                    <a16:creationId xmlns:a16="http://schemas.microsoft.com/office/drawing/2014/main" id="{7D9CAAEF-7B53-ED09-209B-E5A0C6F1D33C}"/>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50" name="Google Shape;97;p2">
              <a:extLst>
                <a:ext uri="{FF2B5EF4-FFF2-40B4-BE49-F238E27FC236}">
                  <a16:creationId xmlns:a16="http://schemas.microsoft.com/office/drawing/2014/main" id="{3B4D56F1-9C1E-3CF6-33B9-64FE57210A0B}"/>
                </a:ext>
              </a:extLst>
            </p:cNvPr>
            <p:cNvGrpSpPr/>
            <p:nvPr/>
          </p:nvGrpSpPr>
          <p:grpSpPr>
            <a:xfrm>
              <a:off x="2318449" y="604142"/>
              <a:ext cx="332332" cy="346582"/>
              <a:chOff x="2318449" y="604142"/>
              <a:chExt cx="332332" cy="346582"/>
            </a:xfrm>
          </p:grpSpPr>
          <p:sp>
            <p:nvSpPr>
              <p:cNvPr id="60" name="Google Shape;98;p2">
                <a:extLst>
                  <a:ext uri="{FF2B5EF4-FFF2-40B4-BE49-F238E27FC236}">
                    <a16:creationId xmlns:a16="http://schemas.microsoft.com/office/drawing/2014/main" id="{7E77234A-8CE7-4B2B-8DBF-2C11040B9493}"/>
                  </a:ext>
                </a:extLst>
              </p:cNvPr>
              <p:cNvSpPr/>
              <p:nvPr/>
            </p:nvSpPr>
            <p:spPr>
              <a:xfrm>
                <a:off x="2361884" y="604142"/>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61" name="Google Shape;99;p2">
                <a:extLst>
                  <a:ext uri="{FF2B5EF4-FFF2-40B4-BE49-F238E27FC236}">
                    <a16:creationId xmlns:a16="http://schemas.microsoft.com/office/drawing/2014/main" id="{DE866DFA-B67D-B09E-22D7-BD201585F84A}"/>
                  </a:ext>
                </a:extLst>
              </p:cNvPr>
              <p:cNvSpPr/>
              <p:nvPr/>
            </p:nvSpPr>
            <p:spPr>
              <a:xfrm>
                <a:off x="2318449" y="613815"/>
                <a:ext cx="332332" cy="336908"/>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1" name="Google Shape;100;p2">
              <a:extLst>
                <a:ext uri="{FF2B5EF4-FFF2-40B4-BE49-F238E27FC236}">
                  <a16:creationId xmlns:a16="http://schemas.microsoft.com/office/drawing/2014/main" id="{A920755E-F4DD-6785-79A3-0478717E01CC}"/>
                </a:ext>
              </a:extLst>
            </p:cNvPr>
            <p:cNvSpPr/>
            <p:nvPr/>
          </p:nvSpPr>
          <p:spPr>
            <a:xfrm>
              <a:off x="6021196" y="137179"/>
              <a:ext cx="265484" cy="205157"/>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2" name="Google Shape;101;p2">
              <a:extLst>
                <a:ext uri="{FF2B5EF4-FFF2-40B4-BE49-F238E27FC236}">
                  <a16:creationId xmlns:a16="http://schemas.microsoft.com/office/drawing/2014/main" id="{BE8DD83A-0E9D-4612-64AD-16E0A4529056}"/>
                </a:ext>
              </a:extLst>
            </p:cNvPr>
            <p:cNvGrpSpPr/>
            <p:nvPr/>
          </p:nvGrpSpPr>
          <p:grpSpPr>
            <a:xfrm>
              <a:off x="1184427" y="4630083"/>
              <a:ext cx="229693" cy="293080"/>
              <a:chOff x="6793660" y="3322411"/>
              <a:chExt cx="268804" cy="342944"/>
            </a:xfrm>
          </p:grpSpPr>
          <p:sp>
            <p:nvSpPr>
              <p:cNvPr id="57" name="Google Shape;102;p2">
                <a:extLst>
                  <a:ext uri="{FF2B5EF4-FFF2-40B4-BE49-F238E27FC236}">
                    <a16:creationId xmlns:a16="http://schemas.microsoft.com/office/drawing/2014/main" id="{3B221F32-03A8-3F23-2DE4-862AC741038F}"/>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8" name="Google Shape;103;p2">
                <a:extLst>
                  <a:ext uri="{FF2B5EF4-FFF2-40B4-BE49-F238E27FC236}">
                    <a16:creationId xmlns:a16="http://schemas.microsoft.com/office/drawing/2014/main" id="{7587873F-1FAD-5A5C-5859-D383A1BAE9C6}"/>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9" name="Google Shape;104;p2">
                <a:extLst>
                  <a:ext uri="{FF2B5EF4-FFF2-40B4-BE49-F238E27FC236}">
                    <a16:creationId xmlns:a16="http://schemas.microsoft.com/office/drawing/2014/main" id="{4AC9D863-5DBF-3930-404D-A1C219D25CE5}"/>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3" name="Google Shape;105;p2">
              <a:extLst>
                <a:ext uri="{FF2B5EF4-FFF2-40B4-BE49-F238E27FC236}">
                  <a16:creationId xmlns:a16="http://schemas.microsoft.com/office/drawing/2014/main" id="{05F82458-A38A-030C-F593-712A04CC6EBC}"/>
                </a:ext>
              </a:extLst>
            </p:cNvPr>
            <p:cNvSpPr/>
            <p:nvPr/>
          </p:nvSpPr>
          <p:spPr>
            <a:xfrm>
              <a:off x="4843337" y="836403"/>
              <a:ext cx="377232" cy="204888"/>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4" name="Google Shape;106;p2">
              <a:extLst>
                <a:ext uri="{FF2B5EF4-FFF2-40B4-BE49-F238E27FC236}">
                  <a16:creationId xmlns:a16="http://schemas.microsoft.com/office/drawing/2014/main" id="{5AA52A4C-BCB7-06AD-9C1D-1C7FBB27DBAB}"/>
                </a:ext>
              </a:extLst>
            </p:cNvPr>
            <p:cNvSpPr/>
            <p:nvPr/>
          </p:nvSpPr>
          <p:spPr>
            <a:xfrm rot="-2218186">
              <a:off x="-38492" y="151543"/>
              <a:ext cx="236276" cy="230041"/>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5" name="Google Shape;107;p2">
              <a:extLst>
                <a:ext uri="{FF2B5EF4-FFF2-40B4-BE49-F238E27FC236}">
                  <a16:creationId xmlns:a16="http://schemas.microsoft.com/office/drawing/2014/main" id="{28DB6D2C-9AC9-AC01-49BF-5F4DF66F6B61}"/>
                </a:ext>
              </a:extLst>
            </p:cNvPr>
            <p:cNvSpPr/>
            <p:nvPr/>
          </p:nvSpPr>
          <p:spPr>
            <a:xfrm rot="1464154">
              <a:off x="4569091" y="-94554"/>
              <a:ext cx="235935" cy="229710"/>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6" name="Google Shape;108;p2">
              <a:extLst>
                <a:ext uri="{FF2B5EF4-FFF2-40B4-BE49-F238E27FC236}">
                  <a16:creationId xmlns:a16="http://schemas.microsoft.com/office/drawing/2014/main" id="{2C15FD77-F8FD-F7E1-C21E-7D75A8676D32}"/>
                </a:ext>
              </a:extLst>
            </p:cNvPr>
            <p:cNvSpPr/>
            <p:nvPr/>
          </p:nvSpPr>
          <p:spPr>
            <a:xfrm rot="-2221343">
              <a:off x="1866371" y="3538528"/>
              <a:ext cx="206347" cy="200902"/>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91" name="Google Shape;694;p13">
            <a:extLst>
              <a:ext uri="{FF2B5EF4-FFF2-40B4-BE49-F238E27FC236}">
                <a16:creationId xmlns:a16="http://schemas.microsoft.com/office/drawing/2014/main" id="{A4F52F74-1602-4292-791E-3DC42330387B}"/>
              </a:ext>
            </a:extLst>
          </p:cNvPr>
          <p:cNvSpPr txBox="1">
            <a:spLocks/>
          </p:cNvSpPr>
          <p:nvPr/>
        </p:nvSpPr>
        <p:spPr>
          <a:xfrm>
            <a:off x="2378345" y="2436884"/>
            <a:ext cx="7223854" cy="1984631"/>
          </a:xfrm>
          <a:prstGeom prst="rect">
            <a:avLst/>
          </a:prstGeom>
        </p:spPr>
        <p:txBody>
          <a:bodyPr spcFirstLastPara="1" wrap="square" lIns="0" tIns="0" rIns="0" bIns="0" anchor="ctr" anchorCtr="0">
            <a:noAutofit/>
          </a:bodyPr>
          <a:lst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a:lstStyle>
          <a:p>
            <a:pPr algn="ctr"/>
            <a:r>
              <a:rPr lang="da-DK" sz="4800" b="1" dirty="0">
                <a:solidFill>
                  <a:schemeClr val="bg1"/>
                </a:solidFill>
                <a:latin typeface="Amatic SC" panose="00000500000000000000" pitchFamily="2" charset="-79"/>
                <a:cs typeface="Amatic SC" panose="00000500000000000000" pitchFamily="2" charset="-79"/>
              </a:rPr>
              <a:t>Samarbejde og kapacitet</a:t>
            </a:r>
            <a:br>
              <a:rPr lang="da-DK" sz="4800" b="1" dirty="0">
                <a:solidFill>
                  <a:schemeClr val="bg1"/>
                </a:solidFill>
                <a:latin typeface="Amatic SC" panose="00000500000000000000" pitchFamily="2" charset="-79"/>
                <a:cs typeface="Amatic SC" panose="00000500000000000000" pitchFamily="2" charset="-79"/>
              </a:rPr>
            </a:br>
            <a:r>
              <a:rPr lang="da-DK" sz="4800" b="1" dirty="0">
                <a:solidFill>
                  <a:schemeClr val="bg1"/>
                </a:solidFill>
                <a:latin typeface="Amatic SC" panose="00000500000000000000" pitchFamily="2" charset="-79"/>
                <a:cs typeface="Amatic SC" panose="00000500000000000000" pitchFamily="2" charset="-79"/>
              </a:rPr>
              <a:t>i professionelle læringsfællesskaber</a:t>
            </a:r>
          </a:p>
        </p:txBody>
      </p:sp>
    </p:spTree>
    <p:extLst>
      <p:ext uri="{BB962C8B-B14F-4D97-AF65-F5344CB8AC3E}">
        <p14:creationId xmlns:p14="http://schemas.microsoft.com/office/powerpoint/2010/main" val="15844535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16</a:t>
            </a:fld>
            <a:endParaRPr lang="da-DK"/>
          </a:p>
        </p:txBody>
      </p:sp>
      <p:sp>
        <p:nvSpPr>
          <p:cNvPr id="25" name="Google Shape;846;p29">
            <a:extLst>
              <a:ext uri="{FF2B5EF4-FFF2-40B4-BE49-F238E27FC236}">
                <a16:creationId xmlns:a16="http://schemas.microsoft.com/office/drawing/2014/main" id="{EDA2C9DA-AA0E-4900-AD2F-E52580846E8D}"/>
              </a:ext>
            </a:extLst>
          </p:cNvPr>
          <p:cNvSpPr/>
          <p:nvPr/>
        </p:nvSpPr>
        <p:spPr>
          <a:xfrm>
            <a:off x="-20320" y="348312"/>
            <a:ext cx="901244" cy="1019120"/>
          </a:xfrm>
          <a:prstGeom prst="homePlate">
            <a:avLst>
              <a:gd name="adj" fmla="val 50000"/>
            </a:avLst>
          </a:prstGeom>
          <a:solidFill>
            <a:schemeClr val="accent4"/>
          </a:solidFill>
          <a:ln>
            <a:noFill/>
          </a:ln>
        </p:spPr>
        <p:txBody>
          <a:bodyPr spcFirstLastPara="1" wrap="square" lIns="396000"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19" name="Google Shape;843;p29">
            <a:extLst>
              <a:ext uri="{FF2B5EF4-FFF2-40B4-BE49-F238E27FC236}">
                <a16:creationId xmlns:a16="http://schemas.microsoft.com/office/drawing/2014/main" id="{63F687D6-3A0C-49E8-8309-51383D3FACDF}"/>
              </a:ext>
            </a:extLst>
          </p:cNvPr>
          <p:cNvSpPr/>
          <p:nvPr/>
        </p:nvSpPr>
        <p:spPr>
          <a:xfrm>
            <a:off x="90831" y="347492"/>
            <a:ext cx="11638607" cy="1019120"/>
          </a:xfrm>
          <a:prstGeom prst="chevron">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ctr">
              <a:spcBef>
                <a:spcPts val="0"/>
              </a:spcBef>
              <a:spcAft>
                <a:spcPts val="0"/>
              </a:spcAft>
              <a:buNone/>
            </a:pPr>
            <a:r>
              <a:rPr lang="da-DK" sz="3200" b="1" dirty="0">
                <a:solidFill>
                  <a:schemeClr val="bg1"/>
                </a:solidFill>
                <a:latin typeface="Amatic SC"/>
                <a:ea typeface="Amatic SC"/>
                <a:cs typeface="Amatic SC"/>
                <a:sym typeface="Amatic SC"/>
              </a:rPr>
              <a:t>Samarbejde og kapacitet: hovedresultater</a:t>
            </a:r>
          </a:p>
        </p:txBody>
      </p:sp>
      <p:sp>
        <p:nvSpPr>
          <p:cNvPr id="17" name="Google Shape;843;p29">
            <a:extLst>
              <a:ext uri="{FF2B5EF4-FFF2-40B4-BE49-F238E27FC236}">
                <a16:creationId xmlns:a16="http://schemas.microsoft.com/office/drawing/2014/main" id="{A6C4A561-967F-018D-AB42-6CA56D99821F}"/>
              </a:ext>
            </a:extLst>
          </p:cNvPr>
          <p:cNvSpPr/>
          <p:nvPr/>
        </p:nvSpPr>
        <p:spPr>
          <a:xfrm>
            <a:off x="11591636" y="347492"/>
            <a:ext cx="600363" cy="1019120"/>
          </a:xfrm>
          <a:prstGeom prst="rect">
            <a:avLst/>
          </a:prstGeom>
          <a:solidFill>
            <a:schemeClr val="accent4"/>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22" name="Google Shape;843;p29">
            <a:extLst>
              <a:ext uri="{FF2B5EF4-FFF2-40B4-BE49-F238E27FC236}">
                <a16:creationId xmlns:a16="http://schemas.microsoft.com/office/drawing/2014/main" id="{B934E536-600A-73F4-2F31-F377D0DF87B4}"/>
              </a:ext>
            </a:extLst>
          </p:cNvPr>
          <p:cNvSpPr/>
          <p:nvPr/>
        </p:nvSpPr>
        <p:spPr>
          <a:xfrm>
            <a:off x="11033835" y="348312"/>
            <a:ext cx="1067334" cy="1018300"/>
          </a:xfrm>
          <a:prstGeom prst="chevron">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34" name="TextBox 33">
            <a:extLst>
              <a:ext uri="{FF2B5EF4-FFF2-40B4-BE49-F238E27FC236}">
                <a16:creationId xmlns:a16="http://schemas.microsoft.com/office/drawing/2014/main" id="{ECE452D0-51D2-5908-B869-A4330811097A}"/>
              </a:ext>
            </a:extLst>
          </p:cNvPr>
          <p:cNvSpPr txBox="1">
            <a:spLocks/>
          </p:cNvSpPr>
          <p:nvPr/>
        </p:nvSpPr>
        <p:spPr>
          <a:xfrm>
            <a:off x="1414324" y="3741602"/>
            <a:ext cx="9149171" cy="915984"/>
          </a:xfrm>
          <a:custGeom>
            <a:avLst/>
            <a:gdLst>
              <a:gd name="connsiteX0" fmla="*/ 0 w 9149171"/>
              <a:gd name="connsiteY0" fmla="*/ 0 h 915984"/>
              <a:gd name="connsiteX1" fmla="*/ 836496 w 9149171"/>
              <a:gd name="connsiteY1" fmla="*/ 0 h 915984"/>
              <a:gd name="connsiteX2" fmla="*/ 1581500 w 9149171"/>
              <a:gd name="connsiteY2" fmla="*/ 0 h 915984"/>
              <a:gd name="connsiteX3" fmla="*/ 2235012 w 9149171"/>
              <a:gd name="connsiteY3" fmla="*/ 0 h 915984"/>
              <a:gd name="connsiteX4" fmla="*/ 2797032 w 9149171"/>
              <a:gd name="connsiteY4" fmla="*/ 0 h 915984"/>
              <a:gd name="connsiteX5" fmla="*/ 3542036 w 9149171"/>
              <a:gd name="connsiteY5" fmla="*/ 0 h 915984"/>
              <a:gd name="connsiteX6" fmla="*/ 4012565 w 9149171"/>
              <a:gd name="connsiteY6" fmla="*/ 0 h 915984"/>
              <a:gd name="connsiteX7" fmla="*/ 4757569 w 9149171"/>
              <a:gd name="connsiteY7" fmla="*/ 0 h 915984"/>
              <a:gd name="connsiteX8" fmla="*/ 5228098 w 9149171"/>
              <a:gd name="connsiteY8" fmla="*/ 0 h 915984"/>
              <a:gd name="connsiteX9" fmla="*/ 5698627 w 9149171"/>
              <a:gd name="connsiteY9" fmla="*/ 0 h 915984"/>
              <a:gd name="connsiteX10" fmla="*/ 6535122 w 9149171"/>
              <a:gd name="connsiteY10" fmla="*/ 0 h 915984"/>
              <a:gd name="connsiteX11" fmla="*/ 7188634 w 9149171"/>
              <a:gd name="connsiteY11" fmla="*/ 0 h 915984"/>
              <a:gd name="connsiteX12" fmla="*/ 8025130 w 9149171"/>
              <a:gd name="connsiteY12" fmla="*/ 0 h 915984"/>
              <a:gd name="connsiteX13" fmla="*/ 9149171 w 9149171"/>
              <a:gd name="connsiteY13" fmla="*/ 0 h 915984"/>
              <a:gd name="connsiteX14" fmla="*/ 9149171 w 9149171"/>
              <a:gd name="connsiteY14" fmla="*/ 439672 h 915984"/>
              <a:gd name="connsiteX15" fmla="*/ 9149171 w 9149171"/>
              <a:gd name="connsiteY15" fmla="*/ 915984 h 915984"/>
              <a:gd name="connsiteX16" fmla="*/ 8312675 w 9149171"/>
              <a:gd name="connsiteY16" fmla="*/ 915984 h 915984"/>
              <a:gd name="connsiteX17" fmla="*/ 7567671 w 9149171"/>
              <a:gd name="connsiteY17" fmla="*/ 915984 h 915984"/>
              <a:gd name="connsiteX18" fmla="*/ 7005651 w 9149171"/>
              <a:gd name="connsiteY18" fmla="*/ 915984 h 915984"/>
              <a:gd name="connsiteX19" fmla="*/ 6626614 w 9149171"/>
              <a:gd name="connsiteY19" fmla="*/ 915984 h 915984"/>
              <a:gd name="connsiteX20" fmla="*/ 5881610 w 9149171"/>
              <a:gd name="connsiteY20" fmla="*/ 915984 h 915984"/>
              <a:gd name="connsiteX21" fmla="*/ 5045114 w 9149171"/>
              <a:gd name="connsiteY21" fmla="*/ 915984 h 915984"/>
              <a:gd name="connsiteX22" fmla="*/ 4483094 w 9149171"/>
              <a:gd name="connsiteY22" fmla="*/ 915984 h 915984"/>
              <a:gd name="connsiteX23" fmla="*/ 3738090 w 9149171"/>
              <a:gd name="connsiteY23" fmla="*/ 915984 h 915984"/>
              <a:gd name="connsiteX24" fmla="*/ 3359053 w 9149171"/>
              <a:gd name="connsiteY24" fmla="*/ 915984 h 915984"/>
              <a:gd name="connsiteX25" fmla="*/ 2614049 w 9149171"/>
              <a:gd name="connsiteY25" fmla="*/ 915984 h 915984"/>
              <a:gd name="connsiteX26" fmla="*/ 1960537 w 9149171"/>
              <a:gd name="connsiteY26" fmla="*/ 915984 h 915984"/>
              <a:gd name="connsiteX27" fmla="*/ 1398516 w 9149171"/>
              <a:gd name="connsiteY27" fmla="*/ 915984 h 915984"/>
              <a:gd name="connsiteX28" fmla="*/ 927987 w 9149171"/>
              <a:gd name="connsiteY28" fmla="*/ 915984 h 915984"/>
              <a:gd name="connsiteX29" fmla="*/ 0 w 9149171"/>
              <a:gd name="connsiteY29" fmla="*/ 915984 h 915984"/>
              <a:gd name="connsiteX30" fmla="*/ 0 w 9149171"/>
              <a:gd name="connsiteY30" fmla="*/ 476312 h 915984"/>
              <a:gd name="connsiteX31" fmla="*/ 0 w 9149171"/>
              <a:gd name="connsiteY31" fmla="*/ 0 h 915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9171" h="915984" extrusionOk="0">
                <a:moveTo>
                  <a:pt x="0" y="0"/>
                </a:moveTo>
                <a:cubicBezTo>
                  <a:pt x="340229" y="-20309"/>
                  <a:pt x="574244" y="19432"/>
                  <a:pt x="836496" y="0"/>
                </a:cubicBezTo>
                <a:cubicBezTo>
                  <a:pt x="1098748" y="-19432"/>
                  <a:pt x="1290717" y="-25470"/>
                  <a:pt x="1581500" y="0"/>
                </a:cubicBezTo>
                <a:cubicBezTo>
                  <a:pt x="1872283" y="25470"/>
                  <a:pt x="2032902" y="-10466"/>
                  <a:pt x="2235012" y="0"/>
                </a:cubicBezTo>
                <a:cubicBezTo>
                  <a:pt x="2437122" y="10466"/>
                  <a:pt x="2608503" y="20060"/>
                  <a:pt x="2797032" y="0"/>
                </a:cubicBezTo>
                <a:cubicBezTo>
                  <a:pt x="2985561" y="-20060"/>
                  <a:pt x="3346235" y="37069"/>
                  <a:pt x="3542036" y="0"/>
                </a:cubicBezTo>
                <a:cubicBezTo>
                  <a:pt x="3737837" y="-37069"/>
                  <a:pt x="3881947" y="-14285"/>
                  <a:pt x="4012565" y="0"/>
                </a:cubicBezTo>
                <a:cubicBezTo>
                  <a:pt x="4143183" y="14285"/>
                  <a:pt x="4400266" y="10630"/>
                  <a:pt x="4757569" y="0"/>
                </a:cubicBezTo>
                <a:cubicBezTo>
                  <a:pt x="5114872" y="-10630"/>
                  <a:pt x="5069141" y="2312"/>
                  <a:pt x="5228098" y="0"/>
                </a:cubicBezTo>
                <a:cubicBezTo>
                  <a:pt x="5387055" y="-2312"/>
                  <a:pt x="5464796" y="-5985"/>
                  <a:pt x="5698627" y="0"/>
                </a:cubicBezTo>
                <a:cubicBezTo>
                  <a:pt x="5932458" y="5985"/>
                  <a:pt x="6168688" y="-21201"/>
                  <a:pt x="6535122" y="0"/>
                </a:cubicBezTo>
                <a:cubicBezTo>
                  <a:pt x="6901557" y="21201"/>
                  <a:pt x="7048274" y="2489"/>
                  <a:pt x="7188634" y="0"/>
                </a:cubicBezTo>
                <a:cubicBezTo>
                  <a:pt x="7328994" y="-2489"/>
                  <a:pt x="7681279" y="40002"/>
                  <a:pt x="8025130" y="0"/>
                </a:cubicBezTo>
                <a:cubicBezTo>
                  <a:pt x="8368981" y="-40002"/>
                  <a:pt x="8647101" y="23429"/>
                  <a:pt x="9149171" y="0"/>
                </a:cubicBezTo>
                <a:cubicBezTo>
                  <a:pt x="9130240" y="154337"/>
                  <a:pt x="9162678" y="347072"/>
                  <a:pt x="9149171" y="439672"/>
                </a:cubicBezTo>
                <a:cubicBezTo>
                  <a:pt x="9135664" y="532272"/>
                  <a:pt x="9133755" y="813372"/>
                  <a:pt x="9149171" y="915984"/>
                </a:cubicBezTo>
                <a:cubicBezTo>
                  <a:pt x="8860588" y="954611"/>
                  <a:pt x="8726443" y="927647"/>
                  <a:pt x="8312675" y="915984"/>
                </a:cubicBezTo>
                <a:cubicBezTo>
                  <a:pt x="7898907" y="904321"/>
                  <a:pt x="7850053" y="935230"/>
                  <a:pt x="7567671" y="915984"/>
                </a:cubicBezTo>
                <a:cubicBezTo>
                  <a:pt x="7285289" y="896738"/>
                  <a:pt x="7150105" y="935493"/>
                  <a:pt x="7005651" y="915984"/>
                </a:cubicBezTo>
                <a:cubicBezTo>
                  <a:pt x="6861197" y="896475"/>
                  <a:pt x="6751854" y="924914"/>
                  <a:pt x="6626614" y="915984"/>
                </a:cubicBezTo>
                <a:cubicBezTo>
                  <a:pt x="6501374" y="907054"/>
                  <a:pt x="6104996" y="936783"/>
                  <a:pt x="5881610" y="915984"/>
                </a:cubicBezTo>
                <a:cubicBezTo>
                  <a:pt x="5658224" y="895185"/>
                  <a:pt x="5277778" y="917696"/>
                  <a:pt x="5045114" y="915984"/>
                </a:cubicBezTo>
                <a:cubicBezTo>
                  <a:pt x="4812450" y="914272"/>
                  <a:pt x="4686163" y="898077"/>
                  <a:pt x="4483094" y="915984"/>
                </a:cubicBezTo>
                <a:cubicBezTo>
                  <a:pt x="4280025" y="933891"/>
                  <a:pt x="4022605" y="948352"/>
                  <a:pt x="3738090" y="915984"/>
                </a:cubicBezTo>
                <a:cubicBezTo>
                  <a:pt x="3453575" y="883616"/>
                  <a:pt x="3450598" y="931735"/>
                  <a:pt x="3359053" y="915984"/>
                </a:cubicBezTo>
                <a:cubicBezTo>
                  <a:pt x="3267508" y="900233"/>
                  <a:pt x="2878757" y="931196"/>
                  <a:pt x="2614049" y="915984"/>
                </a:cubicBezTo>
                <a:cubicBezTo>
                  <a:pt x="2349341" y="900772"/>
                  <a:pt x="2225555" y="910211"/>
                  <a:pt x="1960537" y="915984"/>
                </a:cubicBezTo>
                <a:cubicBezTo>
                  <a:pt x="1695519" y="921757"/>
                  <a:pt x="1571593" y="906102"/>
                  <a:pt x="1398516" y="915984"/>
                </a:cubicBezTo>
                <a:cubicBezTo>
                  <a:pt x="1225439" y="925866"/>
                  <a:pt x="1024700" y="899881"/>
                  <a:pt x="927987" y="915984"/>
                </a:cubicBezTo>
                <a:cubicBezTo>
                  <a:pt x="831274" y="932087"/>
                  <a:pt x="209584" y="870400"/>
                  <a:pt x="0" y="915984"/>
                </a:cubicBezTo>
                <a:cubicBezTo>
                  <a:pt x="-11625" y="723549"/>
                  <a:pt x="-19283" y="584633"/>
                  <a:pt x="0" y="476312"/>
                </a:cubicBezTo>
                <a:cubicBezTo>
                  <a:pt x="19283" y="367991"/>
                  <a:pt x="-19169" y="135067"/>
                  <a:pt x="0" y="0"/>
                </a:cubicBezTo>
                <a:close/>
              </a:path>
            </a:pathLst>
          </a:custGeom>
          <a:noFill/>
          <a:ln w="28575">
            <a:solidFill>
              <a:schemeClr val="accent4"/>
            </a:solidFill>
            <a:extLst>
              <a:ext uri="{C807C97D-BFC1-408E-A445-0C87EB9F89A2}">
                <ask:lineSketchStyleProps xmlns:ask="http://schemas.microsoft.com/office/drawing/2018/sketchyshapes" sd="1077043750">
                  <a:prstGeom prst="rect">
                    <a:avLst/>
                  </a:prstGeom>
                  <ask:type>
                    <ask:lineSketchFreehand/>
                  </ask:type>
                </ask:lineSketchStyleProps>
              </a:ext>
            </a:extLst>
          </a:ln>
        </p:spPr>
        <p:style>
          <a:lnRef idx="2">
            <a:schemeClr val="accent5"/>
          </a:lnRef>
          <a:fillRef idx="1">
            <a:schemeClr val="lt1"/>
          </a:fillRef>
          <a:effectRef idx="0">
            <a:schemeClr val="accent5"/>
          </a:effectRef>
          <a:fontRef idx="minor">
            <a:schemeClr val="dk1"/>
          </a:fontRef>
        </p:style>
        <p:txBody>
          <a:bodyPr wrap="square" lIns="0" tIns="0" rIns="0" bIns="0" rtlCol="0" anchor="ctr">
            <a:noAutofit/>
          </a:bodyPr>
          <a:lstStyle/>
          <a:p>
            <a:pPr algn="ctr"/>
            <a:r>
              <a:rPr lang="da-DK" sz="1600" b="1" dirty="0">
                <a:latin typeface="Quicksand" panose="020B0604020202020204"/>
                <a:cs typeface="Amatic SC" panose="00000500000000000000" pitchFamily="2" charset="-79"/>
              </a:rPr>
              <a:t>Pædagogisk personale oplever at have fået et stærkere fælles børnesyn, </a:t>
            </a:r>
          </a:p>
          <a:p>
            <a:pPr algn="ctr"/>
            <a:r>
              <a:rPr lang="da-DK" sz="1600" b="1" dirty="0">
                <a:latin typeface="Quicksand" panose="020B0604020202020204"/>
                <a:cs typeface="Amatic SC" panose="00000500000000000000" pitchFamily="2" charset="-79"/>
              </a:rPr>
              <a:t>men der er fortsat potentiale for at styrke deres mindset </a:t>
            </a:r>
            <a:r>
              <a:rPr lang="da-DK" sz="1600" b="1">
                <a:latin typeface="Quicksand" panose="020B0604020202020204"/>
                <a:cs typeface="Amatic SC" panose="00000500000000000000" pitchFamily="2" charset="-79"/>
              </a:rPr>
              <a:t>om elevinddragelse</a:t>
            </a:r>
            <a:endParaRPr lang="da-DK" sz="1600" b="1" dirty="0">
              <a:solidFill>
                <a:schemeClr val="tx1"/>
              </a:solidFill>
              <a:latin typeface="Quicksand" panose="020B0604020202020204"/>
              <a:cs typeface="Amatic SC" panose="00000500000000000000" pitchFamily="2" charset="-79"/>
            </a:endParaRPr>
          </a:p>
        </p:txBody>
      </p:sp>
      <p:sp>
        <p:nvSpPr>
          <p:cNvPr id="35" name="TextBox 34">
            <a:extLst>
              <a:ext uri="{FF2B5EF4-FFF2-40B4-BE49-F238E27FC236}">
                <a16:creationId xmlns:a16="http://schemas.microsoft.com/office/drawing/2014/main" id="{9326538A-3B26-836F-C128-6760F59D8119}"/>
              </a:ext>
            </a:extLst>
          </p:cNvPr>
          <p:cNvSpPr txBox="1"/>
          <p:nvPr/>
        </p:nvSpPr>
        <p:spPr>
          <a:xfrm>
            <a:off x="1351445" y="4014928"/>
            <a:ext cx="878306" cy="369332"/>
          </a:xfrm>
          <a:prstGeom prst="rect">
            <a:avLst/>
          </a:prstGeom>
          <a:noFill/>
        </p:spPr>
        <p:txBody>
          <a:bodyPr wrap="square" lIns="0" tIns="0" rIns="0" bIns="0" rtlCol="0">
            <a:spAutoFit/>
          </a:bodyPr>
          <a:lstStyle/>
          <a:p>
            <a:pPr algn="ctr"/>
            <a:r>
              <a:rPr lang="da-DK" sz="2400" b="1">
                <a:latin typeface="Quicksand" panose="020B0604020202020204"/>
                <a:cs typeface="Amatic SC" panose="00000500000000000000" pitchFamily="2" charset="-79"/>
              </a:rPr>
              <a:t>2</a:t>
            </a:r>
          </a:p>
        </p:txBody>
      </p:sp>
      <p:sp>
        <p:nvSpPr>
          <p:cNvPr id="2" name="TextBox 1">
            <a:extLst>
              <a:ext uri="{FF2B5EF4-FFF2-40B4-BE49-F238E27FC236}">
                <a16:creationId xmlns:a16="http://schemas.microsoft.com/office/drawing/2014/main" id="{211DC106-A7D3-2CDD-138E-4B774D02BA3E}"/>
              </a:ext>
            </a:extLst>
          </p:cNvPr>
          <p:cNvSpPr txBox="1">
            <a:spLocks/>
          </p:cNvSpPr>
          <p:nvPr/>
        </p:nvSpPr>
        <p:spPr>
          <a:xfrm>
            <a:off x="1414324" y="2552292"/>
            <a:ext cx="9149171" cy="915984"/>
          </a:xfrm>
          <a:custGeom>
            <a:avLst/>
            <a:gdLst>
              <a:gd name="connsiteX0" fmla="*/ 0 w 9149171"/>
              <a:gd name="connsiteY0" fmla="*/ 0 h 915984"/>
              <a:gd name="connsiteX1" fmla="*/ 836496 w 9149171"/>
              <a:gd name="connsiteY1" fmla="*/ 0 h 915984"/>
              <a:gd name="connsiteX2" fmla="*/ 1581500 w 9149171"/>
              <a:gd name="connsiteY2" fmla="*/ 0 h 915984"/>
              <a:gd name="connsiteX3" fmla="*/ 2235012 w 9149171"/>
              <a:gd name="connsiteY3" fmla="*/ 0 h 915984"/>
              <a:gd name="connsiteX4" fmla="*/ 2797032 w 9149171"/>
              <a:gd name="connsiteY4" fmla="*/ 0 h 915984"/>
              <a:gd name="connsiteX5" fmla="*/ 3542036 w 9149171"/>
              <a:gd name="connsiteY5" fmla="*/ 0 h 915984"/>
              <a:gd name="connsiteX6" fmla="*/ 4012565 w 9149171"/>
              <a:gd name="connsiteY6" fmla="*/ 0 h 915984"/>
              <a:gd name="connsiteX7" fmla="*/ 4757569 w 9149171"/>
              <a:gd name="connsiteY7" fmla="*/ 0 h 915984"/>
              <a:gd name="connsiteX8" fmla="*/ 5228098 w 9149171"/>
              <a:gd name="connsiteY8" fmla="*/ 0 h 915984"/>
              <a:gd name="connsiteX9" fmla="*/ 5698627 w 9149171"/>
              <a:gd name="connsiteY9" fmla="*/ 0 h 915984"/>
              <a:gd name="connsiteX10" fmla="*/ 6535122 w 9149171"/>
              <a:gd name="connsiteY10" fmla="*/ 0 h 915984"/>
              <a:gd name="connsiteX11" fmla="*/ 7188634 w 9149171"/>
              <a:gd name="connsiteY11" fmla="*/ 0 h 915984"/>
              <a:gd name="connsiteX12" fmla="*/ 8025130 w 9149171"/>
              <a:gd name="connsiteY12" fmla="*/ 0 h 915984"/>
              <a:gd name="connsiteX13" fmla="*/ 9149171 w 9149171"/>
              <a:gd name="connsiteY13" fmla="*/ 0 h 915984"/>
              <a:gd name="connsiteX14" fmla="*/ 9149171 w 9149171"/>
              <a:gd name="connsiteY14" fmla="*/ 439672 h 915984"/>
              <a:gd name="connsiteX15" fmla="*/ 9149171 w 9149171"/>
              <a:gd name="connsiteY15" fmla="*/ 915984 h 915984"/>
              <a:gd name="connsiteX16" fmla="*/ 8312675 w 9149171"/>
              <a:gd name="connsiteY16" fmla="*/ 915984 h 915984"/>
              <a:gd name="connsiteX17" fmla="*/ 7567671 w 9149171"/>
              <a:gd name="connsiteY17" fmla="*/ 915984 h 915984"/>
              <a:gd name="connsiteX18" fmla="*/ 7005651 w 9149171"/>
              <a:gd name="connsiteY18" fmla="*/ 915984 h 915984"/>
              <a:gd name="connsiteX19" fmla="*/ 6626614 w 9149171"/>
              <a:gd name="connsiteY19" fmla="*/ 915984 h 915984"/>
              <a:gd name="connsiteX20" fmla="*/ 5881610 w 9149171"/>
              <a:gd name="connsiteY20" fmla="*/ 915984 h 915984"/>
              <a:gd name="connsiteX21" fmla="*/ 5045114 w 9149171"/>
              <a:gd name="connsiteY21" fmla="*/ 915984 h 915984"/>
              <a:gd name="connsiteX22" fmla="*/ 4483094 w 9149171"/>
              <a:gd name="connsiteY22" fmla="*/ 915984 h 915984"/>
              <a:gd name="connsiteX23" fmla="*/ 3738090 w 9149171"/>
              <a:gd name="connsiteY23" fmla="*/ 915984 h 915984"/>
              <a:gd name="connsiteX24" fmla="*/ 3359053 w 9149171"/>
              <a:gd name="connsiteY24" fmla="*/ 915984 h 915984"/>
              <a:gd name="connsiteX25" fmla="*/ 2614049 w 9149171"/>
              <a:gd name="connsiteY25" fmla="*/ 915984 h 915984"/>
              <a:gd name="connsiteX26" fmla="*/ 1960537 w 9149171"/>
              <a:gd name="connsiteY26" fmla="*/ 915984 h 915984"/>
              <a:gd name="connsiteX27" fmla="*/ 1398516 w 9149171"/>
              <a:gd name="connsiteY27" fmla="*/ 915984 h 915984"/>
              <a:gd name="connsiteX28" fmla="*/ 927987 w 9149171"/>
              <a:gd name="connsiteY28" fmla="*/ 915984 h 915984"/>
              <a:gd name="connsiteX29" fmla="*/ 0 w 9149171"/>
              <a:gd name="connsiteY29" fmla="*/ 915984 h 915984"/>
              <a:gd name="connsiteX30" fmla="*/ 0 w 9149171"/>
              <a:gd name="connsiteY30" fmla="*/ 476312 h 915984"/>
              <a:gd name="connsiteX31" fmla="*/ 0 w 9149171"/>
              <a:gd name="connsiteY31" fmla="*/ 0 h 915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9171" h="915984" extrusionOk="0">
                <a:moveTo>
                  <a:pt x="0" y="0"/>
                </a:moveTo>
                <a:cubicBezTo>
                  <a:pt x="340229" y="-20309"/>
                  <a:pt x="574244" y="19432"/>
                  <a:pt x="836496" y="0"/>
                </a:cubicBezTo>
                <a:cubicBezTo>
                  <a:pt x="1098748" y="-19432"/>
                  <a:pt x="1290717" y="-25470"/>
                  <a:pt x="1581500" y="0"/>
                </a:cubicBezTo>
                <a:cubicBezTo>
                  <a:pt x="1872283" y="25470"/>
                  <a:pt x="2032902" y="-10466"/>
                  <a:pt x="2235012" y="0"/>
                </a:cubicBezTo>
                <a:cubicBezTo>
                  <a:pt x="2437122" y="10466"/>
                  <a:pt x="2608503" y="20060"/>
                  <a:pt x="2797032" y="0"/>
                </a:cubicBezTo>
                <a:cubicBezTo>
                  <a:pt x="2985561" y="-20060"/>
                  <a:pt x="3346235" y="37069"/>
                  <a:pt x="3542036" y="0"/>
                </a:cubicBezTo>
                <a:cubicBezTo>
                  <a:pt x="3737837" y="-37069"/>
                  <a:pt x="3881947" y="-14285"/>
                  <a:pt x="4012565" y="0"/>
                </a:cubicBezTo>
                <a:cubicBezTo>
                  <a:pt x="4143183" y="14285"/>
                  <a:pt x="4400266" y="10630"/>
                  <a:pt x="4757569" y="0"/>
                </a:cubicBezTo>
                <a:cubicBezTo>
                  <a:pt x="5114872" y="-10630"/>
                  <a:pt x="5069141" y="2312"/>
                  <a:pt x="5228098" y="0"/>
                </a:cubicBezTo>
                <a:cubicBezTo>
                  <a:pt x="5387055" y="-2312"/>
                  <a:pt x="5464796" y="-5985"/>
                  <a:pt x="5698627" y="0"/>
                </a:cubicBezTo>
                <a:cubicBezTo>
                  <a:pt x="5932458" y="5985"/>
                  <a:pt x="6168688" y="-21201"/>
                  <a:pt x="6535122" y="0"/>
                </a:cubicBezTo>
                <a:cubicBezTo>
                  <a:pt x="6901557" y="21201"/>
                  <a:pt x="7048274" y="2489"/>
                  <a:pt x="7188634" y="0"/>
                </a:cubicBezTo>
                <a:cubicBezTo>
                  <a:pt x="7328994" y="-2489"/>
                  <a:pt x="7681279" y="40002"/>
                  <a:pt x="8025130" y="0"/>
                </a:cubicBezTo>
                <a:cubicBezTo>
                  <a:pt x="8368981" y="-40002"/>
                  <a:pt x="8647101" y="23429"/>
                  <a:pt x="9149171" y="0"/>
                </a:cubicBezTo>
                <a:cubicBezTo>
                  <a:pt x="9130240" y="154337"/>
                  <a:pt x="9162678" y="347072"/>
                  <a:pt x="9149171" y="439672"/>
                </a:cubicBezTo>
                <a:cubicBezTo>
                  <a:pt x="9135664" y="532272"/>
                  <a:pt x="9133755" y="813372"/>
                  <a:pt x="9149171" y="915984"/>
                </a:cubicBezTo>
                <a:cubicBezTo>
                  <a:pt x="8860588" y="954611"/>
                  <a:pt x="8726443" y="927647"/>
                  <a:pt x="8312675" y="915984"/>
                </a:cubicBezTo>
                <a:cubicBezTo>
                  <a:pt x="7898907" y="904321"/>
                  <a:pt x="7850053" y="935230"/>
                  <a:pt x="7567671" y="915984"/>
                </a:cubicBezTo>
                <a:cubicBezTo>
                  <a:pt x="7285289" y="896738"/>
                  <a:pt x="7150105" y="935493"/>
                  <a:pt x="7005651" y="915984"/>
                </a:cubicBezTo>
                <a:cubicBezTo>
                  <a:pt x="6861197" y="896475"/>
                  <a:pt x="6751854" y="924914"/>
                  <a:pt x="6626614" y="915984"/>
                </a:cubicBezTo>
                <a:cubicBezTo>
                  <a:pt x="6501374" y="907054"/>
                  <a:pt x="6104996" y="936783"/>
                  <a:pt x="5881610" y="915984"/>
                </a:cubicBezTo>
                <a:cubicBezTo>
                  <a:pt x="5658224" y="895185"/>
                  <a:pt x="5277778" y="917696"/>
                  <a:pt x="5045114" y="915984"/>
                </a:cubicBezTo>
                <a:cubicBezTo>
                  <a:pt x="4812450" y="914272"/>
                  <a:pt x="4686163" y="898077"/>
                  <a:pt x="4483094" y="915984"/>
                </a:cubicBezTo>
                <a:cubicBezTo>
                  <a:pt x="4280025" y="933891"/>
                  <a:pt x="4022605" y="948352"/>
                  <a:pt x="3738090" y="915984"/>
                </a:cubicBezTo>
                <a:cubicBezTo>
                  <a:pt x="3453575" y="883616"/>
                  <a:pt x="3450598" y="931735"/>
                  <a:pt x="3359053" y="915984"/>
                </a:cubicBezTo>
                <a:cubicBezTo>
                  <a:pt x="3267508" y="900233"/>
                  <a:pt x="2878757" y="931196"/>
                  <a:pt x="2614049" y="915984"/>
                </a:cubicBezTo>
                <a:cubicBezTo>
                  <a:pt x="2349341" y="900772"/>
                  <a:pt x="2225555" y="910211"/>
                  <a:pt x="1960537" y="915984"/>
                </a:cubicBezTo>
                <a:cubicBezTo>
                  <a:pt x="1695519" y="921757"/>
                  <a:pt x="1571593" y="906102"/>
                  <a:pt x="1398516" y="915984"/>
                </a:cubicBezTo>
                <a:cubicBezTo>
                  <a:pt x="1225439" y="925866"/>
                  <a:pt x="1024700" y="899881"/>
                  <a:pt x="927987" y="915984"/>
                </a:cubicBezTo>
                <a:cubicBezTo>
                  <a:pt x="831274" y="932087"/>
                  <a:pt x="209584" y="870400"/>
                  <a:pt x="0" y="915984"/>
                </a:cubicBezTo>
                <a:cubicBezTo>
                  <a:pt x="-11625" y="723549"/>
                  <a:pt x="-19283" y="584633"/>
                  <a:pt x="0" y="476312"/>
                </a:cubicBezTo>
                <a:cubicBezTo>
                  <a:pt x="19283" y="367991"/>
                  <a:pt x="-19169" y="135067"/>
                  <a:pt x="0" y="0"/>
                </a:cubicBezTo>
                <a:close/>
              </a:path>
            </a:pathLst>
          </a:custGeom>
          <a:noFill/>
          <a:ln w="28575">
            <a:solidFill>
              <a:schemeClr val="accent4"/>
            </a:solidFill>
            <a:extLst>
              <a:ext uri="{C807C97D-BFC1-408E-A445-0C87EB9F89A2}">
                <ask:lineSketchStyleProps xmlns:ask="http://schemas.microsoft.com/office/drawing/2018/sketchyshapes" sd="1077043750">
                  <a:prstGeom prst="rect">
                    <a:avLst/>
                  </a:prstGeom>
                  <ask:type>
                    <ask:lineSketchFreehand/>
                  </ask:type>
                </ask:lineSketchStyleProps>
              </a:ext>
            </a:extLst>
          </a:ln>
        </p:spPr>
        <p:style>
          <a:lnRef idx="2">
            <a:schemeClr val="accent5"/>
          </a:lnRef>
          <a:fillRef idx="1">
            <a:schemeClr val="lt1"/>
          </a:fillRef>
          <a:effectRef idx="0">
            <a:schemeClr val="accent5"/>
          </a:effectRef>
          <a:fontRef idx="minor">
            <a:schemeClr val="dk1"/>
          </a:fontRef>
        </p:style>
        <p:txBody>
          <a:bodyPr wrap="square" lIns="0" tIns="0" rIns="0" bIns="0" rtlCol="0" anchor="ctr">
            <a:noAutofit/>
          </a:bodyPr>
          <a:lstStyle/>
          <a:p>
            <a:pPr algn="ctr"/>
            <a:r>
              <a:rPr lang="da-DK" sz="1600" b="1" dirty="0">
                <a:effectLst/>
                <a:latin typeface="Quicksand" panose="020B0604020202020204"/>
                <a:ea typeface="Calibri" panose="020F0502020204030204" pitchFamily="34" charset="0"/>
                <a:cs typeface="Segoe UI" panose="020B0502040204020203" pitchFamily="34" charset="0"/>
              </a:rPr>
              <a:t>Aktionslæringsforløb skaber nye refleksioner i teamene og</a:t>
            </a:r>
            <a:br>
              <a:rPr lang="da-DK" sz="1600" b="1" dirty="0">
                <a:effectLst/>
                <a:latin typeface="Quicksand" panose="020B0604020202020204"/>
                <a:ea typeface="Calibri" panose="020F0502020204030204" pitchFamily="34" charset="0"/>
                <a:cs typeface="Segoe UI" panose="020B0502040204020203" pitchFamily="34" charset="0"/>
              </a:rPr>
            </a:br>
            <a:r>
              <a:rPr lang="da-DK" sz="1600" b="1" dirty="0">
                <a:effectLst/>
                <a:latin typeface="Quicksand" panose="020B0604020202020204"/>
                <a:ea typeface="Calibri" panose="020F0502020204030204" pitchFamily="34" charset="0"/>
                <a:cs typeface="Segoe UI" panose="020B0502040204020203" pitchFamily="34" charset="0"/>
              </a:rPr>
              <a:t>øger motivationen for at åbne op om egen praksis</a:t>
            </a:r>
            <a:endParaRPr lang="da-DK" sz="1600" b="1" dirty="0">
              <a:solidFill>
                <a:schemeClr val="tx1"/>
              </a:solidFill>
              <a:latin typeface="Quicksand" panose="020B0604020202020204"/>
              <a:cs typeface="Amatic SC" panose="00000500000000000000" pitchFamily="2" charset="-79"/>
            </a:endParaRPr>
          </a:p>
        </p:txBody>
      </p:sp>
      <p:sp>
        <p:nvSpPr>
          <p:cNvPr id="6" name="TextBox 5">
            <a:extLst>
              <a:ext uri="{FF2B5EF4-FFF2-40B4-BE49-F238E27FC236}">
                <a16:creationId xmlns:a16="http://schemas.microsoft.com/office/drawing/2014/main" id="{C4B72330-DEE8-6E55-DD95-5017A3C57894}"/>
              </a:ext>
            </a:extLst>
          </p:cNvPr>
          <p:cNvSpPr txBox="1"/>
          <p:nvPr/>
        </p:nvSpPr>
        <p:spPr>
          <a:xfrm>
            <a:off x="1332395" y="2825618"/>
            <a:ext cx="878306" cy="369332"/>
          </a:xfrm>
          <a:prstGeom prst="rect">
            <a:avLst/>
          </a:prstGeom>
          <a:noFill/>
        </p:spPr>
        <p:txBody>
          <a:bodyPr wrap="square" lIns="0" tIns="0" rIns="0" bIns="0" rtlCol="0">
            <a:spAutoFit/>
          </a:bodyPr>
          <a:lstStyle/>
          <a:p>
            <a:pPr algn="ctr"/>
            <a:r>
              <a:rPr lang="da-DK" sz="2400" b="1" dirty="0">
                <a:latin typeface="Quicksand" panose="020B0604020202020204"/>
                <a:cs typeface="Amatic SC" panose="00000500000000000000" pitchFamily="2" charset="-79"/>
              </a:rPr>
              <a:t>1</a:t>
            </a:r>
            <a:endParaRPr lang="da-DK" sz="2000" b="1" dirty="0">
              <a:latin typeface="Quicksand" panose="020B0604020202020204"/>
              <a:cs typeface="Amatic SC" panose="00000500000000000000" pitchFamily="2" charset="-79"/>
            </a:endParaRPr>
          </a:p>
        </p:txBody>
      </p:sp>
      <p:sp>
        <p:nvSpPr>
          <p:cNvPr id="8" name="TextBox 2">
            <a:extLst>
              <a:ext uri="{FF2B5EF4-FFF2-40B4-BE49-F238E27FC236}">
                <a16:creationId xmlns:a16="http://schemas.microsoft.com/office/drawing/2014/main" id="{89D660B6-C16C-C855-355C-6D6DC4FC277E}"/>
              </a:ext>
            </a:extLst>
          </p:cNvPr>
          <p:cNvSpPr txBox="1"/>
          <p:nvPr/>
        </p:nvSpPr>
        <p:spPr>
          <a:xfrm>
            <a:off x="1414325" y="1616029"/>
            <a:ext cx="9149171" cy="553998"/>
          </a:xfrm>
          <a:prstGeom prst="rect">
            <a:avLst/>
          </a:prstGeom>
          <a:noFill/>
        </p:spPr>
        <p:txBody>
          <a:bodyPr wrap="square">
            <a:spAutoFit/>
          </a:bodyPr>
          <a:lstStyle/>
          <a:p>
            <a:pPr lvl="0" algn="ctr">
              <a:spcBef>
                <a:spcPts val="0"/>
              </a:spcBef>
              <a:spcAft>
                <a:spcPts val="0"/>
              </a:spcAft>
            </a:pPr>
            <a:r>
              <a:rPr lang="da-DK" sz="3000" b="1" dirty="0">
                <a:latin typeface="Amatic SC"/>
                <a:cs typeface="Amatic SC"/>
                <a:sym typeface="Quicksand"/>
              </a:rPr>
              <a:t>Evalueringen viser, at:</a:t>
            </a:r>
            <a:endParaRPr lang="da-DK" sz="3000" b="1" dirty="0">
              <a:latin typeface="Quicksand"/>
              <a:ea typeface="Quicksand"/>
              <a:cs typeface="Quicksand"/>
              <a:sym typeface="Quicksand"/>
            </a:endParaRPr>
          </a:p>
        </p:txBody>
      </p:sp>
    </p:spTree>
    <p:extLst>
      <p:ext uri="{BB962C8B-B14F-4D97-AF65-F5344CB8AC3E}">
        <p14:creationId xmlns:p14="http://schemas.microsoft.com/office/powerpoint/2010/main" val="12606037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9CA9FF-A7C4-BBBA-B976-CEC71C9FD6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Object 2" hidden="1">
                        <a:extLst>
                          <a:ext uri="{FF2B5EF4-FFF2-40B4-BE49-F238E27FC236}">
                            <a16:creationId xmlns:a16="http://schemas.microsoft.com/office/drawing/2014/main" id="{939CA9FF-A7C4-BBBA-B976-CEC71C9FD6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6837AFC8-649E-E213-A63F-4A4D4D0758C6}"/>
              </a:ext>
            </a:extLst>
          </p:cNvPr>
          <p:cNvSpPr txBox="1"/>
          <p:nvPr/>
        </p:nvSpPr>
        <p:spPr>
          <a:xfrm>
            <a:off x="3370217" y="2731229"/>
            <a:ext cx="6514012" cy="2523768"/>
          </a:xfrm>
          <a:prstGeom prst="rect">
            <a:avLst/>
          </a:prstGeom>
          <a:noFill/>
        </p:spPr>
        <p:txBody>
          <a:bodyPr wrap="square" lIns="0" tIns="0" rIns="0" bIns="0" rtlCol="0">
            <a:spAutoFit/>
          </a:bodyPr>
          <a:lstStyle/>
          <a:p>
            <a:r>
              <a:rPr lang="da-DK" sz="2400" b="1" dirty="0">
                <a:solidFill>
                  <a:schemeClr val="accent4"/>
                </a:solidFill>
                <a:latin typeface="Quicksand" panose="020B0604020202020204"/>
                <a:cs typeface="Amatic SC" panose="00000500000000000000" pitchFamily="2" charset="-79"/>
              </a:rPr>
              <a:t>Arbejdet i det reflekterende team gør, at vores samtaler om børnene bliver mere professionelle. Det bliver legitimt at gå op i børnenes faglige og sociale udvikling, og vi bliver tvunget til at </a:t>
            </a:r>
            <a:br>
              <a:rPr lang="da-DK" sz="2400" b="1" dirty="0">
                <a:solidFill>
                  <a:schemeClr val="accent4"/>
                </a:solidFill>
                <a:latin typeface="Quicksand" panose="020B0604020202020204"/>
                <a:cs typeface="Amatic SC" panose="00000500000000000000" pitchFamily="2" charset="-79"/>
              </a:rPr>
            </a:br>
            <a:r>
              <a:rPr lang="da-DK" sz="2400" b="1" dirty="0">
                <a:solidFill>
                  <a:schemeClr val="accent4"/>
                </a:solidFill>
                <a:latin typeface="Quicksand" panose="020B0604020202020204"/>
                <a:cs typeface="Amatic SC" panose="00000500000000000000" pitchFamily="2" charset="-79"/>
              </a:rPr>
              <a:t>forholde os til det i den her ramme. </a:t>
            </a:r>
            <a:br>
              <a:rPr lang="da-DK" sz="2400" dirty="0">
                <a:solidFill>
                  <a:schemeClr val="accent4"/>
                </a:solidFill>
                <a:latin typeface="Quicksand" panose="020B0604020202020204"/>
                <a:cs typeface="Amatic SC" panose="00000500000000000000" pitchFamily="2" charset="-79"/>
              </a:rPr>
            </a:br>
            <a:endParaRPr lang="da-DK" sz="2400" b="1" dirty="0">
              <a:solidFill>
                <a:schemeClr val="accent4"/>
              </a:solidFill>
              <a:latin typeface="Quicksand" panose="020B0604020202020204" charset="0"/>
              <a:cs typeface="Quicksand" panose="020B0604020202020204" charset="0"/>
            </a:endParaRPr>
          </a:p>
          <a:p>
            <a:r>
              <a:rPr lang="da-DK" sz="2000" i="1" dirty="0">
                <a:solidFill>
                  <a:schemeClr val="accent4"/>
                </a:solidFill>
                <a:latin typeface="Quicksand" panose="020B0604020202020204" charset="0"/>
                <a:cs typeface="Quicksand" panose="020B0604020202020204" charset="0"/>
              </a:rPr>
              <a:t>Pædagogisk personale</a:t>
            </a:r>
          </a:p>
        </p:txBody>
      </p:sp>
      <p:pic>
        <p:nvPicPr>
          <p:cNvPr id="4" name="Graphic 3" descr="Open quotation mark with solid fill">
            <a:extLst>
              <a:ext uri="{FF2B5EF4-FFF2-40B4-BE49-F238E27FC236}">
                <a16:creationId xmlns:a16="http://schemas.microsoft.com/office/drawing/2014/main" id="{A9D03C7A-067A-F731-C9CE-914E8B9493B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072519" y="1472656"/>
            <a:ext cx="1255221" cy="1255221"/>
          </a:xfrm>
          <a:prstGeom prst="rect">
            <a:avLst/>
          </a:prstGeom>
        </p:spPr>
      </p:pic>
    </p:spTree>
    <p:extLst>
      <p:ext uri="{BB962C8B-B14F-4D97-AF65-F5344CB8AC3E}">
        <p14:creationId xmlns:p14="http://schemas.microsoft.com/office/powerpoint/2010/main" val="42393643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Google Shape;846;p29">
            <a:extLst>
              <a:ext uri="{FF2B5EF4-FFF2-40B4-BE49-F238E27FC236}">
                <a16:creationId xmlns:a16="http://schemas.microsoft.com/office/drawing/2014/main" id="{50228FE9-2C29-4994-F9DB-F65B9358102D}"/>
              </a:ext>
            </a:extLst>
          </p:cNvPr>
          <p:cNvSpPr/>
          <p:nvPr/>
        </p:nvSpPr>
        <p:spPr>
          <a:xfrm>
            <a:off x="-1" y="357016"/>
            <a:ext cx="893853" cy="1009965"/>
          </a:xfrm>
          <a:prstGeom prst="homePlate">
            <a:avLst>
              <a:gd name="adj" fmla="val 50000"/>
            </a:avLst>
          </a:prstGeom>
          <a:solidFill>
            <a:schemeClr val="accent4"/>
          </a:solidFill>
          <a:ln>
            <a:noFill/>
          </a:ln>
        </p:spPr>
        <p:txBody>
          <a:bodyPr spcFirstLastPara="1" wrap="square" lIns="396000"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12" name="Google Shape;843;p29">
            <a:extLst>
              <a:ext uri="{FF2B5EF4-FFF2-40B4-BE49-F238E27FC236}">
                <a16:creationId xmlns:a16="http://schemas.microsoft.com/office/drawing/2014/main" id="{017D1C16-919E-15D6-36C3-28DA1B401F7F}"/>
              </a:ext>
            </a:extLst>
          </p:cNvPr>
          <p:cNvSpPr/>
          <p:nvPr/>
        </p:nvSpPr>
        <p:spPr>
          <a:xfrm>
            <a:off x="0" y="357017"/>
            <a:ext cx="12192000" cy="1019120"/>
          </a:xfrm>
          <a:prstGeom prst="chevron">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ctr">
              <a:spcBef>
                <a:spcPts val="0"/>
              </a:spcBef>
              <a:spcAft>
                <a:spcPts val="0"/>
              </a:spcAft>
              <a:buNone/>
            </a:pPr>
            <a:r>
              <a:rPr lang="da-DK" sz="3200" b="1" dirty="0">
                <a:solidFill>
                  <a:schemeClr val="bg1"/>
                </a:solidFill>
                <a:latin typeface="Amatic SC"/>
                <a:ea typeface="Amatic SC"/>
                <a:cs typeface="Amatic SC"/>
                <a:sym typeface="Amatic SC"/>
              </a:rPr>
              <a:t>Aktionslæringsforløb skaber nye refleksioner i teamene og </a:t>
            </a:r>
            <a:br>
              <a:rPr lang="da-DK" sz="3200" b="1" dirty="0">
                <a:solidFill>
                  <a:schemeClr val="bg1"/>
                </a:solidFill>
                <a:latin typeface="Amatic SC"/>
                <a:ea typeface="Amatic SC"/>
                <a:cs typeface="Amatic SC"/>
                <a:sym typeface="Amatic SC"/>
              </a:rPr>
            </a:br>
            <a:r>
              <a:rPr lang="da-DK" sz="3200" b="1" dirty="0">
                <a:solidFill>
                  <a:schemeClr val="bg1"/>
                </a:solidFill>
                <a:latin typeface="Amatic SC"/>
                <a:ea typeface="Amatic SC"/>
                <a:cs typeface="Amatic SC"/>
                <a:sym typeface="Amatic SC"/>
              </a:rPr>
              <a:t>øger motivationen for at åbne op om egen praksis</a:t>
            </a:r>
          </a:p>
        </p:txBody>
      </p:sp>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18</a:t>
            </a:fld>
            <a:endParaRPr lang="da-DK"/>
          </a:p>
        </p:txBody>
      </p:sp>
      <p:sp>
        <p:nvSpPr>
          <p:cNvPr id="2" name="Slide Number Placeholder 3">
            <a:extLst>
              <a:ext uri="{FF2B5EF4-FFF2-40B4-BE49-F238E27FC236}">
                <a16:creationId xmlns:a16="http://schemas.microsoft.com/office/drawing/2014/main" id="{ED641A61-E366-695E-1407-D39F7C4A0DF4}"/>
              </a:ext>
            </a:extLst>
          </p:cNvPr>
          <p:cNvSpPr txBox="1">
            <a:spLocks/>
          </p:cNvSpPr>
          <p:nvPr/>
        </p:nvSpPr>
        <p:spPr>
          <a:xfrm>
            <a:off x="11206800" y="5242183"/>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4" name="Google Shape;847;p29">
            <a:extLst>
              <a:ext uri="{FF2B5EF4-FFF2-40B4-BE49-F238E27FC236}">
                <a16:creationId xmlns:a16="http://schemas.microsoft.com/office/drawing/2014/main" id="{DE10ED59-7590-9F3C-1E67-C22B931F997B}"/>
              </a:ext>
            </a:extLst>
          </p:cNvPr>
          <p:cNvSpPr txBox="1"/>
          <p:nvPr/>
        </p:nvSpPr>
        <p:spPr>
          <a:xfrm>
            <a:off x="932400" y="2296800"/>
            <a:ext cx="5065907" cy="3626799"/>
          </a:xfrm>
          <a:prstGeom prst="rect">
            <a:avLst/>
          </a:prstGeom>
          <a:noFill/>
          <a:ln>
            <a:noFill/>
          </a:ln>
        </p:spPr>
        <p:txBody>
          <a:bodyPr spcFirstLastPara="1" wrap="square" lIns="0" tIns="0" rIns="0" bIns="0" anchor="t" anchorCtr="0">
            <a:noAutofit/>
          </a:bodyPr>
          <a:lstStyle/>
          <a:p>
            <a:pPr marL="0" lvl="1"/>
            <a:r>
              <a:rPr lang="da-DK" sz="1600" dirty="0">
                <a:latin typeface="Quicksand" panose="020B0604020202020204"/>
                <a:cs typeface="Amatic SC" panose="00000500000000000000" pitchFamily="2" charset="-79"/>
              </a:rPr>
              <a:t>Aktionslæringsforløb har </a:t>
            </a:r>
            <a:r>
              <a:rPr lang="da-DK" sz="1600" b="1" dirty="0">
                <a:latin typeface="Quicksand" panose="020B0604020202020204"/>
                <a:cs typeface="Amatic SC" panose="00000500000000000000" pitchFamily="2" charset="-79"/>
              </a:rPr>
              <a:t>skabt nye fælles refleksioner</a:t>
            </a:r>
            <a:r>
              <a:rPr lang="da-DK" sz="1600" dirty="0">
                <a:latin typeface="Quicksand" panose="020B0604020202020204"/>
                <a:cs typeface="Amatic SC" panose="00000500000000000000" pitchFamily="2" charset="-79"/>
              </a:rPr>
              <a:t> over begreber som børnefællesskaber, deltagelsesmuligheder og variation i undervisningen.</a:t>
            </a:r>
            <a:br>
              <a:rPr lang="da-DK" sz="1600" dirty="0">
                <a:latin typeface="Quicksand" panose="020B0604020202020204"/>
                <a:cs typeface="Amatic SC" panose="00000500000000000000" pitchFamily="2" charset="-79"/>
              </a:rPr>
            </a:br>
            <a:endParaRPr lang="da-DK" sz="1600" dirty="0">
              <a:latin typeface="Quicksand" panose="020B0604020202020204"/>
              <a:ea typeface="Quicksand" panose="020B0604020202020204"/>
              <a:cs typeface="Quicksand" panose="020B0604020202020204"/>
              <a:sym typeface="Quicksand"/>
            </a:endParaRPr>
          </a:p>
          <a:p>
            <a:pPr marL="0" lvl="1"/>
            <a:r>
              <a:rPr lang="da-DK" sz="1600" dirty="0">
                <a:latin typeface="Quicksand" panose="020B0604020202020204"/>
                <a:ea typeface="Quicksand" panose="020B0604020202020204"/>
                <a:cs typeface="Quicksand" panose="020B0604020202020204"/>
                <a:sym typeface="Quicksand"/>
              </a:rPr>
              <a:t>Pædagogisk personale oplever at være </a:t>
            </a:r>
            <a:r>
              <a:rPr lang="da-DK" sz="1600" b="1" dirty="0">
                <a:latin typeface="Quicksand" panose="020B0604020202020204"/>
                <a:ea typeface="Quicksand" panose="020B0604020202020204"/>
                <a:cs typeface="Quicksand" panose="020B0604020202020204"/>
                <a:sym typeface="Quicksand"/>
              </a:rPr>
              <a:t>mere fælles om praksis</a:t>
            </a:r>
            <a:r>
              <a:rPr lang="da-DK" sz="1600" dirty="0">
                <a:latin typeface="Quicksand" panose="020B0604020202020204"/>
                <a:ea typeface="Quicksand" panose="020B0604020202020204"/>
                <a:cs typeface="Quicksand" panose="020B0604020202020204"/>
                <a:sym typeface="Quicksand"/>
              </a:rPr>
              <a:t> som følge af aktionslæringsforløb. </a:t>
            </a:r>
            <a:br>
              <a:rPr lang="da-DK" sz="1600" dirty="0">
                <a:latin typeface="Quicksand" panose="020B0604020202020204"/>
                <a:ea typeface="Quicksand" panose="020B0604020202020204"/>
                <a:cs typeface="Quicksand" panose="020B0604020202020204"/>
                <a:sym typeface="Quicksand"/>
              </a:rPr>
            </a:br>
            <a:endParaRPr lang="da-DK" sz="1600" dirty="0">
              <a:latin typeface="Quicksand" panose="020B0604020202020204"/>
              <a:ea typeface="Quicksand" panose="020B0604020202020204"/>
              <a:cs typeface="Quicksand" panose="020B0604020202020204"/>
              <a:sym typeface="Quicksand"/>
            </a:endParaRPr>
          </a:p>
          <a:p>
            <a:pPr marL="0" lvl="1"/>
            <a:r>
              <a:rPr lang="da-DK" sz="1600" b="1" dirty="0">
                <a:latin typeface="Quicksand" panose="020B0604020202020204" charset="0"/>
                <a:ea typeface="Quicksand"/>
                <a:cs typeface="Quicksand" panose="020B0604020202020204" charset="0"/>
                <a:sym typeface="Quicksand"/>
              </a:rPr>
              <a:t>Viden fra aktionslæringsforløb sjældent spredes </a:t>
            </a:r>
            <a:r>
              <a:rPr lang="da-DK" sz="1600" dirty="0">
                <a:latin typeface="Quicksand" panose="020B0604020202020204" charset="0"/>
                <a:ea typeface="Quicksand"/>
                <a:cs typeface="Quicksand" panose="020B0604020202020204" charset="0"/>
                <a:sym typeface="Quicksand"/>
              </a:rPr>
              <a:t>organisk på tværs af pædagogisk personale på hele skolen.</a:t>
            </a:r>
            <a:br>
              <a:rPr lang="da-DK" dirty="0">
                <a:latin typeface="Quicksand" panose="020B0604020202020204"/>
                <a:ea typeface="Quicksand" panose="020B0604020202020204"/>
                <a:cs typeface="Quicksand" panose="020B0604020202020204"/>
                <a:sym typeface="Quicksand"/>
              </a:rPr>
            </a:br>
            <a:br>
              <a:rPr lang="da-DK" dirty="0">
                <a:latin typeface="Quicksand" panose="020B0604020202020204"/>
                <a:ea typeface="Verdana" panose="020B0604030504040204" pitchFamily="34" charset="0"/>
                <a:cs typeface="Amatic SC" panose="00000500000000000000" pitchFamily="2" charset="-79"/>
              </a:rPr>
            </a:br>
            <a:endParaRPr lang="da-DK" dirty="0">
              <a:latin typeface="Quicksand" panose="020B0604020202020204"/>
              <a:ea typeface="Verdana" panose="020B0604030504040204" pitchFamily="34" charset="0"/>
              <a:cs typeface="Amatic SC" panose="00000500000000000000" pitchFamily="2" charset="-79"/>
            </a:endParaRPr>
          </a:p>
          <a:p>
            <a:pPr marL="0" lvl="1"/>
            <a:endParaRPr lang="da-DK" b="1" dirty="0">
              <a:highlight>
                <a:srgbClr val="FFFF00"/>
              </a:highlight>
              <a:latin typeface="Quicksand" panose="020B0604020202020204"/>
              <a:ea typeface="Quicksand" panose="020B0604020202020204"/>
              <a:cs typeface="Quicksand" panose="020B0604020202020204"/>
              <a:sym typeface="Quicksand"/>
            </a:endParaRPr>
          </a:p>
          <a:p>
            <a:pPr lvl="0" algn="l">
              <a:spcBef>
                <a:spcPts val="0"/>
              </a:spcBef>
              <a:spcAft>
                <a:spcPts val="0"/>
              </a:spcAft>
            </a:pPr>
            <a:endParaRPr lang="da-DK" sz="1400" b="1" dirty="0">
              <a:latin typeface="Quicksand"/>
              <a:ea typeface="Quicksand"/>
              <a:cs typeface="Quicksand"/>
              <a:sym typeface="Quicksand"/>
            </a:endParaRPr>
          </a:p>
          <a:p>
            <a:pPr lvl="0" algn="l">
              <a:spcBef>
                <a:spcPts val="0"/>
              </a:spcBef>
              <a:spcAft>
                <a:spcPts val="0"/>
              </a:spcAft>
            </a:pPr>
            <a:endParaRPr lang="da-DK" sz="1400" dirty="0">
              <a:latin typeface="Quicksand"/>
              <a:ea typeface="Quicksand"/>
              <a:cs typeface="Quicksand"/>
              <a:sym typeface="Quicksand"/>
            </a:endParaRPr>
          </a:p>
          <a:p>
            <a:pPr lvl="0" algn="l">
              <a:spcBef>
                <a:spcPts val="0"/>
              </a:spcBef>
              <a:spcAft>
                <a:spcPts val="0"/>
              </a:spcAft>
            </a:pPr>
            <a:endParaRPr lang="da-DK" sz="1600" dirty="0">
              <a:latin typeface="Quicksand"/>
              <a:ea typeface="Quicksand"/>
              <a:cs typeface="Quicksand"/>
              <a:sym typeface="Quicksand"/>
            </a:endParaRPr>
          </a:p>
          <a:p>
            <a:pPr lvl="0" algn="l">
              <a:spcBef>
                <a:spcPts val="0"/>
              </a:spcBef>
              <a:spcAft>
                <a:spcPts val="0"/>
              </a:spcAft>
            </a:pPr>
            <a:endParaRPr lang="da-DK" sz="500" b="1" dirty="0">
              <a:latin typeface="Quicksand"/>
              <a:ea typeface="Quicksand"/>
              <a:cs typeface="Quicksand"/>
              <a:sym typeface="Quicksand"/>
            </a:endParaRPr>
          </a:p>
          <a:p>
            <a:pPr lvl="0" algn="l">
              <a:spcBef>
                <a:spcPts val="0"/>
              </a:spcBef>
              <a:spcAft>
                <a:spcPts val="0"/>
              </a:spcAft>
            </a:pPr>
            <a:endParaRPr lang="da-DK" sz="1600" b="1" dirty="0">
              <a:latin typeface="Quicksand"/>
              <a:ea typeface="Quicksand"/>
              <a:cs typeface="Quicksand"/>
              <a:sym typeface="Quicksand"/>
            </a:endParaRPr>
          </a:p>
        </p:txBody>
      </p:sp>
      <p:sp>
        <p:nvSpPr>
          <p:cNvPr id="15" name="Google Shape;843;p29">
            <a:extLst>
              <a:ext uri="{FF2B5EF4-FFF2-40B4-BE49-F238E27FC236}">
                <a16:creationId xmlns:a16="http://schemas.microsoft.com/office/drawing/2014/main" id="{485B8004-BD36-C2C3-1A99-7BEBEEF0A6E2}"/>
              </a:ext>
            </a:extLst>
          </p:cNvPr>
          <p:cNvSpPr/>
          <p:nvPr/>
        </p:nvSpPr>
        <p:spPr>
          <a:xfrm>
            <a:off x="11591636" y="347492"/>
            <a:ext cx="600363" cy="1019120"/>
          </a:xfrm>
          <a:prstGeom prst="rect">
            <a:avLst/>
          </a:prstGeom>
          <a:solidFill>
            <a:schemeClr val="accent4"/>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13" name="Rectangle 12">
            <a:extLst>
              <a:ext uri="{FF2B5EF4-FFF2-40B4-BE49-F238E27FC236}">
                <a16:creationId xmlns:a16="http://schemas.microsoft.com/office/drawing/2014/main" id="{1A56DDA6-B799-2B77-140E-088F41B7660E}"/>
              </a:ext>
            </a:extLst>
          </p:cNvPr>
          <p:cNvSpPr/>
          <p:nvPr/>
        </p:nvSpPr>
        <p:spPr>
          <a:xfrm>
            <a:off x="6525730" y="1724400"/>
            <a:ext cx="5065200" cy="4608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ctr"/>
            <a:r>
              <a:rPr lang="da-DK" sz="2000" b="1" dirty="0">
                <a:solidFill>
                  <a:schemeClr val="tx1"/>
                </a:solidFill>
                <a:latin typeface="Amatic SC" panose="00000500000000000000" pitchFamily="2" charset="-79"/>
                <a:cs typeface="Amatic SC" panose="00000500000000000000" pitchFamily="2" charset="-79"/>
              </a:rPr>
              <a:t> Fremadrettet kan det styrke praksis, at…</a:t>
            </a:r>
            <a:endParaRPr lang="da-DK" sz="2000" b="1" noProof="0" dirty="0">
              <a:solidFill>
                <a:schemeClr val="tx1"/>
              </a:solidFill>
              <a:latin typeface="Amatic SC" panose="00000500000000000000" pitchFamily="2" charset="-79"/>
              <a:cs typeface="Amatic SC" panose="00000500000000000000" pitchFamily="2" charset="-79"/>
            </a:endParaRPr>
          </a:p>
        </p:txBody>
      </p:sp>
      <p:sp>
        <p:nvSpPr>
          <p:cNvPr id="16" name="Rectangle 15">
            <a:extLst>
              <a:ext uri="{FF2B5EF4-FFF2-40B4-BE49-F238E27FC236}">
                <a16:creationId xmlns:a16="http://schemas.microsoft.com/office/drawing/2014/main" id="{9EE58732-76CD-434B-7FC8-7C8D4AB0AAA9}"/>
              </a:ext>
            </a:extLst>
          </p:cNvPr>
          <p:cNvSpPr/>
          <p:nvPr/>
        </p:nvSpPr>
        <p:spPr>
          <a:xfrm>
            <a:off x="6525730" y="2185200"/>
            <a:ext cx="5065906" cy="297862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08000" bIns="36000" rtlCol="0" anchor="t"/>
          <a:lstStyle/>
          <a:p>
            <a:pPr marL="216000"/>
            <a:endParaRPr lang="da-DK" sz="1400" dirty="0">
              <a:solidFill>
                <a:srgbClr val="273F68"/>
              </a:solidFill>
              <a:latin typeface="Quicksand" panose="020B0604020202020204"/>
            </a:endParaRPr>
          </a:p>
          <a:p>
            <a:pPr marL="216000"/>
            <a:r>
              <a:rPr lang="da-DK" sz="1400" dirty="0">
                <a:solidFill>
                  <a:srgbClr val="273F68"/>
                </a:solidFill>
                <a:latin typeface="Quicksand" panose="020B0604020202020204"/>
              </a:rPr>
              <a:t>… </a:t>
            </a:r>
            <a:r>
              <a:rPr lang="da-DK" sz="1400" b="1" dirty="0">
                <a:solidFill>
                  <a:srgbClr val="273F68"/>
                </a:solidFill>
                <a:latin typeface="Quicksand" panose="020B0604020202020204"/>
              </a:rPr>
              <a:t>sprede</a:t>
            </a:r>
            <a:r>
              <a:rPr lang="da-DK" sz="1400" dirty="0">
                <a:solidFill>
                  <a:srgbClr val="273F68"/>
                </a:solidFill>
                <a:latin typeface="Quicksand" panose="020B0604020202020204"/>
              </a:rPr>
              <a:t> </a:t>
            </a:r>
            <a:r>
              <a:rPr lang="da-DK" sz="1400" b="1" dirty="0">
                <a:solidFill>
                  <a:srgbClr val="273F68"/>
                </a:solidFill>
                <a:latin typeface="Quicksand" panose="020B0604020202020204"/>
              </a:rPr>
              <a:t>viden</a:t>
            </a:r>
            <a:r>
              <a:rPr lang="da-DK" sz="1400" dirty="0">
                <a:solidFill>
                  <a:srgbClr val="273F68"/>
                </a:solidFill>
                <a:latin typeface="Quicksand" panose="020B0604020202020204"/>
              </a:rPr>
              <a:t> </a:t>
            </a:r>
            <a:r>
              <a:rPr lang="da-DK" sz="1400" i="1" dirty="0">
                <a:solidFill>
                  <a:srgbClr val="273F68"/>
                </a:solidFill>
                <a:latin typeface="Quicksand" panose="020B0604020202020204"/>
              </a:rPr>
              <a:t>på tværs </a:t>
            </a:r>
            <a:r>
              <a:rPr lang="da-DK" sz="1400" dirty="0">
                <a:solidFill>
                  <a:srgbClr val="273F68"/>
                </a:solidFill>
                <a:latin typeface="Quicksand" panose="020B0604020202020204"/>
              </a:rPr>
              <a:t>af teamet, så alle har det samme udgangspunkt for at deltage i de reflekterende dialoger.</a:t>
            </a:r>
            <a:br>
              <a:rPr lang="da-DK" sz="1400" dirty="0">
                <a:solidFill>
                  <a:srgbClr val="273F68"/>
                </a:solidFill>
                <a:latin typeface="Quicksand" panose="020B0604020202020204"/>
              </a:rPr>
            </a:br>
            <a:endParaRPr lang="da-DK" sz="1400" dirty="0">
              <a:solidFill>
                <a:srgbClr val="273F68"/>
              </a:solidFill>
              <a:latin typeface="Quicksand" panose="020B0604020202020204"/>
            </a:endParaRPr>
          </a:p>
          <a:p>
            <a:pPr marL="216000"/>
            <a:r>
              <a:rPr lang="da-DK" sz="1400" dirty="0">
                <a:solidFill>
                  <a:srgbClr val="273F68"/>
                </a:solidFill>
                <a:latin typeface="Quicksand" panose="020B0604020202020204"/>
              </a:rPr>
              <a:t>… </a:t>
            </a:r>
            <a:r>
              <a:rPr lang="da-DK" sz="1400" b="1" dirty="0">
                <a:solidFill>
                  <a:srgbClr val="273F68"/>
                </a:solidFill>
                <a:latin typeface="Quicksand" panose="020B0604020202020204"/>
              </a:rPr>
              <a:t>sprede</a:t>
            </a:r>
            <a:r>
              <a:rPr lang="da-DK" sz="1400" dirty="0">
                <a:solidFill>
                  <a:srgbClr val="273F68"/>
                </a:solidFill>
                <a:latin typeface="Quicksand" panose="020B0604020202020204"/>
              </a:rPr>
              <a:t> </a:t>
            </a:r>
            <a:r>
              <a:rPr lang="da-DK" sz="1400" b="1" dirty="0">
                <a:solidFill>
                  <a:srgbClr val="273F68"/>
                </a:solidFill>
                <a:latin typeface="Quicksand" panose="020B0604020202020204"/>
              </a:rPr>
              <a:t>viden og inspiration</a:t>
            </a:r>
            <a:r>
              <a:rPr lang="da-DK" sz="1400" dirty="0">
                <a:solidFill>
                  <a:srgbClr val="273F68"/>
                </a:solidFill>
                <a:latin typeface="Quicksand" panose="020B0604020202020204"/>
              </a:rPr>
              <a:t> </a:t>
            </a:r>
            <a:r>
              <a:rPr lang="da-DK" sz="1400" i="1" dirty="0">
                <a:solidFill>
                  <a:srgbClr val="273F68"/>
                </a:solidFill>
                <a:latin typeface="Quicksand" panose="020B0604020202020204"/>
              </a:rPr>
              <a:t>uden for</a:t>
            </a:r>
            <a:r>
              <a:rPr lang="da-DK" sz="1400" dirty="0">
                <a:solidFill>
                  <a:srgbClr val="273F68"/>
                </a:solidFill>
                <a:latin typeface="Quicksand" panose="020B0604020202020204"/>
              </a:rPr>
              <a:t> teamet, så kolleger og vejledere har det samme udgangspunkt for at forstå teamets handlinger og beslutninger og kan bidrage kvalificeret til praksisudviklingen. Samtidig kan det inspirere til lignende handlinger på tværs af klasser og årgange.</a:t>
            </a:r>
          </a:p>
          <a:p>
            <a:pPr marL="216000"/>
            <a:endParaRPr lang="da-DK" sz="1400" dirty="0">
              <a:solidFill>
                <a:srgbClr val="273F68"/>
              </a:solidFill>
              <a:latin typeface="Quicksand" panose="020B0604020202020204"/>
            </a:endParaRPr>
          </a:p>
          <a:p>
            <a:pPr marL="216000"/>
            <a:r>
              <a:rPr lang="da-DK" sz="1400" dirty="0">
                <a:solidFill>
                  <a:schemeClr val="tx1"/>
                </a:solidFill>
                <a:latin typeface="Quicksand" panose="020B0604020202020204" charset="0"/>
              </a:rPr>
              <a:t>… </a:t>
            </a:r>
            <a:r>
              <a:rPr lang="da-DK" sz="1400" b="1" dirty="0">
                <a:solidFill>
                  <a:schemeClr val="tx1"/>
                </a:solidFill>
                <a:latin typeface="Quicksand" panose="020B0604020202020204" charset="0"/>
              </a:rPr>
              <a:t>inddrage</a:t>
            </a:r>
            <a:r>
              <a:rPr lang="da-DK" sz="1400" b="1" noProof="0" dirty="0">
                <a:solidFill>
                  <a:schemeClr val="tx1"/>
                </a:solidFill>
                <a:latin typeface="Quicksand" panose="020B0604020202020204" charset="0"/>
              </a:rPr>
              <a:t> kolleger </a:t>
            </a:r>
            <a:r>
              <a:rPr lang="da-DK" sz="1400" noProof="0" dirty="0">
                <a:solidFill>
                  <a:schemeClr val="tx1"/>
                </a:solidFill>
                <a:latin typeface="Quicksand" panose="020B0604020202020204" charset="0"/>
              </a:rPr>
              <a:t>uden for eget team i</a:t>
            </a:r>
            <a:r>
              <a:rPr lang="da-DK" sz="1400" dirty="0">
                <a:solidFill>
                  <a:schemeClr val="tx1"/>
                </a:solidFill>
                <a:latin typeface="Quicksand" panose="020B0604020202020204" charset="0"/>
              </a:rPr>
              <a:t> de reflekterende samtaler for at få nye perspektiver på udfordringer og løsninger.</a:t>
            </a:r>
            <a:br>
              <a:rPr lang="da-DK" sz="1400" dirty="0">
                <a:solidFill>
                  <a:schemeClr val="tx1"/>
                </a:solidFill>
                <a:latin typeface="Quicksand" panose="020B0604020202020204"/>
              </a:rPr>
            </a:br>
            <a:endParaRPr lang="da-DK" sz="1400" dirty="0">
              <a:solidFill>
                <a:schemeClr val="tx1"/>
              </a:solidFill>
              <a:latin typeface="Quicksand" panose="020B0604020202020204"/>
            </a:endParaRPr>
          </a:p>
          <a:p>
            <a:pPr marL="216000"/>
            <a:endParaRPr lang="da-DK" sz="1400" dirty="0">
              <a:solidFill>
                <a:schemeClr val="tx1"/>
              </a:solidFill>
              <a:latin typeface="Quicksand" panose="020B0604020202020204"/>
            </a:endParaRPr>
          </a:p>
          <a:p>
            <a:pPr marL="216000"/>
            <a:endParaRPr lang="da-DK" sz="1500" dirty="0">
              <a:solidFill>
                <a:schemeClr val="tx1"/>
              </a:solidFill>
              <a:latin typeface="Quicksand" panose="020B0604020202020204" charset="0"/>
            </a:endParaRPr>
          </a:p>
        </p:txBody>
      </p:sp>
      <p:sp>
        <p:nvSpPr>
          <p:cNvPr id="17" name="Google Shape;1217;p48">
            <a:extLst>
              <a:ext uri="{FF2B5EF4-FFF2-40B4-BE49-F238E27FC236}">
                <a16:creationId xmlns:a16="http://schemas.microsoft.com/office/drawing/2014/main" id="{8F851322-A95A-1C87-9250-26A551D528A2}"/>
              </a:ext>
            </a:extLst>
          </p:cNvPr>
          <p:cNvSpPr/>
          <p:nvPr/>
        </p:nvSpPr>
        <p:spPr>
          <a:xfrm>
            <a:off x="7040617" y="1807031"/>
            <a:ext cx="321251" cy="269060"/>
          </a:xfrm>
          <a:custGeom>
            <a:avLst/>
            <a:gdLst/>
            <a:ahLst/>
            <a:cxnLst/>
            <a:rect l="l" t="t" r="r" b="b"/>
            <a:pathLst>
              <a:path w="18981" h="16766" extrusionOk="0">
                <a:moveTo>
                  <a:pt x="5451" y="5475"/>
                </a:moveTo>
                <a:lnTo>
                  <a:pt x="5257" y="5548"/>
                </a:lnTo>
                <a:lnTo>
                  <a:pt x="5159" y="5597"/>
                </a:lnTo>
                <a:lnTo>
                  <a:pt x="5062" y="5670"/>
                </a:lnTo>
                <a:lnTo>
                  <a:pt x="5013" y="5743"/>
                </a:lnTo>
                <a:lnTo>
                  <a:pt x="4965" y="5816"/>
                </a:lnTo>
                <a:lnTo>
                  <a:pt x="4940" y="5889"/>
                </a:lnTo>
                <a:lnTo>
                  <a:pt x="4965" y="5962"/>
                </a:lnTo>
                <a:lnTo>
                  <a:pt x="5013" y="6011"/>
                </a:lnTo>
                <a:lnTo>
                  <a:pt x="5086" y="6059"/>
                </a:lnTo>
                <a:lnTo>
                  <a:pt x="5208" y="6059"/>
                </a:lnTo>
                <a:lnTo>
                  <a:pt x="5354" y="6035"/>
                </a:lnTo>
                <a:lnTo>
                  <a:pt x="5476" y="6011"/>
                </a:lnTo>
                <a:lnTo>
                  <a:pt x="5695" y="6011"/>
                </a:lnTo>
                <a:lnTo>
                  <a:pt x="5792" y="5986"/>
                </a:lnTo>
                <a:lnTo>
                  <a:pt x="5865" y="5913"/>
                </a:lnTo>
                <a:lnTo>
                  <a:pt x="5914" y="5816"/>
                </a:lnTo>
                <a:lnTo>
                  <a:pt x="5938" y="5743"/>
                </a:lnTo>
                <a:lnTo>
                  <a:pt x="5938" y="5694"/>
                </a:lnTo>
                <a:lnTo>
                  <a:pt x="5889" y="5573"/>
                </a:lnTo>
                <a:lnTo>
                  <a:pt x="5792" y="5500"/>
                </a:lnTo>
                <a:lnTo>
                  <a:pt x="5670" y="5475"/>
                </a:lnTo>
                <a:close/>
                <a:moveTo>
                  <a:pt x="4575" y="5986"/>
                </a:moveTo>
                <a:lnTo>
                  <a:pt x="4454" y="6011"/>
                </a:lnTo>
                <a:lnTo>
                  <a:pt x="4356" y="6035"/>
                </a:lnTo>
                <a:lnTo>
                  <a:pt x="4259" y="6084"/>
                </a:lnTo>
                <a:lnTo>
                  <a:pt x="4113" y="6205"/>
                </a:lnTo>
                <a:lnTo>
                  <a:pt x="4040" y="6254"/>
                </a:lnTo>
                <a:lnTo>
                  <a:pt x="3991" y="6351"/>
                </a:lnTo>
                <a:lnTo>
                  <a:pt x="3967" y="6424"/>
                </a:lnTo>
                <a:lnTo>
                  <a:pt x="3991" y="6522"/>
                </a:lnTo>
                <a:lnTo>
                  <a:pt x="4064" y="6570"/>
                </a:lnTo>
                <a:lnTo>
                  <a:pt x="4162" y="6619"/>
                </a:lnTo>
                <a:lnTo>
                  <a:pt x="4283" y="6595"/>
                </a:lnTo>
                <a:lnTo>
                  <a:pt x="4429" y="6546"/>
                </a:lnTo>
                <a:lnTo>
                  <a:pt x="4527" y="6522"/>
                </a:lnTo>
                <a:lnTo>
                  <a:pt x="4551" y="6497"/>
                </a:lnTo>
                <a:lnTo>
                  <a:pt x="4648" y="6473"/>
                </a:lnTo>
                <a:lnTo>
                  <a:pt x="4721" y="6424"/>
                </a:lnTo>
                <a:lnTo>
                  <a:pt x="4794" y="6327"/>
                </a:lnTo>
                <a:lnTo>
                  <a:pt x="4794" y="6205"/>
                </a:lnTo>
                <a:lnTo>
                  <a:pt x="4770" y="6108"/>
                </a:lnTo>
                <a:lnTo>
                  <a:pt x="4673" y="6035"/>
                </a:lnTo>
                <a:lnTo>
                  <a:pt x="4575" y="5986"/>
                </a:lnTo>
                <a:close/>
                <a:moveTo>
                  <a:pt x="7593" y="5962"/>
                </a:moveTo>
                <a:lnTo>
                  <a:pt x="7495" y="6011"/>
                </a:lnTo>
                <a:lnTo>
                  <a:pt x="7447" y="6059"/>
                </a:lnTo>
                <a:lnTo>
                  <a:pt x="7398" y="6132"/>
                </a:lnTo>
                <a:lnTo>
                  <a:pt x="7398" y="6181"/>
                </a:lnTo>
                <a:lnTo>
                  <a:pt x="7422" y="6254"/>
                </a:lnTo>
                <a:lnTo>
                  <a:pt x="7520" y="6351"/>
                </a:lnTo>
                <a:lnTo>
                  <a:pt x="7593" y="6424"/>
                </a:lnTo>
                <a:lnTo>
                  <a:pt x="7641" y="6449"/>
                </a:lnTo>
                <a:lnTo>
                  <a:pt x="7666" y="6473"/>
                </a:lnTo>
                <a:lnTo>
                  <a:pt x="7690" y="6497"/>
                </a:lnTo>
                <a:lnTo>
                  <a:pt x="7714" y="6546"/>
                </a:lnTo>
                <a:lnTo>
                  <a:pt x="7763" y="6619"/>
                </a:lnTo>
                <a:lnTo>
                  <a:pt x="7787" y="6668"/>
                </a:lnTo>
                <a:lnTo>
                  <a:pt x="7812" y="6692"/>
                </a:lnTo>
                <a:lnTo>
                  <a:pt x="7909" y="6741"/>
                </a:lnTo>
                <a:lnTo>
                  <a:pt x="8031" y="6741"/>
                </a:lnTo>
                <a:lnTo>
                  <a:pt x="8128" y="6716"/>
                </a:lnTo>
                <a:lnTo>
                  <a:pt x="8201" y="6643"/>
                </a:lnTo>
                <a:lnTo>
                  <a:pt x="8250" y="6546"/>
                </a:lnTo>
                <a:lnTo>
                  <a:pt x="8250" y="6449"/>
                </a:lnTo>
                <a:lnTo>
                  <a:pt x="8225" y="6351"/>
                </a:lnTo>
                <a:lnTo>
                  <a:pt x="8177" y="6254"/>
                </a:lnTo>
                <a:lnTo>
                  <a:pt x="8104" y="6181"/>
                </a:lnTo>
                <a:lnTo>
                  <a:pt x="8006" y="6108"/>
                </a:lnTo>
                <a:lnTo>
                  <a:pt x="7909" y="6035"/>
                </a:lnTo>
                <a:lnTo>
                  <a:pt x="7812" y="5986"/>
                </a:lnTo>
                <a:lnTo>
                  <a:pt x="7690" y="5962"/>
                </a:lnTo>
                <a:close/>
                <a:moveTo>
                  <a:pt x="3578" y="6741"/>
                </a:moveTo>
                <a:lnTo>
                  <a:pt x="3456" y="6765"/>
                </a:lnTo>
                <a:lnTo>
                  <a:pt x="3359" y="6814"/>
                </a:lnTo>
                <a:lnTo>
                  <a:pt x="3286" y="6887"/>
                </a:lnTo>
                <a:lnTo>
                  <a:pt x="3189" y="6960"/>
                </a:lnTo>
                <a:lnTo>
                  <a:pt x="3140" y="7081"/>
                </a:lnTo>
                <a:lnTo>
                  <a:pt x="3091" y="7179"/>
                </a:lnTo>
                <a:lnTo>
                  <a:pt x="3067" y="7300"/>
                </a:lnTo>
                <a:lnTo>
                  <a:pt x="3067" y="7398"/>
                </a:lnTo>
                <a:lnTo>
                  <a:pt x="3091" y="7446"/>
                </a:lnTo>
                <a:lnTo>
                  <a:pt x="3116" y="7471"/>
                </a:lnTo>
                <a:lnTo>
                  <a:pt x="3189" y="7519"/>
                </a:lnTo>
                <a:lnTo>
                  <a:pt x="3286" y="7544"/>
                </a:lnTo>
                <a:lnTo>
                  <a:pt x="3359" y="7519"/>
                </a:lnTo>
                <a:lnTo>
                  <a:pt x="3481" y="7446"/>
                </a:lnTo>
                <a:lnTo>
                  <a:pt x="3554" y="7325"/>
                </a:lnTo>
                <a:lnTo>
                  <a:pt x="3627" y="7276"/>
                </a:lnTo>
                <a:lnTo>
                  <a:pt x="3651" y="7252"/>
                </a:lnTo>
                <a:lnTo>
                  <a:pt x="3700" y="7227"/>
                </a:lnTo>
                <a:lnTo>
                  <a:pt x="3773" y="7179"/>
                </a:lnTo>
                <a:lnTo>
                  <a:pt x="3821" y="7106"/>
                </a:lnTo>
                <a:lnTo>
                  <a:pt x="3821" y="7033"/>
                </a:lnTo>
                <a:lnTo>
                  <a:pt x="3821" y="6935"/>
                </a:lnTo>
                <a:lnTo>
                  <a:pt x="3797" y="6862"/>
                </a:lnTo>
                <a:lnTo>
                  <a:pt x="3724" y="6789"/>
                </a:lnTo>
                <a:lnTo>
                  <a:pt x="3651" y="6765"/>
                </a:lnTo>
                <a:lnTo>
                  <a:pt x="3578" y="6741"/>
                </a:lnTo>
                <a:close/>
                <a:moveTo>
                  <a:pt x="16863" y="4526"/>
                </a:moveTo>
                <a:lnTo>
                  <a:pt x="16766" y="4575"/>
                </a:lnTo>
                <a:lnTo>
                  <a:pt x="16693" y="4624"/>
                </a:lnTo>
                <a:lnTo>
                  <a:pt x="16620" y="4697"/>
                </a:lnTo>
                <a:lnTo>
                  <a:pt x="16498" y="4843"/>
                </a:lnTo>
                <a:lnTo>
                  <a:pt x="16401" y="5037"/>
                </a:lnTo>
                <a:lnTo>
                  <a:pt x="16158" y="5500"/>
                </a:lnTo>
                <a:lnTo>
                  <a:pt x="15914" y="5962"/>
                </a:lnTo>
                <a:lnTo>
                  <a:pt x="15647" y="5816"/>
                </a:lnTo>
                <a:lnTo>
                  <a:pt x="15501" y="5719"/>
                </a:lnTo>
                <a:lnTo>
                  <a:pt x="15355" y="5670"/>
                </a:lnTo>
                <a:lnTo>
                  <a:pt x="15233" y="5646"/>
                </a:lnTo>
                <a:lnTo>
                  <a:pt x="15087" y="5597"/>
                </a:lnTo>
                <a:lnTo>
                  <a:pt x="15038" y="5573"/>
                </a:lnTo>
                <a:lnTo>
                  <a:pt x="15014" y="5573"/>
                </a:lnTo>
                <a:lnTo>
                  <a:pt x="14917" y="5621"/>
                </a:lnTo>
                <a:lnTo>
                  <a:pt x="14892" y="5646"/>
                </a:lnTo>
                <a:lnTo>
                  <a:pt x="14844" y="5694"/>
                </a:lnTo>
                <a:lnTo>
                  <a:pt x="14844" y="5767"/>
                </a:lnTo>
                <a:lnTo>
                  <a:pt x="14868" y="5840"/>
                </a:lnTo>
                <a:lnTo>
                  <a:pt x="14892" y="5913"/>
                </a:lnTo>
                <a:lnTo>
                  <a:pt x="15087" y="6059"/>
                </a:lnTo>
                <a:lnTo>
                  <a:pt x="15282" y="6181"/>
                </a:lnTo>
                <a:lnTo>
                  <a:pt x="15671" y="6424"/>
                </a:lnTo>
                <a:lnTo>
                  <a:pt x="15355" y="6984"/>
                </a:lnTo>
                <a:lnTo>
                  <a:pt x="15160" y="7252"/>
                </a:lnTo>
                <a:lnTo>
                  <a:pt x="14965" y="7519"/>
                </a:lnTo>
                <a:lnTo>
                  <a:pt x="14941" y="7592"/>
                </a:lnTo>
                <a:lnTo>
                  <a:pt x="14941" y="7641"/>
                </a:lnTo>
                <a:lnTo>
                  <a:pt x="14941" y="7714"/>
                </a:lnTo>
                <a:lnTo>
                  <a:pt x="14965" y="7763"/>
                </a:lnTo>
                <a:lnTo>
                  <a:pt x="15014" y="7836"/>
                </a:lnTo>
                <a:lnTo>
                  <a:pt x="15063" y="7860"/>
                </a:lnTo>
                <a:lnTo>
                  <a:pt x="15111" y="7884"/>
                </a:lnTo>
                <a:lnTo>
                  <a:pt x="15184" y="7909"/>
                </a:lnTo>
                <a:lnTo>
                  <a:pt x="15257" y="7884"/>
                </a:lnTo>
                <a:lnTo>
                  <a:pt x="15355" y="7860"/>
                </a:lnTo>
                <a:lnTo>
                  <a:pt x="15501" y="7763"/>
                </a:lnTo>
                <a:lnTo>
                  <a:pt x="15622" y="7641"/>
                </a:lnTo>
                <a:lnTo>
                  <a:pt x="15744" y="7471"/>
                </a:lnTo>
                <a:lnTo>
                  <a:pt x="15866" y="7276"/>
                </a:lnTo>
                <a:lnTo>
                  <a:pt x="15963" y="7081"/>
                </a:lnTo>
                <a:lnTo>
                  <a:pt x="16133" y="6716"/>
                </a:lnTo>
                <a:lnTo>
                  <a:pt x="16328" y="6862"/>
                </a:lnTo>
                <a:lnTo>
                  <a:pt x="16523" y="7008"/>
                </a:lnTo>
                <a:lnTo>
                  <a:pt x="16742" y="7106"/>
                </a:lnTo>
                <a:lnTo>
                  <a:pt x="16839" y="7130"/>
                </a:lnTo>
                <a:lnTo>
                  <a:pt x="16961" y="7154"/>
                </a:lnTo>
                <a:lnTo>
                  <a:pt x="17034" y="7130"/>
                </a:lnTo>
                <a:lnTo>
                  <a:pt x="17082" y="7106"/>
                </a:lnTo>
                <a:lnTo>
                  <a:pt x="17131" y="7057"/>
                </a:lnTo>
                <a:lnTo>
                  <a:pt x="17155" y="7008"/>
                </a:lnTo>
                <a:lnTo>
                  <a:pt x="17180" y="6960"/>
                </a:lnTo>
                <a:lnTo>
                  <a:pt x="17180" y="6887"/>
                </a:lnTo>
                <a:lnTo>
                  <a:pt x="17155" y="6814"/>
                </a:lnTo>
                <a:lnTo>
                  <a:pt x="17131" y="6765"/>
                </a:lnTo>
                <a:lnTo>
                  <a:pt x="16961" y="6619"/>
                </a:lnTo>
                <a:lnTo>
                  <a:pt x="16766" y="6497"/>
                </a:lnTo>
                <a:lnTo>
                  <a:pt x="16377" y="6254"/>
                </a:lnTo>
                <a:lnTo>
                  <a:pt x="16644" y="5670"/>
                </a:lnTo>
                <a:lnTo>
                  <a:pt x="16766" y="5427"/>
                </a:lnTo>
                <a:lnTo>
                  <a:pt x="16912" y="5183"/>
                </a:lnTo>
                <a:lnTo>
                  <a:pt x="17034" y="4916"/>
                </a:lnTo>
                <a:lnTo>
                  <a:pt x="17082" y="4770"/>
                </a:lnTo>
                <a:lnTo>
                  <a:pt x="17082" y="4648"/>
                </a:lnTo>
                <a:lnTo>
                  <a:pt x="17082" y="4599"/>
                </a:lnTo>
                <a:lnTo>
                  <a:pt x="17058" y="4551"/>
                </a:lnTo>
                <a:lnTo>
                  <a:pt x="17009" y="4526"/>
                </a:lnTo>
                <a:close/>
                <a:moveTo>
                  <a:pt x="8420" y="6838"/>
                </a:moveTo>
                <a:lnTo>
                  <a:pt x="8371" y="6862"/>
                </a:lnTo>
                <a:lnTo>
                  <a:pt x="8298" y="6911"/>
                </a:lnTo>
                <a:lnTo>
                  <a:pt x="8274" y="6984"/>
                </a:lnTo>
                <a:lnTo>
                  <a:pt x="8250" y="7081"/>
                </a:lnTo>
                <a:lnTo>
                  <a:pt x="8274" y="7179"/>
                </a:lnTo>
                <a:lnTo>
                  <a:pt x="8298" y="7276"/>
                </a:lnTo>
                <a:lnTo>
                  <a:pt x="8347" y="7373"/>
                </a:lnTo>
                <a:lnTo>
                  <a:pt x="8420" y="7519"/>
                </a:lnTo>
                <a:lnTo>
                  <a:pt x="8444" y="7665"/>
                </a:lnTo>
                <a:lnTo>
                  <a:pt x="8444" y="7763"/>
                </a:lnTo>
                <a:lnTo>
                  <a:pt x="8493" y="7836"/>
                </a:lnTo>
                <a:lnTo>
                  <a:pt x="8566" y="7909"/>
                </a:lnTo>
                <a:lnTo>
                  <a:pt x="8663" y="7933"/>
                </a:lnTo>
                <a:lnTo>
                  <a:pt x="8761" y="7957"/>
                </a:lnTo>
                <a:lnTo>
                  <a:pt x="8882" y="7909"/>
                </a:lnTo>
                <a:lnTo>
                  <a:pt x="8980" y="7836"/>
                </a:lnTo>
                <a:lnTo>
                  <a:pt x="9004" y="7787"/>
                </a:lnTo>
                <a:lnTo>
                  <a:pt x="9028" y="7738"/>
                </a:lnTo>
                <a:lnTo>
                  <a:pt x="9028" y="7592"/>
                </a:lnTo>
                <a:lnTo>
                  <a:pt x="9004" y="7446"/>
                </a:lnTo>
                <a:lnTo>
                  <a:pt x="8955" y="7325"/>
                </a:lnTo>
                <a:lnTo>
                  <a:pt x="8882" y="7179"/>
                </a:lnTo>
                <a:lnTo>
                  <a:pt x="8809" y="7057"/>
                </a:lnTo>
                <a:lnTo>
                  <a:pt x="8712" y="6960"/>
                </a:lnTo>
                <a:lnTo>
                  <a:pt x="8663" y="6911"/>
                </a:lnTo>
                <a:lnTo>
                  <a:pt x="8615" y="6862"/>
                </a:lnTo>
                <a:lnTo>
                  <a:pt x="8542" y="6838"/>
                </a:lnTo>
                <a:close/>
                <a:moveTo>
                  <a:pt x="16255" y="7495"/>
                </a:moveTo>
                <a:lnTo>
                  <a:pt x="16206" y="7544"/>
                </a:lnTo>
                <a:lnTo>
                  <a:pt x="16158" y="7592"/>
                </a:lnTo>
                <a:lnTo>
                  <a:pt x="16158" y="7714"/>
                </a:lnTo>
                <a:lnTo>
                  <a:pt x="16158" y="7836"/>
                </a:lnTo>
                <a:lnTo>
                  <a:pt x="16206" y="7982"/>
                </a:lnTo>
                <a:lnTo>
                  <a:pt x="16231" y="8030"/>
                </a:lnTo>
                <a:lnTo>
                  <a:pt x="16279" y="8079"/>
                </a:lnTo>
                <a:lnTo>
                  <a:pt x="16304" y="8103"/>
                </a:lnTo>
                <a:lnTo>
                  <a:pt x="16377" y="8128"/>
                </a:lnTo>
                <a:lnTo>
                  <a:pt x="16474" y="8128"/>
                </a:lnTo>
                <a:lnTo>
                  <a:pt x="16523" y="8103"/>
                </a:lnTo>
                <a:lnTo>
                  <a:pt x="16547" y="8055"/>
                </a:lnTo>
                <a:lnTo>
                  <a:pt x="16571" y="8006"/>
                </a:lnTo>
                <a:lnTo>
                  <a:pt x="16571" y="7957"/>
                </a:lnTo>
                <a:lnTo>
                  <a:pt x="16547" y="7836"/>
                </a:lnTo>
                <a:lnTo>
                  <a:pt x="16523" y="7738"/>
                </a:lnTo>
                <a:lnTo>
                  <a:pt x="16474" y="7641"/>
                </a:lnTo>
                <a:lnTo>
                  <a:pt x="16401" y="7544"/>
                </a:lnTo>
                <a:lnTo>
                  <a:pt x="16328" y="7495"/>
                </a:lnTo>
                <a:close/>
                <a:moveTo>
                  <a:pt x="2897" y="7836"/>
                </a:moveTo>
                <a:lnTo>
                  <a:pt x="2799" y="7860"/>
                </a:lnTo>
                <a:lnTo>
                  <a:pt x="2702" y="7909"/>
                </a:lnTo>
                <a:lnTo>
                  <a:pt x="2629" y="7982"/>
                </a:lnTo>
                <a:lnTo>
                  <a:pt x="2556" y="8079"/>
                </a:lnTo>
                <a:lnTo>
                  <a:pt x="2507" y="8201"/>
                </a:lnTo>
                <a:lnTo>
                  <a:pt x="2507" y="8347"/>
                </a:lnTo>
                <a:lnTo>
                  <a:pt x="2507" y="8468"/>
                </a:lnTo>
                <a:lnTo>
                  <a:pt x="2556" y="8517"/>
                </a:lnTo>
                <a:lnTo>
                  <a:pt x="2580" y="8566"/>
                </a:lnTo>
                <a:lnTo>
                  <a:pt x="2678" y="8614"/>
                </a:lnTo>
                <a:lnTo>
                  <a:pt x="2799" y="8614"/>
                </a:lnTo>
                <a:lnTo>
                  <a:pt x="2848" y="8590"/>
                </a:lnTo>
                <a:lnTo>
                  <a:pt x="2897" y="8566"/>
                </a:lnTo>
                <a:lnTo>
                  <a:pt x="2970" y="8493"/>
                </a:lnTo>
                <a:lnTo>
                  <a:pt x="3018" y="8420"/>
                </a:lnTo>
                <a:lnTo>
                  <a:pt x="3116" y="8274"/>
                </a:lnTo>
                <a:lnTo>
                  <a:pt x="3140" y="8152"/>
                </a:lnTo>
                <a:lnTo>
                  <a:pt x="3140" y="8055"/>
                </a:lnTo>
                <a:lnTo>
                  <a:pt x="3091" y="7957"/>
                </a:lnTo>
                <a:lnTo>
                  <a:pt x="3018" y="7884"/>
                </a:lnTo>
                <a:lnTo>
                  <a:pt x="2897" y="7836"/>
                </a:lnTo>
                <a:close/>
                <a:moveTo>
                  <a:pt x="8955" y="8152"/>
                </a:moveTo>
                <a:lnTo>
                  <a:pt x="8882" y="8201"/>
                </a:lnTo>
                <a:lnTo>
                  <a:pt x="8858" y="8274"/>
                </a:lnTo>
                <a:lnTo>
                  <a:pt x="8858" y="8371"/>
                </a:lnTo>
                <a:lnTo>
                  <a:pt x="8858" y="8468"/>
                </a:lnTo>
                <a:lnTo>
                  <a:pt x="8907" y="8639"/>
                </a:lnTo>
                <a:lnTo>
                  <a:pt x="8955" y="8760"/>
                </a:lnTo>
                <a:lnTo>
                  <a:pt x="8980" y="8858"/>
                </a:lnTo>
                <a:lnTo>
                  <a:pt x="9053" y="8955"/>
                </a:lnTo>
                <a:lnTo>
                  <a:pt x="9101" y="9004"/>
                </a:lnTo>
                <a:lnTo>
                  <a:pt x="9150" y="9028"/>
                </a:lnTo>
                <a:lnTo>
                  <a:pt x="9296" y="9028"/>
                </a:lnTo>
                <a:lnTo>
                  <a:pt x="9369" y="8979"/>
                </a:lnTo>
                <a:lnTo>
                  <a:pt x="9393" y="8931"/>
                </a:lnTo>
                <a:lnTo>
                  <a:pt x="9418" y="8858"/>
                </a:lnTo>
                <a:lnTo>
                  <a:pt x="9418" y="8785"/>
                </a:lnTo>
                <a:lnTo>
                  <a:pt x="9393" y="8639"/>
                </a:lnTo>
                <a:lnTo>
                  <a:pt x="9369" y="8614"/>
                </a:lnTo>
                <a:lnTo>
                  <a:pt x="9345" y="8517"/>
                </a:lnTo>
                <a:lnTo>
                  <a:pt x="9247" y="8322"/>
                </a:lnTo>
                <a:lnTo>
                  <a:pt x="9199" y="8225"/>
                </a:lnTo>
                <a:lnTo>
                  <a:pt x="9101" y="8176"/>
                </a:lnTo>
                <a:lnTo>
                  <a:pt x="9028" y="8152"/>
                </a:lnTo>
                <a:close/>
                <a:moveTo>
                  <a:pt x="16352" y="8541"/>
                </a:moveTo>
                <a:lnTo>
                  <a:pt x="16279" y="8566"/>
                </a:lnTo>
                <a:lnTo>
                  <a:pt x="16231" y="8614"/>
                </a:lnTo>
                <a:lnTo>
                  <a:pt x="16206" y="8663"/>
                </a:lnTo>
                <a:lnTo>
                  <a:pt x="16182" y="8736"/>
                </a:lnTo>
                <a:lnTo>
                  <a:pt x="16182" y="8858"/>
                </a:lnTo>
                <a:lnTo>
                  <a:pt x="16206" y="8979"/>
                </a:lnTo>
                <a:lnTo>
                  <a:pt x="16231" y="9174"/>
                </a:lnTo>
                <a:lnTo>
                  <a:pt x="16255" y="9296"/>
                </a:lnTo>
                <a:lnTo>
                  <a:pt x="16304" y="9369"/>
                </a:lnTo>
                <a:lnTo>
                  <a:pt x="16401" y="9417"/>
                </a:lnTo>
                <a:lnTo>
                  <a:pt x="16498" y="9417"/>
                </a:lnTo>
                <a:lnTo>
                  <a:pt x="16596" y="9393"/>
                </a:lnTo>
                <a:lnTo>
                  <a:pt x="16669" y="9320"/>
                </a:lnTo>
                <a:lnTo>
                  <a:pt x="16693" y="9223"/>
                </a:lnTo>
                <a:lnTo>
                  <a:pt x="16693" y="9101"/>
                </a:lnTo>
                <a:lnTo>
                  <a:pt x="16644" y="8882"/>
                </a:lnTo>
                <a:lnTo>
                  <a:pt x="16596" y="8760"/>
                </a:lnTo>
                <a:lnTo>
                  <a:pt x="16547" y="8639"/>
                </a:lnTo>
                <a:lnTo>
                  <a:pt x="16523" y="8590"/>
                </a:lnTo>
                <a:lnTo>
                  <a:pt x="16474" y="8541"/>
                </a:lnTo>
                <a:close/>
                <a:moveTo>
                  <a:pt x="2434" y="9077"/>
                </a:moveTo>
                <a:lnTo>
                  <a:pt x="2337" y="9101"/>
                </a:lnTo>
                <a:lnTo>
                  <a:pt x="2264" y="9125"/>
                </a:lnTo>
                <a:lnTo>
                  <a:pt x="2191" y="9198"/>
                </a:lnTo>
                <a:lnTo>
                  <a:pt x="2142" y="9271"/>
                </a:lnTo>
                <a:lnTo>
                  <a:pt x="2118" y="9369"/>
                </a:lnTo>
                <a:lnTo>
                  <a:pt x="2094" y="9515"/>
                </a:lnTo>
                <a:lnTo>
                  <a:pt x="2094" y="9612"/>
                </a:lnTo>
                <a:lnTo>
                  <a:pt x="2094" y="9685"/>
                </a:lnTo>
                <a:lnTo>
                  <a:pt x="2118" y="9782"/>
                </a:lnTo>
                <a:lnTo>
                  <a:pt x="2191" y="9831"/>
                </a:lnTo>
                <a:lnTo>
                  <a:pt x="2240" y="9879"/>
                </a:lnTo>
                <a:lnTo>
                  <a:pt x="2337" y="9904"/>
                </a:lnTo>
                <a:lnTo>
                  <a:pt x="2410" y="9879"/>
                </a:lnTo>
                <a:lnTo>
                  <a:pt x="2483" y="9831"/>
                </a:lnTo>
                <a:lnTo>
                  <a:pt x="2556" y="9733"/>
                </a:lnTo>
                <a:lnTo>
                  <a:pt x="2580" y="9612"/>
                </a:lnTo>
                <a:lnTo>
                  <a:pt x="2653" y="9417"/>
                </a:lnTo>
                <a:lnTo>
                  <a:pt x="2653" y="9320"/>
                </a:lnTo>
                <a:lnTo>
                  <a:pt x="2653" y="9247"/>
                </a:lnTo>
                <a:lnTo>
                  <a:pt x="2605" y="9174"/>
                </a:lnTo>
                <a:lnTo>
                  <a:pt x="2532" y="9125"/>
                </a:lnTo>
                <a:lnTo>
                  <a:pt x="2434" y="9077"/>
                </a:lnTo>
                <a:close/>
                <a:moveTo>
                  <a:pt x="9272" y="9296"/>
                </a:moveTo>
                <a:lnTo>
                  <a:pt x="9199" y="9344"/>
                </a:lnTo>
                <a:lnTo>
                  <a:pt x="9101" y="9417"/>
                </a:lnTo>
                <a:lnTo>
                  <a:pt x="9077" y="9539"/>
                </a:lnTo>
                <a:lnTo>
                  <a:pt x="9053" y="9661"/>
                </a:lnTo>
                <a:lnTo>
                  <a:pt x="9077" y="9782"/>
                </a:lnTo>
                <a:lnTo>
                  <a:pt x="9126" y="9904"/>
                </a:lnTo>
                <a:lnTo>
                  <a:pt x="9174" y="10001"/>
                </a:lnTo>
                <a:lnTo>
                  <a:pt x="9247" y="10123"/>
                </a:lnTo>
                <a:lnTo>
                  <a:pt x="9320" y="10196"/>
                </a:lnTo>
                <a:lnTo>
                  <a:pt x="9393" y="10220"/>
                </a:lnTo>
                <a:lnTo>
                  <a:pt x="9442" y="10220"/>
                </a:lnTo>
                <a:lnTo>
                  <a:pt x="9564" y="10196"/>
                </a:lnTo>
                <a:lnTo>
                  <a:pt x="9612" y="10147"/>
                </a:lnTo>
                <a:lnTo>
                  <a:pt x="9661" y="10123"/>
                </a:lnTo>
                <a:lnTo>
                  <a:pt x="9685" y="10050"/>
                </a:lnTo>
                <a:lnTo>
                  <a:pt x="9685" y="10001"/>
                </a:lnTo>
                <a:lnTo>
                  <a:pt x="9685" y="9904"/>
                </a:lnTo>
                <a:lnTo>
                  <a:pt x="9637" y="9806"/>
                </a:lnTo>
                <a:lnTo>
                  <a:pt x="9539" y="9636"/>
                </a:lnTo>
                <a:lnTo>
                  <a:pt x="9515" y="9515"/>
                </a:lnTo>
                <a:lnTo>
                  <a:pt x="9442" y="9393"/>
                </a:lnTo>
                <a:lnTo>
                  <a:pt x="9393" y="9344"/>
                </a:lnTo>
                <a:lnTo>
                  <a:pt x="9345" y="9320"/>
                </a:lnTo>
                <a:lnTo>
                  <a:pt x="9272" y="9296"/>
                </a:lnTo>
                <a:close/>
                <a:moveTo>
                  <a:pt x="16231" y="9855"/>
                </a:moveTo>
                <a:lnTo>
                  <a:pt x="16231" y="9879"/>
                </a:lnTo>
                <a:lnTo>
                  <a:pt x="16182" y="9904"/>
                </a:lnTo>
                <a:lnTo>
                  <a:pt x="16133" y="9952"/>
                </a:lnTo>
                <a:lnTo>
                  <a:pt x="16060" y="10098"/>
                </a:lnTo>
                <a:lnTo>
                  <a:pt x="16012" y="10293"/>
                </a:lnTo>
                <a:lnTo>
                  <a:pt x="16012" y="10390"/>
                </a:lnTo>
                <a:lnTo>
                  <a:pt x="16012" y="10463"/>
                </a:lnTo>
                <a:lnTo>
                  <a:pt x="16085" y="10561"/>
                </a:lnTo>
                <a:lnTo>
                  <a:pt x="16182" y="10634"/>
                </a:lnTo>
                <a:lnTo>
                  <a:pt x="16304" y="10634"/>
                </a:lnTo>
                <a:lnTo>
                  <a:pt x="16352" y="10609"/>
                </a:lnTo>
                <a:lnTo>
                  <a:pt x="16401" y="10561"/>
                </a:lnTo>
                <a:lnTo>
                  <a:pt x="16450" y="10488"/>
                </a:lnTo>
                <a:lnTo>
                  <a:pt x="16474" y="10415"/>
                </a:lnTo>
                <a:lnTo>
                  <a:pt x="16498" y="10244"/>
                </a:lnTo>
                <a:lnTo>
                  <a:pt x="16498" y="10147"/>
                </a:lnTo>
                <a:lnTo>
                  <a:pt x="16498" y="10050"/>
                </a:lnTo>
                <a:lnTo>
                  <a:pt x="16474" y="9952"/>
                </a:lnTo>
                <a:lnTo>
                  <a:pt x="16425" y="9879"/>
                </a:lnTo>
                <a:lnTo>
                  <a:pt x="16328" y="9855"/>
                </a:lnTo>
                <a:close/>
                <a:moveTo>
                  <a:pt x="2167" y="10244"/>
                </a:moveTo>
                <a:lnTo>
                  <a:pt x="2045" y="10269"/>
                </a:lnTo>
                <a:lnTo>
                  <a:pt x="1972" y="10317"/>
                </a:lnTo>
                <a:lnTo>
                  <a:pt x="1875" y="10463"/>
                </a:lnTo>
                <a:lnTo>
                  <a:pt x="1826" y="10634"/>
                </a:lnTo>
                <a:lnTo>
                  <a:pt x="1802" y="10804"/>
                </a:lnTo>
                <a:lnTo>
                  <a:pt x="1850" y="10926"/>
                </a:lnTo>
                <a:lnTo>
                  <a:pt x="1923" y="11023"/>
                </a:lnTo>
                <a:lnTo>
                  <a:pt x="1948" y="11072"/>
                </a:lnTo>
                <a:lnTo>
                  <a:pt x="2021" y="11096"/>
                </a:lnTo>
                <a:lnTo>
                  <a:pt x="2118" y="11096"/>
                </a:lnTo>
                <a:lnTo>
                  <a:pt x="2191" y="11072"/>
                </a:lnTo>
                <a:lnTo>
                  <a:pt x="2215" y="11023"/>
                </a:lnTo>
                <a:lnTo>
                  <a:pt x="2288" y="10950"/>
                </a:lnTo>
                <a:lnTo>
                  <a:pt x="2313" y="10877"/>
                </a:lnTo>
                <a:lnTo>
                  <a:pt x="2337" y="10780"/>
                </a:lnTo>
                <a:lnTo>
                  <a:pt x="2337" y="10755"/>
                </a:lnTo>
                <a:lnTo>
                  <a:pt x="2337" y="10731"/>
                </a:lnTo>
                <a:lnTo>
                  <a:pt x="2386" y="10658"/>
                </a:lnTo>
                <a:lnTo>
                  <a:pt x="2410" y="10561"/>
                </a:lnTo>
                <a:lnTo>
                  <a:pt x="2434" y="10488"/>
                </a:lnTo>
                <a:lnTo>
                  <a:pt x="2410" y="10390"/>
                </a:lnTo>
                <a:lnTo>
                  <a:pt x="2337" y="10317"/>
                </a:lnTo>
                <a:lnTo>
                  <a:pt x="2264" y="10269"/>
                </a:lnTo>
                <a:lnTo>
                  <a:pt x="2167" y="10244"/>
                </a:lnTo>
                <a:close/>
                <a:moveTo>
                  <a:pt x="9661" y="10512"/>
                </a:moveTo>
                <a:lnTo>
                  <a:pt x="9612" y="10536"/>
                </a:lnTo>
                <a:lnTo>
                  <a:pt x="9539" y="10609"/>
                </a:lnTo>
                <a:lnTo>
                  <a:pt x="9491" y="10658"/>
                </a:lnTo>
                <a:lnTo>
                  <a:pt x="9491" y="10731"/>
                </a:lnTo>
                <a:lnTo>
                  <a:pt x="9491" y="10877"/>
                </a:lnTo>
                <a:lnTo>
                  <a:pt x="9539" y="11023"/>
                </a:lnTo>
                <a:lnTo>
                  <a:pt x="9588" y="11169"/>
                </a:lnTo>
                <a:lnTo>
                  <a:pt x="9637" y="11242"/>
                </a:lnTo>
                <a:lnTo>
                  <a:pt x="9710" y="11315"/>
                </a:lnTo>
                <a:lnTo>
                  <a:pt x="9783" y="11339"/>
                </a:lnTo>
                <a:lnTo>
                  <a:pt x="9880" y="11339"/>
                </a:lnTo>
                <a:lnTo>
                  <a:pt x="9977" y="11291"/>
                </a:lnTo>
                <a:lnTo>
                  <a:pt x="10026" y="11218"/>
                </a:lnTo>
                <a:lnTo>
                  <a:pt x="10075" y="11120"/>
                </a:lnTo>
                <a:lnTo>
                  <a:pt x="10050" y="11023"/>
                </a:lnTo>
                <a:lnTo>
                  <a:pt x="10002" y="10877"/>
                </a:lnTo>
                <a:lnTo>
                  <a:pt x="9929" y="10731"/>
                </a:lnTo>
                <a:lnTo>
                  <a:pt x="9831" y="10609"/>
                </a:lnTo>
                <a:lnTo>
                  <a:pt x="9783" y="10561"/>
                </a:lnTo>
                <a:lnTo>
                  <a:pt x="9710" y="10536"/>
                </a:lnTo>
                <a:lnTo>
                  <a:pt x="9661" y="10512"/>
                </a:lnTo>
                <a:close/>
                <a:moveTo>
                  <a:pt x="15987" y="10999"/>
                </a:moveTo>
                <a:lnTo>
                  <a:pt x="15890" y="11047"/>
                </a:lnTo>
                <a:lnTo>
                  <a:pt x="15817" y="11120"/>
                </a:lnTo>
                <a:lnTo>
                  <a:pt x="15720" y="11291"/>
                </a:lnTo>
                <a:lnTo>
                  <a:pt x="15598" y="11461"/>
                </a:lnTo>
                <a:lnTo>
                  <a:pt x="15525" y="11631"/>
                </a:lnTo>
                <a:lnTo>
                  <a:pt x="15525" y="11729"/>
                </a:lnTo>
                <a:lnTo>
                  <a:pt x="15549" y="11802"/>
                </a:lnTo>
                <a:lnTo>
                  <a:pt x="15598" y="11850"/>
                </a:lnTo>
                <a:lnTo>
                  <a:pt x="15647" y="11899"/>
                </a:lnTo>
                <a:lnTo>
                  <a:pt x="15720" y="11948"/>
                </a:lnTo>
                <a:lnTo>
                  <a:pt x="15793" y="11948"/>
                </a:lnTo>
                <a:lnTo>
                  <a:pt x="15866" y="11923"/>
                </a:lnTo>
                <a:lnTo>
                  <a:pt x="15939" y="11875"/>
                </a:lnTo>
                <a:lnTo>
                  <a:pt x="16036" y="11704"/>
                </a:lnTo>
                <a:lnTo>
                  <a:pt x="16109" y="11510"/>
                </a:lnTo>
                <a:lnTo>
                  <a:pt x="16182" y="11315"/>
                </a:lnTo>
                <a:lnTo>
                  <a:pt x="16206" y="11218"/>
                </a:lnTo>
                <a:lnTo>
                  <a:pt x="16206" y="11120"/>
                </a:lnTo>
                <a:lnTo>
                  <a:pt x="16182" y="11047"/>
                </a:lnTo>
                <a:lnTo>
                  <a:pt x="16133" y="11023"/>
                </a:lnTo>
                <a:lnTo>
                  <a:pt x="16060" y="10999"/>
                </a:lnTo>
                <a:close/>
                <a:moveTo>
                  <a:pt x="1996" y="11437"/>
                </a:moveTo>
                <a:lnTo>
                  <a:pt x="1948" y="11461"/>
                </a:lnTo>
                <a:lnTo>
                  <a:pt x="1875" y="11485"/>
                </a:lnTo>
                <a:lnTo>
                  <a:pt x="1826" y="11558"/>
                </a:lnTo>
                <a:lnTo>
                  <a:pt x="1802" y="11607"/>
                </a:lnTo>
                <a:lnTo>
                  <a:pt x="1777" y="11680"/>
                </a:lnTo>
                <a:lnTo>
                  <a:pt x="1777" y="11826"/>
                </a:lnTo>
                <a:lnTo>
                  <a:pt x="1777" y="11899"/>
                </a:lnTo>
                <a:lnTo>
                  <a:pt x="1802" y="12021"/>
                </a:lnTo>
                <a:lnTo>
                  <a:pt x="1850" y="12094"/>
                </a:lnTo>
                <a:lnTo>
                  <a:pt x="1899" y="12142"/>
                </a:lnTo>
                <a:lnTo>
                  <a:pt x="1972" y="12167"/>
                </a:lnTo>
                <a:lnTo>
                  <a:pt x="2069" y="12167"/>
                </a:lnTo>
                <a:lnTo>
                  <a:pt x="2118" y="12142"/>
                </a:lnTo>
                <a:lnTo>
                  <a:pt x="2191" y="12094"/>
                </a:lnTo>
                <a:lnTo>
                  <a:pt x="2215" y="12021"/>
                </a:lnTo>
                <a:lnTo>
                  <a:pt x="2264" y="11875"/>
                </a:lnTo>
                <a:lnTo>
                  <a:pt x="2288" y="11753"/>
                </a:lnTo>
                <a:lnTo>
                  <a:pt x="2288" y="11680"/>
                </a:lnTo>
                <a:lnTo>
                  <a:pt x="2288" y="11607"/>
                </a:lnTo>
                <a:lnTo>
                  <a:pt x="2264" y="11534"/>
                </a:lnTo>
                <a:lnTo>
                  <a:pt x="2215" y="11485"/>
                </a:lnTo>
                <a:lnTo>
                  <a:pt x="2142" y="11437"/>
                </a:lnTo>
                <a:close/>
                <a:moveTo>
                  <a:pt x="10221" y="11753"/>
                </a:moveTo>
                <a:lnTo>
                  <a:pt x="10123" y="11802"/>
                </a:lnTo>
                <a:lnTo>
                  <a:pt x="10075" y="11875"/>
                </a:lnTo>
                <a:lnTo>
                  <a:pt x="10075" y="11996"/>
                </a:lnTo>
                <a:lnTo>
                  <a:pt x="10123" y="12094"/>
                </a:lnTo>
                <a:lnTo>
                  <a:pt x="10172" y="12191"/>
                </a:lnTo>
                <a:lnTo>
                  <a:pt x="10342" y="12337"/>
                </a:lnTo>
                <a:lnTo>
                  <a:pt x="10440" y="12410"/>
                </a:lnTo>
                <a:lnTo>
                  <a:pt x="10561" y="12483"/>
                </a:lnTo>
                <a:lnTo>
                  <a:pt x="10683" y="12532"/>
                </a:lnTo>
                <a:lnTo>
                  <a:pt x="10829" y="12532"/>
                </a:lnTo>
                <a:lnTo>
                  <a:pt x="10926" y="12507"/>
                </a:lnTo>
                <a:lnTo>
                  <a:pt x="10999" y="12459"/>
                </a:lnTo>
                <a:lnTo>
                  <a:pt x="11048" y="12386"/>
                </a:lnTo>
                <a:lnTo>
                  <a:pt x="11072" y="12313"/>
                </a:lnTo>
                <a:lnTo>
                  <a:pt x="11072" y="12240"/>
                </a:lnTo>
                <a:lnTo>
                  <a:pt x="11048" y="12167"/>
                </a:lnTo>
                <a:lnTo>
                  <a:pt x="10975" y="12094"/>
                </a:lnTo>
                <a:lnTo>
                  <a:pt x="10902" y="12045"/>
                </a:lnTo>
                <a:lnTo>
                  <a:pt x="10756" y="12021"/>
                </a:lnTo>
                <a:lnTo>
                  <a:pt x="10634" y="11948"/>
                </a:lnTo>
                <a:lnTo>
                  <a:pt x="10488" y="11826"/>
                </a:lnTo>
                <a:lnTo>
                  <a:pt x="10415" y="11777"/>
                </a:lnTo>
                <a:lnTo>
                  <a:pt x="10318" y="11753"/>
                </a:lnTo>
                <a:close/>
                <a:moveTo>
                  <a:pt x="15306" y="11996"/>
                </a:moveTo>
                <a:lnTo>
                  <a:pt x="15257" y="12045"/>
                </a:lnTo>
                <a:lnTo>
                  <a:pt x="15136" y="12167"/>
                </a:lnTo>
                <a:lnTo>
                  <a:pt x="15014" y="12288"/>
                </a:lnTo>
                <a:lnTo>
                  <a:pt x="14868" y="12386"/>
                </a:lnTo>
                <a:lnTo>
                  <a:pt x="14795" y="12434"/>
                </a:lnTo>
                <a:lnTo>
                  <a:pt x="14722" y="12483"/>
                </a:lnTo>
                <a:lnTo>
                  <a:pt x="14698" y="12532"/>
                </a:lnTo>
                <a:lnTo>
                  <a:pt x="14698" y="12605"/>
                </a:lnTo>
                <a:lnTo>
                  <a:pt x="14722" y="12653"/>
                </a:lnTo>
                <a:lnTo>
                  <a:pt x="14746" y="12678"/>
                </a:lnTo>
                <a:lnTo>
                  <a:pt x="14868" y="12726"/>
                </a:lnTo>
                <a:lnTo>
                  <a:pt x="14990" y="12726"/>
                </a:lnTo>
                <a:lnTo>
                  <a:pt x="15111" y="12702"/>
                </a:lnTo>
                <a:lnTo>
                  <a:pt x="15209" y="12629"/>
                </a:lnTo>
                <a:lnTo>
                  <a:pt x="15330" y="12556"/>
                </a:lnTo>
                <a:lnTo>
                  <a:pt x="15428" y="12483"/>
                </a:lnTo>
                <a:lnTo>
                  <a:pt x="15501" y="12386"/>
                </a:lnTo>
                <a:lnTo>
                  <a:pt x="15574" y="12288"/>
                </a:lnTo>
                <a:lnTo>
                  <a:pt x="15598" y="12215"/>
                </a:lnTo>
                <a:lnTo>
                  <a:pt x="15598" y="12142"/>
                </a:lnTo>
                <a:lnTo>
                  <a:pt x="15574" y="12094"/>
                </a:lnTo>
                <a:lnTo>
                  <a:pt x="15525" y="12045"/>
                </a:lnTo>
                <a:lnTo>
                  <a:pt x="15452" y="11996"/>
                </a:lnTo>
                <a:close/>
                <a:moveTo>
                  <a:pt x="14114" y="12605"/>
                </a:moveTo>
                <a:lnTo>
                  <a:pt x="14041" y="12629"/>
                </a:lnTo>
                <a:lnTo>
                  <a:pt x="13968" y="12678"/>
                </a:lnTo>
                <a:lnTo>
                  <a:pt x="13895" y="12726"/>
                </a:lnTo>
                <a:lnTo>
                  <a:pt x="13797" y="12751"/>
                </a:lnTo>
                <a:lnTo>
                  <a:pt x="13700" y="12751"/>
                </a:lnTo>
                <a:lnTo>
                  <a:pt x="13578" y="12775"/>
                </a:lnTo>
                <a:lnTo>
                  <a:pt x="13481" y="12848"/>
                </a:lnTo>
                <a:lnTo>
                  <a:pt x="13432" y="12872"/>
                </a:lnTo>
                <a:lnTo>
                  <a:pt x="13408" y="12921"/>
                </a:lnTo>
                <a:lnTo>
                  <a:pt x="13408" y="12970"/>
                </a:lnTo>
                <a:lnTo>
                  <a:pt x="13432" y="13018"/>
                </a:lnTo>
                <a:lnTo>
                  <a:pt x="13457" y="13091"/>
                </a:lnTo>
                <a:lnTo>
                  <a:pt x="13505" y="13116"/>
                </a:lnTo>
                <a:lnTo>
                  <a:pt x="13603" y="13164"/>
                </a:lnTo>
                <a:lnTo>
                  <a:pt x="13724" y="13189"/>
                </a:lnTo>
                <a:lnTo>
                  <a:pt x="13870" y="13189"/>
                </a:lnTo>
                <a:lnTo>
                  <a:pt x="14016" y="13164"/>
                </a:lnTo>
                <a:lnTo>
                  <a:pt x="14162" y="13091"/>
                </a:lnTo>
                <a:lnTo>
                  <a:pt x="14284" y="12994"/>
                </a:lnTo>
                <a:lnTo>
                  <a:pt x="14333" y="12945"/>
                </a:lnTo>
                <a:lnTo>
                  <a:pt x="14357" y="12872"/>
                </a:lnTo>
                <a:lnTo>
                  <a:pt x="14357" y="12799"/>
                </a:lnTo>
                <a:lnTo>
                  <a:pt x="14357" y="12726"/>
                </a:lnTo>
                <a:lnTo>
                  <a:pt x="14333" y="12678"/>
                </a:lnTo>
                <a:lnTo>
                  <a:pt x="14284" y="12653"/>
                </a:lnTo>
                <a:lnTo>
                  <a:pt x="14235" y="12605"/>
                </a:lnTo>
                <a:close/>
                <a:moveTo>
                  <a:pt x="6668" y="512"/>
                </a:moveTo>
                <a:lnTo>
                  <a:pt x="6887" y="755"/>
                </a:lnTo>
                <a:lnTo>
                  <a:pt x="7130" y="950"/>
                </a:lnTo>
                <a:lnTo>
                  <a:pt x="7398" y="1120"/>
                </a:lnTo>
                <a:lnTo>
                  <a:pt x="7666" y="1290"/>
                </a:lnTo>
                <a:lnTo>
                  <a:pt x="8250" y="1558"/>
                </a:lnTo>
                <a:lnTo>
                  <a:pt x="8834" y="1801"/>
                </a:lnTo>
                <a:lnTo>
                  <a:pt x="9320" y="2020"/>
                </a:lnTo>
                <a:lnTo>
                  <a:pt x="9807" y="2215"/>
                </a:lnTo>
                <a:lnTo>
                  <a:pt x="10780" y="2604"/>
                </a:lnTo>
                <a:lnTo>
                  <a:pt x="11194" y="2799"/>
                </a:lnTo>
                <a:lnTo>
                  <a:pt x="11559" y="3018"/>
                </a:lnTo>
                <a:lnTo>
                  <a:pt x="11729" y="3115"/>
                </a:lnTo>
                <a:lnTo>
                  <a:pt x="11924" y="3188"/>
                </a:lnTo>
                <a:lnTo>
                  <a:pt x="12094" y="3261"/>
                </a:lnTo>
                <a:lnTo>
                  <a:pt x="12240" y="3358"/>
                </a:lnTo>
                <a:lnTo>
                  <a:pt x="12264" y="3407"/>
                </a:lnTo>
                <a:lnTo>
                  <a:pt x="12313" y="3456"/>
                </a:lnTo>
                <a:lnTo>
                  <a:pt x="12410" y="3480"/>
                </a:lnTo>
                <a:lnTo>
                  <a:pt x="12435" y="3942"/>
                </a:lnTo>
                <a:lnTo>
                  <a:pt x="11851" y="3650"/>
                </a:lnTo>
                <a:lnTo>
                  <a:pt x="11389" y="3407"/>
                </a:lnTo>
                <a:lnTo>
                  <a:pt x="11170" y="3310"/>
                </a:lnTo>
                <a:lnTo>
                  <a:pt x="10926" y="3237"/>
                </a:lnTo>
                <a:lnTo>
                  <a:pt x="10878" y="3237"/>
                </a:lnTo>
                <a:lnTo>
                  <a:pt x="10853" y="3261"/>
                </a:lnTo>
                <a:lnTo>
                  <a:pt x="10853" y="3285"/>
                </a:lnTo>
                <a:lnTo>
                  <a:pt x="10853" y="3310"/>
                </a:lnTo>
                <a:lnTo>
                  <a:pt x="11024" y="3480"/>
                </a:lnTo>
                <a:lnTo>
                  <a:pt x="11218" y="3626"/>
                </a:lnTo>
                <a:lnTo>
                  <a:pt x="11608" y="3869"/>
                </a:lnTo>
                <a:lnTo>
                  <a:pt x="12045" y="4113"/>
                </a:lnTo>
                <a:lnTo>
                  <a:pt x="12459" y="4307"/>
                </a:lnTo>
                <a:lnTo>
                  <a:pt x="12483" y="4818"/>
                </a:lnTo>
                <a:lnTo>
                  <a:pt x="12337" y="4770"/>
                </a:lnTo>
                <a:lnTo>
                  <a:pt x="12216" y="4721"/>
                </a:lnTo>
                <a:lnTo>
                  <a:pt x="12021" y="4672"/>
                </a:lnTo>
                <a:lnTo>
                  <a:pt x="11729" y="4526"/>
                </a:lnTo>
                <a:lnTo>
                  <a:pt x="11413" y="4380"/>
                </a:lnTo>
                <a:lnTo>
                  <a:pt x="11218" y="4259"/>
                </a:lnTo>
                <a:lnTo>
                  <a:pt x="11121" y="4234"/>
                </a:lnTo>
                <a:lnTo>
                  <a:pt x="11024" y="4210"/>
                </a:lnTo>
                <a:lnTo>
                  <a:pt x="10975" y="4210"/>
                </a:lnTo>
                <a:lnTo>
                  <a:pt x="10951" y="4259"/>
                </a:lnTo>
                <a:lnTo>
                  <a:pt x="10951" y="4283"/>
                </a:lnTo>
                <a:lnTo>
                  <a:pt x="10951" y="4332"/>
                </a:lnTo>
                <a:lnTo>
                  <a:pt x="11024" y="4429"/>
                </a:lnTo>
                <a:lnTo>
                  <a:pt x="11121" y="4526"/>
                </a:lnTo>
                <a:lnTo>
                  <a:pt x="11218" y="4599"/>
                </a:lnTo>
                <a:lnTo>
                  <a:pt x="11340" y="4672"/>
                </a:lnTo>
                <a:lnTo>
                  <a:pt x="11608" y="4818"/>
                </a:lnTo>
                <a:lnTo>
                  <a:pt x="11826" y="4916"/>
                </a:lnTo>
                <a:lnTo>
                  <a:pt x="12143" y="5037"/>
                </a:lnTo>
                <a:lnTo>
                  <a:pt x="12313" y="5086"/>
                </a:lnTo>
                <a:lnTo>
                  <a:pt x="12410" y="5086"/>
                </a:lnTo>
                <a:lnTo>
                  <a:pt x="12483" y="5062"/>
                </a:lnTo>
                <a:lnTo>
                  <a:pt x="12483" y="5743"/>
                </a:lnTo>
                <a:lnTo>
                  <a:pt x="12289" y="5621"/>
                </a:lnTo>
                <a:lnTo>
                  <a:pt x="12094" y="5475"/>
                </a:lnTo>
                <a:lnTo>
                  <a:pt x="11608" y="5256"/>
                </a:lnTo>
                <a:lnTo>
                  <a:pt x="11194" y="5110"/>
                </a:lnTo>
                <a:lnTo>
                  <a:pt x="11024" y="5062"/>
                </a:lnTo>
                <a:lnTo>
                  <a:pt x="10926" y="5062"/>
                </a:lnTo>
                <a:lnTo>
                  <a:pt x="10902" y="5086"/>
                </a:lnTo>
                <a:lnTo>
                  <a:pt x="10878" y="5110"/>
                </a:lnTo>
                <a:lnTo>
                  <a:pt x="10951" y="5232"/>
                </a:lnTo>
                <a:lnTo>
                  <a:pt x="11024" y="5305"/>
                </a:lnTo>
                <a:lnTo>
                  <a:pt x="11121" y="5378"/>
                </a:lnTo>
                <a:lnTo>
                  <a:pt x="11267" y="5451"/>
                </a:lnTo>
                <a:lnTo>
                  <a:pt x="11535" y="5548"/>
                </a:lnTo>
                <a:lnTo>
                  <a:pt x="11754" y="5646"/>
                </a:lnTo>
                <a:lnTo>
                  <a:pt x="12094" y="5792"/>
                </a:lnTo>
                <a:lnTo>
                  <a:pt x="12240" y="5889"/>
                </a:lnTo>
                <a:lnTo>
                  <a:pt x="12386" y="6011"/>
                </a:lnTo>
                <a:lnTo>
                  <a:pt x="12483" y="6108"/>
                </a:lnTo>
                <a:lnTo>
                  <a:pt x="12483" y="6254"/>
                </a:lnTo>
                <a:lnTo>
                  <a:pt x="12337" y="6157"/>
                </a:lnTo>
                <a:lnTo>
                  <a:pt x="12191" y="6084"/>
                </a:lnTo>
                <a:lnTo>
                  <a:pt x="11899" y="5938"/>
                </a:lnTo>
                <a:lnTo>
                  <a:pt x="11705" y="5816"/>
                </a:lnTo>
                <a:lnTo>
                  <a:pt x="11510" y="5743"/>
                </a:lnTo>
                <a:lnTo>
                  <a:pt x="11291" y="5670"/>
                </a:lnTo>
                <a:lnTo>
                  <a:pt x="11194" y="5670"/>
                </a:lnTo>
                <a:lnTo>
                  <a:pt x="11097" y="5694"/>
                </a:lnTo>
                <a:lnTo>
                  <a:pt x="11072" y="5694"/>
                </a:lnTo>
                <a:lnTo>
                  <a:pt x="11072" y="5719"/>
                </a:lnTo>
                <a:lnTo>
                  <a:pt x="11145" y="5816"/>
                </a:lnTo>
                <a:lnTo>
                  <a:pt x="11218" y="5889"/>
                </a:lnTo>
                <a:lnTo>
                  <a:pt x="11413" y="6035"/>
                </a:lnTo>
                <a:lnTo>
                  <a:pt x="11826" y="6254"/>
                </a:lnTo>
                <a:lnTo>
                  <a:pt x="12143" y="6449"/>
                </a:lnTo>
                <a:lnTo>
                  <a:pt x="12289" y="6522"/>
                </a:lnTo>
                <a:lnTo>
                  <a:pt x="12459" y="6570"/>
                </a:lnTo>
                <a:lnTo>
                  <a:pt x="12459" y="6838"/>
                </a:lnTo>
                <a:lnTo>
                  <a:pt x="12459" y="6862"/>
                </a:lnTo>
                <a:lnTo>
                  <a:pt x="12337" y="6765"/>
                </a:lnTo>
                <a:lnTo>
                  <a:pt x="12216" y="6668"/>
                </a:lnTo>
                <a:lnTo>
                  <a:pt x="12094" y="6619"/>
                </a:lnTo>
                <a:lnTo>
                  <a:pt x="11924" y="6546"/>
                </a:lnTo>
                <a:lnTo>
                  <a:pt x="11729" y="6473"/>
                </a:lnTo>
                <a:lnTo>
                  <a:pt x="11486" y="6424"/>
                </a:lnTo>
                <a:lnTo>
                  <a:pt x="11267" y="6376"/>
                </a:lnTo>
                <a:lnTo>
                  <a:pt x="11072" y="6303"/>
                </a:lnTo>
                <a:lnTo>
                  <a:pt x="11048" y="6303"/>
                </a:lnTo>
                <a:lnTo>
                  <a:pt x="11048" y="6327"/>
                </a:lnTo>
                <a:lnTo>
                  <a:pt x="11145" y="6449"/>
                </a:lnTo>
                <a:lnTo>
                  <a:pt x="11267" y="6546"/>
                </a:lnTo>
                <a:lnTo>
                  <a:pt x="11389" y="6619"/>
                </a:lnTo>
                <a:lnTo>
                  <a:pt x="11535" y="6692"/>
                </a:lnTo>
                <a:lnTo>
                  <a:pt x="11948" y="6862"/>
                </a:lnTo>
                <a:lnTo>
                  <a:pt x="12143" y="6960"/>
                </a:lnTo>
                <a:lnTo>
                  <a:pt x="12216" y="7033"/>
                </a:lnTo>
                <a:lnTo>
                  <a:pt x="12289" y="7106"/>
                </a:lnTo>
                <a:lnTo>
                  <a:pt x="12362" y="7179"/>
                </a:lnTo>
                <a:lnTo>
                  <a:pt x="12459" y="7179"/>
                </a:lnTo>
                <a:lnTo>
                  <a:pt x="12459" y="7592"/>
                </a:lnTo>
                <a:lnTo>
                  <a:pt x="12264" y="7495"/>
                </a:lnTo>
                <a:lnTo>
                  <a:pt x="12070" y="7422"/>
                </a:lnTo>
                <a:lnTo>
                  <a:pt x="11802" y="7349"/>
                </a:lnTo>
                <a:lnTo>
                  <a:pt x="11389" y="7106"/>
                </a:lnTo>
                <a:lnTo>
                  <a:pt x="11121" y="7008"/>
                </a:lnTo>
                <a:lnTo>
                  <a:pt x="11024" y="6984"/>
                </a:lnTo>
                <a:lnTo>
                  <a:pt x="10999" y="6984"/>
                </a:lnTo>
                <a:lnTo>
                  <a:pt x="10975" y="7008"/>
                </a:lnTo>
                <a:lnTo>
                  <a:pt x="10975" y="7057"/>
                </a:lnTo>
                <a:lnTo>
                  <a:pt x="10975" y="7106"/>
                </a:lnTo>
                <a:lnTo>
                  <a:pt x="10999" y="7227"/>
                </a:lnTo>
                <a:lnTo>
                  <a:pt x="11097" y="7325"/>
                </a:lnTo>
                <a:lnTo>
                  <a:pt x="11194" y="7398"/>
                </a:lnTo>
                <a:lnTo>
                  <a:pt x="11437" y="7544"/>
                </a:lnTo>
                <a:lnTo>
                  <a:pt x="11632" y="7641"/>
                </a:lnTo>
                <a:lnTo>
                  <a:pt x="11997" y="7836"/>
                </a:lnTo>
                <a:lnTo>
                  <a:pt x="12240" y="7909"/>
                </a:lnTo>
                <a:lnTo>
                  <a:pt x="12362" y="7933"/>
                </a:lnTo>
                <a:lnTo>
                  <a:pt x="12459" y="7957"/>
                </a:lnTo>
                <a:lnTo>
                  <a:pt x="12459" y="8298"/>
                </a:lnTo>
                <a:lnTo>
                  <a:pt x="12216" y="8176"/>
                </a:lnTo>
                <a:lnTo>
                  <a:pt x="11972" y="8055"/>
                </a:lnTo>
                <a:lnTo>
                  <a:pt x="11754" y="7909"/>
                </a:lnTo>
                <a:lnTo>
                  <a:pt x="11535" y="7738"/>
                </a:lnTo>
                <a:lnTo>
                  <a:pt x="11413" y="7665"/>
                </a:lnTo>
                <a:lnTo>
                  <a:pt x="11291" y="7617"/>
                </a:lnTo>
                <a:lnTo>
                  <a:pt x="11170" y="7592"/>
                </a:lnTo>
                <a:lnTo>
                  <a:pt x="11048" y="7568"/>
                </a:lnTo>
                <a:lnTo>
                  <a:pt x="11048" y="7592"/>
                </a:lnTo>
                <a:lnTo>
                  <a:pt x="11024" y="7617"/>
                </a:lnTo>
                <a:lnTo>
                  <a:pt x="11072" y="7714"/>
                </a:lnTo>
                <a:lnTo>
                  <a:pt x="11145" y="7836"/>
                </a:lnTo>
                <a:lnTo>
                  <a:pt x="11243" y="7933"/>
                </a:lnTo>
                <a:lnTo>
                  <a:pt x="11364" y="8006"/>
                </a:lnTo>
                <a:lnTo>
                  <a:pt x="11583" y="8176"/>
                </a:lnTo>
                <a:lnTo>
                  <a:pt x="11802" y="8322"/>
                </a:lnTo>
                <a:lnTo>
                  <a:pt x="12118" y="8493"/>
                </a:lnTo>
                <a:lnTo>
                  <a:pt x="12289" y="8590"/>
                </a:lnTo>
                <a:lnTo>
                  <a:pt x="12459" y="8663"/>
                </a:lnTo>
                <a:lnTo>
                  <a:pt x="12483" y="9101"/>
                </a:lnTo>
                <a:lnTo>
                  <a:pt x="12435" y="9028"/>
                </a:lnTo>
                <a:lnTo>
                  <a:pt x="12386" y="8979"/>
                </a:lnTo>
                <a:lnTo>
                  <a:pt x="12216" y="8882"/>
                </a:lnTo>
                <a:lnTo>
                  <a:pt x="11899" y="8736"/>
                </a:lnTo>
                <a:lnTo>
                  <a:pt x="11559" y="8517"/>
                </a:lnTo>
                <a:lnTo>
                  <a:pt x="11364" y="8420"/>
                </a:lnTo>
                <a:lnTo>
                  <a:pt x="11291" y="8395"/>
                </a:lnTo>
                <a:lnTo>
                  <a:pt x="11194" y="8371"/>
                </a:lnTo>
                <a:lnTo>
                  <a:pt x="11170" y="8371"/>
                </a:lnTo>
                <a:lnTo>
                  <a:pt x="11170" y="8395"/>
                </a:lnTo>
                <a:lnTo>
                  <a:pt x="11194" y="8493"/>
                </a:lnTo>
                <a:lnTo>
                  <a:pt x="11218" y="8566"/>
                </a:lnTo>
                <a:lnTo>
                  <a:pt x="11364" y="8712"/>
                </a:lnTo>
                <a:lnTo>
                  <a:pt x="11535" y="8858"/>
                </a:lnTo>
                <a:lnTo>
                  <a:pt x="11681" y="8955"/>
                </a:lnTo>
                <a:lnTo>
                  <a:pt x="11851" y="9052"/>
                </a:lnTo>
                <a:lnTo>
                  <a:pt x="12070" y="9174"/>
                </a:lnTo>
                <a:lnTo>
                  <a:pt x="12167" y="9223"/>
                </a:lnTo>
                <a:lnTo>
                  <a:pt x="12264" y="9247"/>
                </a:lnTo>
                <a:lnTo>
                  <a:pt x="12362" y="9247"/>
                </a:lnTo>
                <a:lnTo>
                  <a:pt x="12459" y="9223"/>
                </a:lnTo>
                <a:lnTo>
                  <a:pt x="12483" y="9198"/>
                </a:lnTo>
                <a:lnTo>
                  <a:pt x="12508" y="10025"/>
                </a:lnTo>
                <a:lnTo>
                  <a:pt x="12386" y="9879"/>
                </a:lnTo>
                <a:lnTo>
                  <a:pt x="12240" y="9758"/>
                </a:lnTo>
                <a:lnTo>
                  <a:pt x="11924" y="9515"/>
                </a:lnTo>
                <a:lnTo>
                  <a:pt x="11608" y="9296"/>
                </a:lnTo>
                <a:lnTo>
                  <a:pt x="11267" y="9101"/>
                </a:lnTo>
                <a:lnTo>
                  <a:pt x="11243" y="9077"/>
                </a:lnTo>
                <a:lnTo>
                  <a:pt x="11218" y="9101"/>
                </a:lnTo>
                <a:lnTo>
                  <a:pt x="11218" y="9125"/>
                </a:lnTo>
                <a:lnTo>
                  <a:pt x="11218" y="9150"/>
                </a:lnTo>
                <a:lnTo>
                  <a:pt x="11340" y="9296"/>
                </a:lnTo>
                <a:lnTo>
                  <a:pt x="11462" y="9466"/>
                </a:lnTo>
                <a:lnTo>
                  <a:pt x="11608" y="9612"/>
                </a:lnTo>
                <a:lnTo>
                  <a:pt x="11754" y="9733"/>
                </a:lnTo>
                <a:lnTo>
                  <a:pt x="11924" y="9855"/>
                </a:lnTo>
                <a:lnTo>
                  <a:pt x="12094" y="9952"/>
                </a:lnTo>
                <a:lnTo>
                  <a:pt x="12289" y="10050"/>
                </a:lnTo>
                <a:lnTo>
                  <a:pt x="12459" y="10098"/>
                </a:lnTo>
                <a:lnTo>
                  <a:pt x="12508" y="10098"/>
                </a:lnTo>
                <a:lnTo>
                  <a:pt x="12508" y="10488"/>
                </a:lnTo>
                <a:lnTo>
                  <a:pt x="12289" y="10317"/>
                </a:lnTo>
                <a:lnTo>
                  <a:pt x="11802" y="10001"/>
                </a:lnTo>
                <a:lnTo>
                  <a:pt x="11608" y="9855"/>
                </a:lnTo>
                <a:lnTo>
                  <a:pt x="11486" y="9782"/>
                </a:lnTo>
                <a:lnTo>
                  <a:pt x="11389" y="9733"/>
                </a:lnTo>
                <a:lnTo>
                  <a:pt x="11364" y="9758"/>
                </a:lnTo>
                <a:lnTo>
                  <a:pt x="11364" y="9855"/>
                </a:lnTo>
                <a:lnTo>
                  <a:pt x="11389" y="9952"/>
                </a:lnTo>
                <a:lnTo>
                  <a:pt x="11437" y="10050"/>
                </a:lnTo>
                <a:lnTo>
                  <a:pt x="11510" y="10147"/>
                </a:lnTo>
                <a:lnTo>
                  <a:pt x="11681" y="10317"/>
                </a:lnTo>
                <a:lnTo>
                  <a:pt x="11851" y="10439"/>
                </a:lnTo>
                <a:lnTo>
                  <a:pt x="12094" y="10585"/>
                </a:lnTo>
                <a:lnTo>
                  <a:pt x="12313" y="10780"/>
                </a:lnTo>
                <a:lnTo>
                  <a:pt x="12410" y="10877"/>
                </a:lnTo>
                <a:lnTo>
                  <a:pt x="12508" y="10999"/>
                </a:lnTo>
                <a:lnTo>
                  <a:pt x="12483" y="11291"/>
                </a:lnTo>
                <a:lnTo>
                  <a:pt x="11875" y="10901"/>
                </a:lnTo>
                <a:lnTo>
                  <a:pt x="11705" y="10780"/>
                </a:lnTo>
                <a:lnTo>
                  <a:pt x="11535" y="10658"/>
                </a:lnTo>
                <a:lnTo>
                  <a:pt x="11462" y="10609"/>
                </a:lnTo>
                <a:lnTo>
                  <a:pt x="11364" y="10585"/>
                </a:lnTo>
                <a:lnTo>
                  <a:pt x="11267" y="10561"/>
                </a:lnTo>
                <a:lnTo>
                  <a:pt x="11145" y="10585"/>
                </a:lnTo>
                <a:lnTo>
                  <a:pt x="11121" y="10609"/>
                </a:lnTo>
                <a:lnTo>
                  <a:pt x="11145" y="10634"/>
                </a:lnTo>
                <a:lnTo>
                  <a:pt x="11291" y="10780"/>
                </a:lnTo>
                <a:lnTo>
                  <a:pt x="11413" y="10926"/>
                </a:lnTo>
                <a:lnTo>
                  <a:pt x="11535" y="11072"/>
                </a:lnTo>
                <a:lnTo>
                  <a:pt x="11705" y="11218"/>
                </a:lnTo>
                <a:lnTo>
                  <a:pt x="12070" y="11485"/>
                </a:lnTo>
                <a:lnTo>
                  <a:pt x="12483" y="11729"/>
                </a:lnTo>
                <a:lnTo>
                  <a:pt x="12459" y="12094"/>
                </a:lnTo>
                <a:lnTo>
                  <a:pt x="12191" y="11923"/>
                </a:lnTo>
                <a:lnTo>
                  <a:pt x="11948" y="11777"/>
                </a:lnTo>
                <a:lnTo>
                  <a:pt x="11559" y="11558"/>
                </a:lnTo>
                <a:lnTo>
                  <a:pt x="11170" y="11388"/>
                </a:lnTo>
                <a:lnTo>
                  <a:pt x="11145" y="11388"/>
                </a:lnTo>
                <a:lnTo>
                  <a:pt x="11145" y="11485"/>
                </a:lnTo>
                <a:lnTo>
                  <a:pt x="11170" y="11558"/>
                </a:lnTo>
                <a:lnTo>
                  <a:pt x="11243" y="11704"/>
                </a:lnTo>
                <a:lnTo>
                  <a:pt x="11364" y="11850"/>
                </a:lnTo>
                <a:lnTo>
                  <a:pt x="11510" y="11948"/>
                </a:lnTo>
                <a:lnTo>
                  <a:pt x="11754" y="12118"/>
                </a:lnTo>
                <a:lnTo>
                  <a:pt x="12021" y="12288"/>
                </a:lnTo>
                <a:lnTo>
                  <a:pt x="12216" y="12434"/>
                </a:lnTo>
                <a:lnTo>
                  <a:pt x="12435" y="12556"/>
                </a:lnTo>
                <a:lnTo>
                  <a:pt x="12435" y="12799"/>
                </a:lnTo>
                <a:lnTo>
                  <a:pt x="12337" y="12824"/>
                </a:lnTo>
                <a:lnTo>
                  <a:pt x="12264" y="12848"/>
                </a:lnTo>
                <a:lnTo>
                  <a:pt x="12143" y="12775"/>
                </a:lnTo>
                <a:lnTo>
                  <a:pt x="11972" y="12629"/>
                </a:lnTo>
                <a:lnTo>
                  <a:pt x="11802" y="12507"/>
                </a:lnTo>
                <a:lnTo>
                  <a:pt x="11632" y="12361"/>
                </a:lnTo>
                <a:lnTo>
                  <a:pt x="11462" y="12240"/>
                </a:lnTo>
                <a:lnTo>
                  <a:pt x="11413" y="12240"/>
                </a:lnTo>
                <a:lnTo>
                  <a:pt x="11413" y="12288"/>
                </a:lnTo>
                <a:lnTo>
                  <a:pt x="11413" y="12361"/>
                </a:lnTo>
                <a:lnTo>
                  <a:pt x="11413" y="12434"/>
                </a:lnTo>
                <a:lnTo>
                  <a:pt x="11486" y="12605"/>
                </a:lnTo>
                <a:lnTo>
                  <a:pt x="11389" y="12605"/>
                </a:lnTo>
                <a:lnTo>
                  <a:pt x="11267" y="12653"/>
                </a:lnTo>
                <a:lnTo>
                  <a:pt x="11243" y="12678"/>
                </a:lnTo>
                <a:lnTo>
                  <a:pt x="11218" y="12726"/>
                </a:lnTo>
                <a:lnTo>
                  <a:pt x="11218" y="12775"/>
                </a:lnTo>
                <a:lnTo>
                  <a:pt x="11218" y="12848"/>
                </a:lnTo>
                <a:lnTo>
                  <a:pt x="11291" y="12921"/>
                </a:lnTo>
                <a:lnTo>
                  <a:pt x="11364" y="12994"/>
                </a:lnTo>
                <a:lnTo>
                  <a:pt x="11486" y="13043"/>
                </a:lnTo>
                <a:lnTo>
                  <a:pt x="11583" y="13091"/>
                </a:lnTo>
                <a:lnTo>
                  <a:pt x="11705" y="13140"/>
                </a:lnTo>
                <a:lnTo>
                  <a:pt x="11802" y="13140"/>
                </a:lnTo>
                <a:lnTo>
                  <a:pt x="11924" y="13116"/>
                </a:lnTo>
                <a:lnTo>
                  <a:pt x="12021" y="13067"/>
                </a:lnTo>
                <a:lnTo>
                  <a:pt x="12240" y="13189"/>
                </a:lnTo>
                <a:lnTo>
                  <a:pt x="12410" y="13335"/>
                </a:lnTo>
                <a:lnTo>
                  <a:pt x="12386" y="13602"/>
                </a:lnTo>
                <a:lnTo>
                  <a:pt x="11802" y="13286"/>
                </a:lnTo>
                <a:lnTo>
                  <a:pt x="11510" y="13140"/>
                </a:lnTo>
                <a:lnTo>
                  <a:pt x="11194" y="13018"/>
                </a:lnTo>
                <a:lnTo>
                  <a:pt x="11170" y="13018"/>
                </a:lnTo>
                <a:lnTo>
                  <a:pt x="11145" y="13116"/>
                </a:lnTo>
                <a:lnTo>
                  <a:pt x="11170" y="13213"/>
                </a:lnTo>
                <a:lnTo>
                  <a:pt x="11218" y="13286"/>
                </a:lnTo>
                <a:lnTo>
                  <a:pt x="11291" y="13359"/>
                </a:lnTo>
                <a:lnTo>
                  <a:pt x="11437" y="13456"/>
                </a:lnTo>
                <a:lnTo>
                  <a:pt x="11608" y="13529"/>
                </a:lnTo>
                <a:lnTo>
                  <a:pt x="11802" y="13651"/>
                </a:lnTo>
                <a:lnTo>
                  <a:pt x="11997" y="13773"/>
                </a:lnTo>
                <a:lnTo>
                  <a:pt x="12191" y="13894"/>
                </a:lnTo>
                <a:lnTo>
                  <a:pt x="12386" y="14016"/>
                </a:lnTo>
                <a:lnTo>
                  <a:pt x="12386" y="14332"/>
                </a:lnTo>
                <a:lnTo>
                  <a:pt x="11851" y="13943"/>
                </a:lnTo>
                <a:lnTo>
                  <a:pt x="11705" y="13846"/>
                </a:lnTo>
                <a:lnTo>
                  <a:pt x="11510" y="13724"/>
                </a:lnTo>
                <a:lnTo>
                  <a:pt x="11413" y="13700"/>
                </a:lnTo>
                <a:lnTo>
                  <a:pt x="11316" y="13675"/>
                </a:lnTo>
                <a:lnTo>
                  <a:pt x="11218" y="13675"/>
                </a:lnTo>
                <a:lnTo>
                  <a:pt x="11121" y="13700"/>
                </a:lnTo>
                <a:lnTo>
                  <a:pt x="11121" y="13724"/>
                </a:lnTo>
                <a:lnTo>
                  <a:pt x="11121" y="13748"/>
                </a:lnTo>
                <a:lnTo>
                  <a:pt x="11145" y="13821"/>
                </a:lnTo>
                <a:lnTo>
                  <a:pt x="11218" y="13919"/>
                </a:lnTo>
                <a:lnTo>
                  <a:pt x="11364" y="14040"/>
                </a:lnTo>
                <a:lnTo>
                  <a:pt x="11729" y="14284"/>
                </a:lnTo>
                <a:lnTo>
                  <a:pt x="12045" y="14551"/>
                </a:lnTo>
                <a:lnTo>
                  <a:pt x="12191" y="14673"/>
                </a:lnTo>
                <a:lnTo>
                  <a:pt x="12386" y="14795"/>
                </a:lnTo>
                <a:lnTo>
                  <a:pt x="12386" y="15281"/>
                </a:lnTo>
                <a:lnTo>
                  <a:pt x="12289" y="15184"/>
                </a:lnTo>
                <a:lnTo>
                  <a:pt x="12167" y="15087"/>
                </a:lnTo>
                <a:lnTo>
                  <a:pt x="12021" y="14916"/>
                </a:lnTo>
                <a:lnTo>
                  <a:pt x="11851" y="14746"/>
                </a:lnTo>
                <a:lnTo>
                  <a:pt x="11656" y="14600"/>
                </a:lnTo>
                <a:lnTo>
                  <a:pt x="11413" y="14503"/>
                </a:lnTo>
                <a:lnTo>
                  <a:pt x="11170" y="14430"/>
                </a:lnTo>
                <a:lnTo>
                  <a:pt x="10926" y="14430"/>
                </a:lnTo>
                <a:lnTo>
                  <a:pt x="10902" y="14454"/>
                </a:lnTo>
                <a:lnTo>
                  <a:pt x="10902" y="14478"/>
                </a:lnTo>
                <a:lnTo>
                  <a:pt x="10975" y="14551"/>
                </a:lnTo>
                <a:lnTo>
                  <a:pt x="11024" y="14600"/>
                </a:lnTo>
                <a:lnTo>
                  <a:pt x="11194" y="14697"/>
                </a:lnTo>
                <a:lnTo>
                  <a:pt x="11462" y="14892"/>
                </a:lnTo>
                <a:lnTo>
                  <a:pt x="11608" y="14989"/>
                </a:lnTo>
                <a:lnTo>
                  <a:pt x="11729" y="15111"/>
                </a:lnTo>
                <a:lnTo>
                  <a:pt x="11875" y="15281"/>
                </a:lnTo>
                <a:lnTo>
                  <a:pt x="12021" y="15452"/>
                </a:lnTo>
                <a:lnTo>
                  <a:pt x="12118" y="15525"/>
                </a:lnTo>
                <a:lnTo>
                  <a:pt x="12191" y="15573"/>
                </a:lnTo>
                <a:lnTo>
                  <a:pt x="12313" y="15622"/>
                </a:lnTo>
                <a:lnTo>
                  <a:pt x="12410" y="15646"/>
                </a:lnTo>
                <a:lnTo>
                  <a:pt x="12435" y="16133"/>
                </a:lnTo>
                <a:lnTo>
                  <a:pt x="12386" y="16133"/>
                </a:lnTo>
                <a:lnTo>
                  <a:pt x="12362" y="16084"/>
                </a:lnTo>
                <a:lnTo>
                  <a:pt x="12240" y="15963"/>
                </a:lnTo>
                <a:lnTo>
                  <a:pt x="12070" y="15841"/>
                </a:lnTo>
                <a:lnTo>
                  <a:pt x="11754" y="15622"/>
                </a:lnTo>
                <a:lnTo>
                  <a:pt x="11413" y="15354"/>
                </a:lnTo>
                <a:lnTo>
                  <a:pt x="11243" y="15233"/>
                </a:lnTo>
                <a:lnTo>
                  <a:pt x="11072" y="15160"/>
                </a:lnTo>
                <a:lnTo>
                  <a:pt x="11048" y="15160"/>
                </a:lnTo>
                <a:lnTo>
                  <a:pt x="11024" y="15184"/>
                </a:lnTo>
                <a:lnTo>
                  <a:pt x="11048" y="15281"/>
                </a:lnTo>
                <a:lnTo>
                  <a:pt x="11072" y="15354"/>
                </a:lnTo>
                <a:lnTo>
                  <a:pt x="11170" y="15500"/>
                </a:lnTo>
                <a:lnTo>
                  <a:pt x="11291" y="15622"/>
                </a:lnTo>
                <a:lnTo>
                  <a:pt x="11437" y="15744"/>
                </a:lnTo>
                <a:lnTo>
                  <a:pt x="11218" y="15646"/>
                </a:lnTo>
                <a:lnTo>
                  <a:pt x="9564" y="14916"/>
                </a:lnTo>
                <a:lnTo>
                  <a:pt x="8055" y="14259"/>
                </a:lnTo>
                <a:lnTo>
                  <a:pt x="7301" y="13894"/>
                </a:lnTo>
                <a:lnTo>
                  <a:pt x="7130" y="13797"/>
                </a:lnTo>
                <a:lnTo>
                  <a:pt x="6863" y="13675"/>
                </a:lnTo>
                <a:lnTo>
                  <a:pt x="6863" y="13602"/>
                </a:lnTo>
                <a:lnTo>
                  <a:pt x="6814" y="12775"/>
                </a:lnTo>
                <a:lnTo>
                  <a:pt x="6765" y="11972"/>
                </a:lnTo>
                <a:lnTo>
                  <a:pt x="6692" y="11145"/>
                </a:lnTo>
                <a:lnTo>
                  <a:pt x="6668" y="10317"/>
                </a:lnTo>
                <a:lnTo>
                  <a:pt x="6668" y="9393"/>
                </a:lnTo>
                <a:lnTo>
                  <a:pt x="6692" y="8493"/>
                </a:lnTo>
                <a:lnTo>
                  <a:pt x="6717" y="7568"/>
                </a:lnTo>
                <a:lnTo>
                  <a:pt x="6717" y="6643"/>
                </a:lnTo>
                <a:lnTo>
                  <a:pt x="6717" y="5889"/>
                </a:lnTo>
                <a:lnTo>
                  <a:pt x="6863" y="5913"/>
                </a:lnTo>
                <a:lnTo>
                  <a:pt x="6936" y="5938"/>
                </a:lnTo>
                <a:lnTo>
                  <a:pt x="7033" y="5962"/>
                </a:lnTo>
                <a:lnTo>
                  <a:pt x="7130" y="5938"/>
                </a:lnTo>
                <a:lnTo>
                  <a:pt x="7228" y="5865"/>
                </a:lnTo>
                <a:lnTo>
                  <a:pt x="7252" y="5816"/>
                </a:lnTo>
                <a:lnTo>
                  <a:pt x="7276" y="5767"/>
                </a:lnTo>
                <a:lnTo>
                  <a:pt x="7276" y="5670"/>
                </a:lnTo>
                <a:lnTo>
                  <a:pt x="7252" y="5573"/>
                </a:lnTo>
                <a:lnTo>
                  <a:pt x="7179" y="5500"/>
                </a:lnTo>
                <a:lnTo>
                  <a:pt x="7082" y="5451"/>
                </a:lnTo>
                <a:lnTo>
                  <a:pt x="7033" y="5427"/>
                </a:lnTo>
                <a:lnTo>
                  <a:pt x="6960" y="5402"/>
                </a:lnTo>
                <a:lnTo>
                  <a:pt x="6887" y="5427"/>
                </a:lnTo>
                <a:lnTo>
                  <a:pt x="6814" y="5451"/>
                </a:lnTo>
                <a:lnTo>
                  <a:pt x="6790" y="5451"/>
                </a:lnTo>
                <a:lnTo>
                  <a:pt x="6692" y="5500"/>
                </a:lnTo>
                <a:lnTo>
                  <a:pt x="6644" y="3018"/>
                </a:lnTo>
                <a:lnTo>
                  <a:pt x="6644" y="1752"/>
                </a:lnTo>
                <a:lnTo>
                  <a:pt x="6668" y="512"/>
                </a:lnTo>
                <a:close/>
                <a:moveTo>
                  <a:pt x="6206" y="585"/>
                </a:moveTo>
                <a:lnTo>
                  <a:pt x="6181" y="852"/>
                </a:lnTo>
                <a:lnTo>
                  <a:pt x="6181" y="1096"/>
                </a:lnTo>
                <a:lnTo>
                  <a:pt x="6181" y="1874"/>
                </a:lnTo>
                <a:lnTo>
                  <a:pt x="6181" y="2653"/>
                </a:lnTo>
                <a:lnTo>
                  <a:pt x="6181" y="3602"/>
                </a:lnTo>
                <a:lnTo>
                  <a:pt x="6181" y="4551"/>
                </a:lnTo>
                <a:lnTo>
                  <a:pt x="6230" y="6449"/>
                </a:lnTo>
                <a:lnTo>
                  <a:pt x="6230" y="7373"/>
                </a:lnTo>
                <a:lnTo>
                  <a:pt x="6206" y="8298"/>
                </a:lnTo>
                <a:lnTo>
                  <a:pt x="6181" y="9198"/>
                </a:lnTo>
                <a:lnTo>
                  <a:pt x="6133" y="10123"/>
                </a:lnTo>
                <a:lnTo>
                  <a:pt x="6157" y="10926"/>
                </a:lnTo>
                <a:lnTo>
                  <a:pt x="6206" y="11729"/>
                </a:lnTo>
                <a:lnTo>
                  <a:pt x="6254" y="12532"/>
                </a:lnTo>
                <a:lnTo>
                  <a:pt x="6279" y="13335"/>
                </a:lnTo>
                <a:lnTo>
                  <a:pt x="6206" y="13359"/>
                </a:lnTo>
                <a:lnTo>
                  <a:pt x="5451" y="13748"/>
                </a:lnTo>
                <a:lnTo>
                  <a:pt x="4721" y="14186"/>
                </a:lnTo>
                <a:lnTo>
                  <a:pt x="3262" y="15087"/>
                </a:lnTo>
                <a:lnTo>
                  <a:pt x="2897" y="15281"/>
                </a:lnTo>
                <a:lnTo>
                  <a:pt x="2532" y="15476"/>
                </a:lnTo>
                <a:lnTo>
                  <a:pt x="2142" y="15671"/>
                </a:lnTo>
                <a:lnTo>
                  <a:pt x="1753" y="15841"/>
                </a:lnTo>
                <a:lnTo>
                  <a:pt x="950" y="16133"/>
                </a:lnTo>
                <a:lnTo>
                  <a:pt x="634" y="16255"/>
                </a:lnTo>
                <a:lnTo>
                  <a:pt x="634" y="16279"/>
                </a:lnTo>
                <a:lnTo>
                  <a:pt x="585" y="15938"/>
                </a:lnTo>
                <a:lnTo>
                  <a:pt x="561" y="15573"/>
                </a:lnTo>
                <a:lnTo>
                  <a:pt x="536" y="15208"/>
                </a:lnTo>
                <a:lnTo>
                  <a:pt x="512" y="14868"/>
                </a:lnTo>
                <a:lnTo>
                  <a:pt x="439" y="14430"/>
                </a:lnTo>
                <a:lnTo>
                  <a:pt x="415" y="13992"/>
                </a:lnTo>
                <a:lnTo>
                  <a:pt x="415" y="13578"/>
                </a:lnTo>
                <a:lnTo>
                  <a:pt x="439" y="13140"/>
                </a:lnTo>
                <a:lnTo>
                  <a:pt x="512" y="11461"/>
                </a:lnTo>
                <a:lnTo>
                  <a:pt x="561" y="10634"/>
                </a:lnTo>
                <a:lnTo>
                  <a:pt x="585" y="9782"/>
                </a:lnTo>
                <a:lnTo>
                  <a:pt x="609" y="8225"/>
                </a:lnTo>
                <a:lnTo>
                  <a:pt x="609" y="6668"/>
                </a:lnTo>
                <a:lnTo>
                  <a:pt x="561" y="5110"/>
                </a:lnTo>
                <a:lnTo>
                  <a:pt x="536" y="4356"/>
                </a:lnTo>
                <a:lnTo>
                  <a:pt x="488" y="3577"/>
                </a:lnTo>
                <a:lnTo>
                  <a:pt x="609" y="3504"/>
                </a:lnTo>
                <a:lnTo>
                  <a:pt x="755" y="3407"/>
                </a:lnTo>
                <a:lnTo>
                  <a:pt x="1145" y="3164"/>
                </a:lnTo>
                <a:lnTo>
                  <a:pt x="1558" y="2920"/>
                </a:lnTo>
                <a:lnTo>
                  <a:pt x="2337" y="2507"/>
                </a:lnTo>
                <a:lnTo>
                  <a:pt x="3116" y="2093"/>
                </a:lnTo>
                <a:lnTo>
                  <a:pt x="3529" y="1850"/>
                </a:lnTo>
                <a:lnTo>
                  <a:pt x="3967" y="1655"/>
                </a:lnTo>
                <a:lnTo>
                  <a:pt x="4405" y="1461"/>
                </a:lnTo>
                <a:lnTo>
                  <a:pt x="4843" y="1290"/>
                </a:lnTo>
                <a:lnTo>
                  <a:pt x="5208" y="1144"/>
                </a:lnTo>
                <a:lnTo>
                  <a:pt x="5549" y="974"/>
                </a:lnTo>
                <a:lnTo>
                  <a:pt x="6206" y="585"/>
                </a:lnTo>
                <a:close/>
                <a:moveTo>
                  <a:pt x="18542" y="804"/>
                </a:moveTo>
                <a:lnTo>
                  <a:pt x="18518" y="1023"/>
                </a:lnTo>
                <a:lnTo>
                  <a:pt x="18518" y="1266"/>
                </a:lnTo>
                <a:lnTo>
                  <a:pt x="18518" y="1752"/>
                </a:lnTo>
                <a:lnTo>
                  <a:pt x="18567" y="2263"/>
                </a:lnTo>
                <a:lnTo>
                  <a:pt x="18567" y="2726"/>
                </a:lnTo>
                <a:lnTo>
                  <a:pt x="18542" y="4648"/>
                </a:lnTo>
                <a:lnTo>
                  <a:pt x="18494" y="6546"/>
                </a:lnTo>
                <a:lnTo>
                  <a:pt x="18469" y="8249"/>
                </a:lnTo>
                <a:lnTo>
                  <a:pt x="18494" y="9952"/>
                </a:lnTo>
                <a:lnTo>
                  <a:pt x="18567" y="13359"/>
                </a:lnTo>
                <a:lnTo>
                  <a:pt x="18542" y="13359"/>
                </a:lnTo>
                <a:lnTo>
                  <a:pt x="18396" y="13505"/>
                </a:lnTo>
                <a:lnTo>
                  <a:pt x="18226" y="13651"/>
                </a:lnTo>
                <a:lnTo>
                  <a:pt x="18031" y="13748"/>
                </a:lnTo>
                <a:lnTo>
                  <a:pt x="17837" y="13846"/>
                </a:lnTo>
                <a:lnTo>
                  <a:pt x="17423" y="14016"/>
                </a:lnTo>
                <a:lnTo>
                  <a:pt x="17009" y="14186"/>
                </a:lnTo>
                <a:lnTo>
                  <a:pt x="16474" y="14454"/>
                </a:lnTo>
                <a:lnTo>
                  <a:pt x="15963" y="14746"/>
                </a:lnTo>
                <a:lnTo>
                  <a:pt x="15452" y="15038"/>
                </a:lnTo>
                <a:lnTo>
                  <a:pt x="14941" y="15330"/>
                </a:lnTo>
                <a:lnTo>
                  <a:pt x="14479" y="15598"/>
                </a:lnTo>
                <a:lnTo>
                  <a:pt x="14016" y="15865"/>
                </a:lnTo>
                <a:lnTo>
                  <a:pt x="13773" y="15987"/>
                </a:lnTo>
                <a:lnTo>
                  <a:pt x="13530" y="16109"/>
                </a:lnTo>
                <a:lnTo>
                  <a:pt x="13286" y="16182"/>
                </a:lnTo>
                <a:lnTo>
                  <a:pt x="13043" y="16255"/>
                </a:lnTo>
                <a:lnTo>
                  <a:pt x="12921" y="16303"/>
                </a:lnTo>
                <a:lnTo>
                  <a:pt x="12921" y="15987"/>
                </a:lnTo>
                <a:lnTo>
                  <a:pt x="12897" y="15671"/>
                </a:lnTo>
                <a:lnTo>
                  <a:pt x="12873" y="15379"/>
                </a:lnTo>
                <a:lnTo>
                  <a:pt x="12848" y="15062"/>
                </a:lnTo>
                <a:lnTo>
                  <a:pt x="12824" y="14770"/>
                </a:lnTo>
                <a:lnTo>
                  <a:pt x="12824" y="14016"/>
                </a:lnTo>
                <a:lnTo>
                  <a:pt x="12848" y="13943"/>
                </a:lnTo>
                <a:lnTo>
                  <a:pt x="12848" y="13894"/>
                </a:lnTo>
                <a:lnTo>
                  <a:pt x="12848" y="13359"/>
                </a:lnTo>
                <a:lnTo>
                  <a:pt x="12946" y="13335"/>
                </a:lnTo>
                <a:lnTo>
                  <a:pt x="13019" y="13310"/>
                </a:lnTo>
                <a:lnTo>
                  <a:pt x="13092" y="13262"/>
                </a:lnTo>
                <a:lnTo>
                  <a:pt x="13140" y="13213"/>
                </a:lnTo>
                <a:lnTo>
                  <a:pt x="13165" y="13116"/>
                </a:lnTo>
                <a:lnTo>
                  <a:pt x="13165" y="13018"/>
                </a:lnTo>
                <a:lnTo>
                  <a:pt x="13116" y="12921"/>
                </a:lnTo>
                <a:lnTo>
                  <a:pt x="13043" y="12872"/>
                </a:lnTo>
                <a:lnTo>
                  <a:pt x="12970" y="12848"/>
                </a:lnTo>
                <a:lnTo>
                  <a:pt x="12873" y="12848"/>
                </a:lnTo>
                <a:lnTo>
                  <a:pt x="12921" y="11826"/>
                </a:lnTo>
                <a:lnTo>
                  <a:pt x="12970" y="10804"/>
                </a:lnTo>
                <a:lnTo>
                  <a:pt x="12970" y="9806"/>
                </a:lnTo>
                <a:lnTo>
                  <a:pt x="12946" y="8809"/>
                </a:lnTo>
                <a:lnTo>
                  <a:pt x="12897" y="7836"/>
                </a:lnTo>
                <a:lnTo>
                  <a:pt x="12897" y="6838"/>
                </a:lnTo>
                <a:lnTo>
                  <a:pt x="12946" y="5986"/>
                </a:lnTo>
                <a:lnTo>
                  <a:pt x="12970" y="5110"/>
                </a:lnTo>
                <a:lnTo>
                  <a:pt x="12970" y="4672"/>
                </a:lnTo>
                <a:lnTo>
                  <a:pt x="12946" y="4234"/>
                </a:lnTo>
                <a:lnTo>
                  <a:pt x="12897" y="3821"/>
                </a:lnTo>
                <a:lnTo>
                  <a:pt x="12800" y="3383"/>
                </a:lnTo>
                <a:lnTo>
                  <a:pt x="13067" y="3285"/>
                </a:lnTo>
                <a:lnTo>
                  <a:pt x="13335" y="3164"/>
                </a:lnTo>
                <a:lnTo>
                  <a:pt x="13603" y="3042"/>
                </a:lnTo>
                <a:lnTo>
                  <a:pt x="13870" y="2920"/>
                </a:lnTo>
                <a:lnTo>
                  <a:pt x="14235" y="2750"/>
                </a:lnTo>
                <a:lnTo>
                  <a:pt x="14600" y="2555"/>
                </a:lnTo>
                <a:lnTo>
                  <a:pt x="15306" y="2142"/>
                </a:lnTo>
                <a:lnTo>
                  <a:pt x="15963" y="1752"/>
                </a:lnTo>
                <a:lnTo>
                  <a:pt x="16304" y="1558"/>
                </a:lnTo>
                <a:lnTo>
                  <a:pt x="16644" y="1388"/>
                </a:lnTo>
                <a:lnTo>
                  <a:pt x="17009" y="1242"/>
                </a:lnTo>
                <a:lnTo>
                  <a:pt x="17350" y="1096"/>
                </a:lnTo>
                <a:lnTo>
                  <a:pt x="17715" y="974"/>
                </a:lnTo>
                <a:lnTo>
                  <a:pt x="18104" y="877"/>
                </a:lnTo>
                <a:lnTo>
                  <a:pt x="18153" y="877"/>
                </a:lnTo>
                <a:lnTo>
                  <a:pt x="18202" y="828"/>
                </a:lnTo>
                <a:lnTo>
                  <a:pt x="18372" y="828"/>
                </a:lnTo>
                <a:lnTo>
                  <a:pt x="18542" y="804"/>
                </a:lnTo>
                <a:close/>
                <a:moveTo>
                  <a:pt x="6279" y="1"/>
                </a:moveTo>
                <a:lnTo>
                  <a:pt x="6206" y="25"/>
                </a:lnTo>
                <a:lnTo>
                  <a:pt x="5403" y="487"/>
                </a:lnTo>
                <a:lnTo>
                  <a:pt x="4989" y="682"/>
                </a:lnTo>
                <a:lnTo>
                  <a:pt x="4551" y="852"/>
                </a:lnTo>
                <a:lnTo>
                  <a:pt x="4113" y="1023"/>
                </a:lnTo>
                <a:lnTo>
                  <a:pt x="3700" y="1217"/>
                </a:lnTo>
                <a:lnTo>
                  <a:pt x="3286" y="1436"/>
                </a:lnTo>
                <a:lnTo>
                  <a:pt x="2872" y="1679"/>
                </a:lnTo>
                <a:lnTo>
                  <a:pt x="2021" y="2117"/>
                </a:lnTo>
                <a:lnTo>
                  <a:pt x="1607" y="2361"/>
                </a:lnTo>
                <a:lnTo>
                  <a:pt x="1193" y="2604"/>
                </a:lnTo>
                <a:lnTo>
                  <a:pt x="974" y="2726"/>
                </a:lnTo>
                <a:lnTo>
                  <a:pt x="731" y="2896"/>
                </a:lnTo>
                <a:lnTo>
                  <a:pt x="488" y="3066"/>
                </a:lnTo>
                <a:lnTo>
                  <a:pt x="390" y="3188"/>
                </a:lnTo>
                <a:lnTo>
                  <a:pt x="317" y="3285"/>
                </a:lnTo>
                <a:lnTo>
                  <a:pt x="269" y="3310"/>
                </a:lnTo>
                <a:lnTo>
                  <a:pt x="220" y="3358"/>
                </a:lnTo>
                <a:lnTo>
                  <a:pt x="171" y="3480"/>
                </a:lnTo>
                <a:lnTo>
                  <a:pt x="123" y="3626"/>
                </a:lnTo>
                <a:lnTo>
                  <a:pt x="98" y="3894"/>
                </a:lnTo>
                <a:lnTo>
                  <a:pt x="98" y="4186"/>
                </a:lnTo>
                <a:lnTo>
                  <a:pt x="123" y="4453"/>
                </a:lnTo>
                <a:lnTo>
                  <a:pt x="147" y="5329"/>
                </a:lnTo>
                <a:lnTo>
                  <a:pt x="171" y="6205"/>
                </a:lnTo>
                <a:lnTo>
                  <a:pt x="171" y="8006"/>
                </a:lnTo>
                <a:lnTo>
                  <a:pt x="147" y="9782"/>
                </a:lnTo>
                <a:lnTo>
                  <a:pt x="123" y="10658"/>
                </a:lnTo>
                <a:lnTo>
                  <a:pt x="98" y="11558"/>
                </a:lnTo>
                <a:lnTo>
                  <a:pt x="1" y="13335"/>
                </a:lnTo>
                <a:lnTo>
                  <a:pt x="1" y="13700"/>
                </a:lnTo>
                <a:lnTo>
                  <a:pt x="1" y="14065"/>
                </a:lnTo>
                <a:lnTo>
                  <a:pt x="25" y="14454"/>
                </a:lnTo>
                <a:lnTo>
                  <a:pt x="50" y="14819"/>
                </a:lnTo>
                <a:lnTo>
                  <a:pt x="98" y="15233"/>
                </a:lnTo>
                <a:lnTo>
                  <a:pt x="123" y="15646"/>
                </a:lnTo>
                <a:lnTo>
                  <a:pt x="147" y="16060"/>
                </a:lnTo>
                <a:lnTo>
                  <a:pt x="171" y="16255"/>
                </a:lnTo>
                <a:lnTo>
                  <a:pt x="220" y="16474"/>
                </a:lnTo>
                <a:lnTo>
                  <a:pt x="244" y="16547"/>
                </a:lnTo>
                <a:lnTo>
                  <a:pt x="317" y="16595"/>
                </a:lnTo>
                <a:lnTo>
                  <a:pt x="390" y="16620"/>
                </a:lnTo>
                <a:lnTo>
                  <a:pt x="463" y="16620"/>
                </a:lnTo>
                <a:lnTo>
                  <a:pt x="536" y="16644"/>
                </a:lnTo>
                <a:lnTo>
                  <a:pt x="707" y="16620"/>
                </a:lnTo>
                <a:lnTo>
                  <a:pt x="877" y="16595"/>
                </a:lnTo>
                <a:lnTo>
                  <a:pt x="1218" y="16474"/>
                </a:lnTo>
                <a:lnTo>
                  <a:pt x="1850" y="16230"/>
                </a:lnTo>
                <a:lnTo>
                  <a:pt x="2240" y="16060"/>
                </a:lnTo>
                <a:lnTo>
                  <a:pt x="2605" y="15890"/>
                </a:lnTo>
                <a:lnTo>
                  <a:pt x="2970" y="15719"/>
                </a:lnTo>
                <a:lnTo>
                  <a:pt x="3310" y="15525"/>
                </a:lnTo>
                <a:lnTo>
                  <a:pt x="4064" y="15062"/>
                </a:lnTo>
                <a:lnTo>
                  <a:pt x="4819" y="14624"/>
                </a:lnTo>
                <a:lnTo>
                  <a:pt x="5549" y="14162"/>
                </a:lnTo>
                <a:lnTo>
                  <a:pt x="5938" y="13967"/>
                </a:lnTo>
                <a:lnTo>
                  <a:pt x="6327" y="13748"/>
                </a:lnTo>
                <a:lnTo>
                  <a:pt x="6400" y="13821"/>
                </a:lnTo>
                <a:lnTo>
                  <a:pt x="6473" y="13870"/>
                </a:lnTo>
                <a:lnTo>
                  <a:pt x="6546" y="13894"/>
                </a:lnTo>
                <a:lnTo>
                  <a:pt x="6644" y="13870"/>
                </a:lnTo>
                <a:lnTo>
                  <a:pt x="6741" y="13992"/>
                </a:lnTo>
                <a:lnTo>
                  <a:pt x="6863" y="14089"/>
                </a:lnTo>
                <a:lnTo>
                  <a:pt x="7130" y="14259"/>
                </a:lnTo>
                <a:lnTo>
                  <a:pt x="7422" y="14405"/>
                </a:lnTo>
                <a:lnTo>
                  <a:pt x="7690" y="14551"/>
                </a:lnTo>
                <a:lnTo>
                  <a:pt x="8517" y="14916"/>
                </a:lnTo>
                <a:lnTo>
                  <a:pt x="9345" y="15306"/>
                </a:lnTo>
                <a:lnTo>
                  <a:pt x="10878" y="16011"/>
                </a:lnTo>
                <a:lnTo>
                  <a:pt x="11656" y="16352"/>
                </a:lnTo>
                <a:lnTo>
                  <a:pt x="12435" y="16644"/>
                </a:lnTo>
                <a:lnTo>
                  <a:pt x="12459" y="16668"/>
                </a:lnTo>
                <a:lnTo>
                  <a:pt x="12508" y="16741"/>
                </a:lnTo>
                <a:lnTo>
                  <a:pt x="12581" y="16766"/>
                </a:lnTo>
                <a:lnTo>
                  <a:pt x="12678" y="16766"/>
                </a:lnTo>
                <a:lnTo>
                  <a:pt x="12751" y="16741"/>
                </a:lnTo>
                <a:lnTo>
                  <a:pt x="12800" y="16693"/>
                </a:lnTo>
                <a:lnTo>
                  <a:pt x="12897" y="16717"/>
                </a:lnTo>
                <a:lnTo>
                  <a:pt x="13019" y="16717"/>
                </a:lnTo>
                <a:lnTo>
                  <a:pt x="13286" y="16668"/>
                </a:lnTo>
                <a:lnTo>
                  <a:pt x="13530" y="16595"/>
                </a:lnTo>
                <a:lnTo>
                  <a:pt x="13724" y="16522"/>
                </a:lnTo>
                <a:lnTo>
                  <a:pt x="14211" y="16279"/>
                </a:lnTo>
                <a:lnTo>
                  <a:pt x="14698" y="16036"/>
                </a:lnTo>
                <a:lnTo>
                  <a:pt x="15647" y="15500"/>
                </a:lnTo>
                <a:lnTo>
                  <a:pt x="16596" y="14965"/>
                </a:lnTo>
                <a:lnTo>
                  <a:pt x="17058" y="14697"/>
                </a:lnTo>
                <a:lnTo>
                  <a:pt x="17545" y="14478"/>
                </a:lnTo>
                <a:lnTo>
                  <a:pt x="17885" y="14332"/>
                </a:lnTo>
                <a:lnTo>
                  <a:pt x="18226" y="14186"/>
                </a:lnTo>
                <a:lnTo>
                  <a:pt x="18542" y="14016"/>
                </a:lnTo>
                <a:lnTo>
                  <a:pt x="18688" y="13894"/>
                </a:lnTo>
                <a:lnTo>
                  <a:pt x="18834" y="13773"/>
                </a:lnTo>
                <a:lnTo>
                  <a:pt x="18883" y="13748"/>
                </a:lnTo>
                <a:lnTo>
                  <a:pt x="18932" y="13724"/>
                </a:lnTo>
                <a:lnTo>
                  <a:pt x="18980" y="13651"/>
                </a:lnTo>
                <a:lnTo>
                  <a:pt x="18980" y="13578"/>
                </a:lnTo>
                <a:lnTo>
                  <a:pt x="18980" y="12726"/>
                </a:lnTo>
                <a:lnTo>
                  <a:pt x="18956" y="11875"/>
                </a:lnTo>
                <a:lnTo>
                  <a:pt x="18883" y="10171"/>
                </a:lnTo>
                <a:lnTo>
                  <a:pt x="18859" y="9271"/>
                </a:lnTo>
                <a:lnTo>
                  <a:pt x="18859" y="8347"/>
                </a:lnTo>
                <a:lnTo>
                  <a:pt x="18883" y="6546"/>
                </a:lnTo>
                <a:lnTo>
                  <a:pt x="18932" y="4648"/>
                </a:lnTo>
                <a:lnTo>
                  <a:pt x="18956" y="2726"/>
                </a:lnTo>
                <a:lnTo>
                  <a:pt x="18980" y="2215"/>
                </a:lnTo>
                <a:lnTo>
                  <a:pt x="18980" y="1679"/>
                </a:lnTo>
                <a:lnTo>
                  <a:pt x="18932" y="1144"/>
                </a:lnTo>
                <a:lnTo>
                  <a:pt x="18883" y="901"/>
                </a:lnTo>
                <a:lnTo>
                  <a:pt x="18834" y="633"/>
                </a:lnTo>
                <a:lnTo>
                  <a:pt x="18883" y="585"/>
                </a:lnTo>
                <a:lnTo>
                  <a:pt x="18883" y="512"/>
                </a:lnTo>
                <a:lnTo>
                  <a:pt x="18883" y="439"/>
                </a:lnTo>
                <a:lnTo>
                  <a:pt x="18834" y="366"/>
                </a:lnTo>
                <a:lnTo>
                  <a:pt x="18761" y="293"/>
                </a:lnTo>
                <a:lnTo>
                  <a:pt x="18664" y="244"/>
                </a:lnTo>
                <a:lnTo>
                  <a:pt x="18421" y="244"/>
                </a:lnTo>
                <a:lnTo>
                  <a:pt x="18177" y="317"/>
                </a:lnTo>
                <a:lnTo>
                  <a:pt x="17958" y="414"/>
                </a:lnTo>
                <a:lnTo>
                  <a:pt x="17715" y="487"/>
                </a:lnTo>
                <a:lnTo>
                  <a:pt x="17374" y="585"/>
                </a:lnTo>
                <a:lnTo>
                  <a:pt x="17058" y="706"/>
                </a:lnTo>
                <a:lnTo>
                  <a:pt x="16742" y="828"/>
                </a:lnTo>
                <a:lnTo>
                  <a:pt x="16425" y="974"/>
                </a:lnTo>
                <a:lnTo>
                  <a:pt x="15817" y="1290"/>
                </a:lnTo>
                <a:lnTo>
                  <a:pt x="15209" y="1655"/>
                </a:lnTo>
                <a:lnTo>
                  <a:pt x="14479" y="2117"/>
                </a:lnTo>
                <a:lnTo>
                  <a:pt x="14089" y="2312"/>
                </a:lnTo>
                <a:lnTo>
                  <a:pt x="13700" y="2507"/>
                </a:lnTo>
                <a:lnTo>
                  <a:pt x="13432" y="2628"/>
                </a:lnTo>
                <a:lnTo>
                  <a:pt x="13165" y="2750"/>
                </a:lnTo>
                <a:lnTo>
                  <a:pt x="12897" y="2920"/>
                </a:lnTo>
                <a:lnTo>
                  <a:pt x="12654" y="3091"/>
                </a:lnTo>
                <a:lnTo>
                  <a:pt x="12532" y="2969"/>
                </a:lnTo>
                <a:lnTo>
                  <a:pt x="12386" y="2896"/>
                </a:lnTo>
                <a:lnTo>
                  <a:pt x="12070" y="2750"/>
                </a:lnTo>
                <a:lnTo>
                  <a:pt x="11875" y="2653"/>
                </a:lnTo>
                <a:lnTo>
                  <a:pt x="11705" y="2555"/>
                </a:lnTo>
                <a:lnTo>
                  <a:pt x="11316" y="2336"/>
                </a:lnTo>
                <a:lnTo>
                  <a:pt x="11072" y="2190"/>
                </a:lnTo>
                <a:lnTo>
                  <a:pt x="10805" y="2093"/>
                </a:lnTo>
                <a:lnTo>
                  <a:pt x="10294" y="1874"/>
                </a:lnTo>
                <a:lnTo>
                  <a:pt x="9758" y="1679"/>
                </a:lnTo>
                <a:lnTo>
                  <a:pt x="9223" y="1485"/>
                </a:lnTo>
                <a:lnTo>
                  <a:pt x="8298" y="1071"/>
                </a:lnTo>
                <a:lnTo>
                  <a:pt x="7836" y="852"/>
                </a:lnTo>
                <a:lnTo>
                  <a:pt x="7398" y="609"/>
                </a:lnTo>
                <a:lnTo>
                  <a:pt x="7325" y="536"/>
                </a:lnTo>
                <a:lnTo>
                  <a:pt x="7228" y="439"/>
                </a:lnTo>
                <a:lnTo>
                  <a:pt x="7057" y="244"/>
                </a:lnTo>
                <a:lnTo>
                  <a:pt x="6936" y="147"/>
                </a:lnTo>
                <a:lnTo>
                  <a:pt x="6838" y="74"/>
                </a:lnTo>
                <a:lnTo>
                  <a:pt x="6741" y="25"/>
                </a:lnTo>
                <a:lnTo>
                  <a:pt x="6619" y="25"/>
                </a:lnTo>
                <a:lnTo>
                  <a:pt x="6571" y="1"/>
                </a:lnTo>
                <a:lnTo>
                  <a:pt x="6498" y="1"/>
                </a:lnTo>
                <a:lnTo>
                  <a:pt x="6449" y="25"/>
                </a:lnTo>
                <a:lnTo>
                  <a:pt x="640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 name="TextBox 8">
            <a:extLst>
              <a:ext uri="{FF2B5EF4-FFF2-40B4-BE49-F238E27FC236}">
                <a16:creationId xmlns:a16="http://schemas.microsoft.com/office/drawing/2014/main" id="{77707C74-2D5E-DB08-9E5D-02E44A666A41}"/>
              </a:ext>
            </a:extLst>
          </p:cNvPr>
          <p:cNvSpPr txBox="1"/>
          <p:nvPr/>
        </p:nvSpPr>
        <p:spPr>
          <a:xfrm>
            <a:off x="278658" y="1616029"/>
            <a:ext cx="7131792" cy="430887"/>
          </a:xfrm>
          <a:prstGeom prst="rect">
            <a:avLst/>
          </a:prstGeom>
          <a:noFill/>
        </p:spPr>
        <p:txBody>
          <a:bodyPr wrap="square">
            <a:spAutoFit/>
          </a:bodyPr>
          <a:lstStyle/>
          <a:p>
            <a:pPr lvl="0" algn="l">
              <a:spcBef>
                <a:spcPts val="0"/>
              </a:spcBef>
              <a:spcAft>
                <a:spcPts val="0"/>
              </a:spcAft>
            </a:pPr>
            <a:r>
              <a:rPr lang="da-DK" sz="2200" b="1">
                <a:latin typeface="Amatic SC"/>
                <a:cs typeface="Amatic SC"/>
                <a:sym typeface="Quicksand"/>
              </a:rPr>
              <a:t>Evalueringen viser, at:</a:t>
            </a:r>
            <a:endParaRPr lang="da-DK" sz="2200" b="1">
              <a:latin typeface="Quicksand"/>
              <a:ea typeface="Quicksand"/>
              <a:cs typeface="Quicksand"/>
              <a:sym typeface="Quicksand"/>
            </a:endParaRPr>
          </a:p>
        </p:txBody>
      </p:sp>
      <p:sp>
        <p:nvSpPr>
          <p:cNvPr id="3" name="Oval 5">
            <a:extLst>
              <a:ext uri="{FF2B5EF4-FFF2-40B4-BE49-F238E27FC236}">
                <a16:creationId xmlns:a16="http://schemas.microsoft.com/office/drawing/2014/main" id="{B0108705-544C-5FF5-B8B8-5990939A8915}"/>
              </a:ext>
            </a:extLst>
          </p:cNvPr>
          <p:cNvSpPr/>
          <p:nvPr/>
        </p:nvSpPr>
        <p:spPr>
          <a:xfrm>
            <a:off x="346519" y="2326640"/>
            <a:ext cx="345600" cy="345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1</a:t>
            </a:r>
            <a:endParaRPr lang="da-DK" sz="2000" noProof="0" dirty="0">
              <a:latin typeface="Quicksand" panose="020B0604020202020204" charset="0"/>
              <a:cs typeface="Quicksand" panose="020B0604020202020204" charset="0"/>
            </a:endParaRPr>
          </a:p>
        </p:txBody>
      </p:sp>
      <p:sp>
        <p:nvSpPr>
          <p:cNvPr id="6" name="Oval 6">
            <a:extLst>
              <a:ext uri="{FF2B5EF4-FFF2-40B4-BE49-F238E27FC236}">
                <a16:creationId xmlns:a16="http://schemas.microsoft.com/office/drawing/2014/main" id="{8B2D0FDF-E539-748B-8DB1-0EB453DA30FA}"/>
              </a:ext>
            </a:extLst>
          </p:cNvPr>
          <p:cNvSpPr/>
          <p:nvPr/>
        </p:nvSpPr>
        <p:spPr>
          <a:xfrm>
            <a:off x="346519" y="3329072"/>
            <a:ext cx="345600" cy="345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7" name="Oval 7">
            <a:extLst>
              <a:ext uri="{FF2B5EF4-FFF2-40B4-BE49-F238E27FC236}">
                <a16:creationId xmlns:a16="http://schemas.microsoft.com/office/drawing/2014/main" id="{C8A59B87-7FC8-9D14-01DD-E6C5511ABA44}"/>
              </a:ext>
            </a:extLst>
          </p:cNvPr>
          <p:cNvSpPr/>
          <p:nvPr/>
        </p:nvSpPr>
        <p:spPr>
          <a:xfrm>
            <a:off x="346519" y="4013200"/>
            <a:ext cx="345600" cy="345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spTree>
    <p:extLst>
      <p:ext uri="{BB962C8B-B14F-4D97-AF65-F5344CB8AC3E}">
        <p14:creationId xmlns:p14="http://schemas.microsoft.com/office/powerpoint/2010/main" val="36261428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Google Shape;843;p29">
            <a:extLst>
              <a:ext uri="{FF2B5EF4-FFF2-40B4-BE49-F238E27FC236}">
                <a16:creationId xmlns:a16="http://schemas.microsoft.com/office/drawing/2014/main" id="{DE4068FB-1745-9AA5-9935-0DC296F34596}"/>
              </a:ext>
            </a:extLst>
          </p:cNvPr>
          <p:cNvSpPr/>
          <p:nvPr/>
        </p:nvSpPr>
        <p:spPr>
          <a:xfrm>
            <a:off x="11033835" y="347677"/>
            <a:ext cx="1067334" cy="1019120"/>
          </a:xfrm>
          <a:prstGeom prst="chevron">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sp>
        <p:nvSpPr>
          <p:cNvPr id="15" name="Google Shape;843;p29">
            <a:extLst>
              <a:ext uri="{FF2B5EF4-FFF2-40B4-BE49-F238E27FC236}">
                <a16:creationId xmlns:a16="http://schemas.microsoft.com/office/drawing/2014/main" id="{485B8004-BD36-C2C3-1A99-7BEBEEF0A6E2}"/>
              </a:ext>
            </a:extLst>
          </p:cNvPr>
          <p:cNvSpPr/>
          <p:nvPr/>
        </p:nvSpPr>
        <p:spPr>
          <a:xfrm>
            <a:off x="11591636" y="347492"/>
            <a:ext cx="600363" cy="1019120"/>
          </a:xfrm>
          <a:prstGeom prst="rect">
            <a:avLst/>
          </a:prstGeom>
          <a:solidFill>
            <a:schemeClr val="accent4"/>
          </a:solidFill>
          <a:ln>
            <a:noFill/>
          </a:ln>
        </p:spPr>
        <p:txBody>
          <a:bodyPr spcFirstLastPara="1" wrap="square" lIns="91425" tIns="91425" rIns="91425" bIns="91425" anchor="ctr" anchorCtr="0">
            <a:noAutofit/>
          </a:bodyPr>
          <a:lstStyle/>
          <a:p>
            <a:pPr marL="0" lvl="0" indent="0" algn="ctr">
              <a:spcBef>
                <a:spcPts val="0"/>
              </a:spcBef>
              <a:spcAft>
                <a:spcPts val="0"/>
              </a:spcAft>
              <a:buNone/>
            </a:pPr>
            <a:endParaRPr lang="da-DK" sz="2400">
              <a:latin typeface="Amatic SC"/>
              <a:ea typeface="Amatic SC"/>
              <a:cs typeface="Amatic SC"/>
              <a:sym typeface="Amatic SC"/>
            </a:endParaRPr>
          </a:p>
        </p:txBody>
      </p:sp>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19</a:t>
            </a:fld>
            <a:endParaRPr lang="da-DK"/>
          </a:p>
        </p:txBody>
      </p:sp>
      <p:sp>
        <p:nvSpPr>
          <p:cNvPr id="14" name="Google Shape;847;p29">
            <a:extLst>
              <a:ext uri="{FF2B5EF4-FFF2-40B4-BE49-F238E27FC236}">
                <a16:creationId xmlns:a16="http://schemas.microsoft.com/office/drawing/2014/main" id="{DE10ED59-7590-9F3C-1E67-C22B931F997B}"/>
              </a:ext>
            </a:extLst>
          </p:cNvPr>
          <p:cNvSpPr txBox="1"/>
          <p:nvPr/>
        </p:nvSpPr>
        <p:spPr>
          <a:xfrm>
            <a:off x="932400" y="2296800"/>
            <a:ext cx="5194757" cy="2729863"/>
          </a:xfrm>
          <a:prstGeom prst="rect">
            <a:avLst/>
          </a:prstGeom>
          <a:noFill/>
          <a:ln>
            <a:noFill/>
          </a:ln>
        </p:spPr>
        <p:txBody>
          <a:bodyPr spcFirstLastPara="1" wrap="square" lIns="0" tIns="0" rIns="0" bIns="0" anchor="t" anchorCtr="0">
            <a:noAutofit/>
          </a:bodyPr>
          <a:lstStyle/>
          <a:p>
            <a:r>
              <a:rPr lang="da-DK" sz="1600" dirty="0">
                <a:latin typeface="Quicksand" panose="020B0604020202020204"/>
                <a:ea typeface="Quicksand" panose="020B0604020202020204"/>
                <a:cs typeface="Quicksand" panose="020B0604020202020204" charset="0"/>
                <a:sym typeface="Quicksand"/>
              </a:rPr>
              <a:t>Pædagogisk personale oplever, at skolens </a:t>
            </a:r>
            <a:r>
              <a:rPr lang="da-DK" sz="1600" b="1" dirty="0">
                <a:latin typeface="Quicksand" panose="020B0604020202020204"/>
                <a:ea typeface="Quicksand" panose="020B0604020202020204"/>
                <a:cs typeface="Quicksand" panose="020B0604020202020204" charset="0"/>
                <a:sym typeface="Quicksand"/>
              </a:rPr>
              <a:t>fælles børnesyn er styrket </a:t>
            </a:r>
            <a:r>
              <a:rPr lang="da-DK" sz="1600" dirty="0">
                <a:latin typeface="Quicksand" panose="020B0604020202020204"/>
                <a:ea typeface="Quicksand" panose="020B0604020202020204"/>
                <a:cs typeface="Quicksand" panose="020B0604020202020204" charset="0"/>
                <a:sym typeface="Quicksand"/>
              </a:rPr>
              <a:t>det seneste år.</a:t>
            </a:r>
            <a:br>
              <a:rPr lang="da-DK" sz="1600" b="1" dirty="0">
                <a:highlight>
                  <a:srgbClr val="FFFF00"/>
                </a:highlight>
                <a:latin typeface="Quicksand" panose="020B0604020202020204"/>
                <a:cs typeface="Amatic SC" panose="00000500000000000000" pitchFamily="2" charset="-79"/>
              </a:rPr>
            </a:br>
            <a:endParaRPr lang="da-DK" sz="1600" b="1" dirty="0">
              <a:latin typeface="Quicksand" panose="020B0604020202020204"/>
              <a:ea typeface="Quicksand" panose="020B0604020202020204"/>
              <a:cs typeface="Quicksand" panose="020B0604020202020204" charset="0"/>
              <a:sym typeface="Quicksand"/>
            </a:endParaRPr>
          </a:p>
          <a:p>
            <a:r>
              <a:rPr lang="da-DK" sz="1600" dirty="0">
                <a:latin typeface="Quicksand" panose="020B0604020202020204"/>
                <a:ea typeface="Quicksand" panose="020B0604020202020204"/>
                <a:cs typeface="Quicksand" panose="020B0604020202020204" charset="0"/>
                <a:sym typeface="Quicksand"/>
              </a:rPr>
              <a:t>Et </a:t>
            </a:r>
            <a:r>
              <a:rPr lang="da-DK" sz="1600" dirty="0">
                <a:solidFill>
                  <a:schemeClr val="tx1"/>
                </a:solidFill>
                <a:latin typeface="Quicksand" panose="020B0604020202020204"/>
                <a:cs typeface="Amatic SC" panose="00000500000000000000" pitchFamily="2" charset="-79"/>
              </a:rPr>
              <a:t>fælles børnesyn fortsat er centralt for at </a:t>
            </a:r>
            <a:r>
              <a:rPr lang="da-DK" sz="1600" b="1" dirty="0">
                <a:solidFill>
                  <a:schemeClr val="tx1"/>
                </a:solidFill>
                <a:latin typeface="Quicksand" panose="020B0604020202020204"/>
                <a:cs typeface="Amatic SC" panose="00000500000000000000" pitchFamily="2" charset="-79"/>
              </a:rPr>
              <a:t>finde gode løsninger sammen.</a:t>
            </a:r>
            <a:r>
              <a:rPr lang="da-DK" sz="1600" b="1" dirty="0">
                <a:latin typeface="Quicksand" panose="020B0604020202020204"/>
                <a:ea typeface="Quicksand" panose="020B0604020202020204"/>
                <a:cs typeface="Quicksand" panose="020B0604020202020204" charset="0"/>
                <a:sym typeface="Quicksand"/>
              </a:rPr>
              <a:t> </a:t>
            </a:r>
            <a:br>
              <a:rPr lang="da-DK" sz="1600" b="1" dirty="0">
                <a:latin typeface="Quicksand" panose="020B0604020202020204"/>
                <a:ea typeface="Quicksand" panose="020B0604020202020204"/>
                <a:cs typeface="Quicksand" panose="020B0604020202020204" charset="0"/>
                <a:sym typeface="Quicksand"/>
              </a:rPr>
            </a:br>
            <a:endParaRPr lang="da-DK" sz="1600" b="1" dirty="0">
              <a:latin typeface="Quicksand" panose="020B0604020202020204"/>
              <a:ea typeface="Quicksand" panose="020B0604020202020204"/>
              <a:cs typeface="Quicksand" panose="020B0604020202020204" charset="0"/>
              <a:sym typeface="Quicksand"/>
            </a:endParaRPr>
          </a:p>
          <a:p>
            <a:r>
              <a:rPr lang="da-DK" sz="1600" dirty="0">
                <a:latin typeface="Quicksand" panose="020B0604020202020204"/>
                <a:cs typeface="Amatic SC" panose="00000500000000000000" pitchFamily="2" charset="-79"/>
              </a:rPr>
              <a:t>Det er vigtigt at </a:t>
            </a:r>
            <a:r>
              <a:rPr lang="da-DK" sz="1600" b="1" dirty="0">
                <a:latin typeface="Quicksand" panose="020B0604020202020204"/>
                <a:cs typeface="Amatic SC" panose="00000500000000000000" pitchFamily="2" charset="-79"/>
              </a:rPr>
              <a:t>arbejde med pædagogisk personales mindset</a:t>
            </a:r>
            <a:r>
              <a:rPr lang="da-DK" sz="1600" dirty="0">
                <a:latin typeface="Quicksand" panose="020B0604020202020204"/>
                <a:cs typeface="Amatic SC" panose="00000500000000000000" pitchFamily="2" charset="-79"/>
              </a:rPr>
              <a:t>, hvis eleverne i højere grad skal opleve indflydelse og medbestemmelse.</a:t>
            </a:r>
            <a:endParaRPr lang="da-DK" sz="1600" dirty="0">
              <a:latin typeface="Quicksand" panose="020B0604020202020204"/>
              <a:ea typeface="Quicksand" panose="020B0604020202020204"/>
              <a:cs typeface="Quicksand" panose="020B0604020202020204" charset="0"/>
              <a:sym typeface="Quicksand"/>
            </a:endParaRPr>
          </a:p>
        </p:txBody>
      </p:sp>
      <p:sp>
        <p:nvSpPr>
          <p:cNvPr id="10" name="Google Shape;846;p29">
            <a:extLst>
              <a:ext uri="{FF2B5EF4-FFF2-40B4-BE49-F238E27FC236}">
                <a16:creationId xmlns:a16="http://schemas.microsoft.com/office/drawing/2014/main" id="{50228FE9-2C29-4994-F9DB-F65B9358102D}"/>
              </a:ext>
            </a:extLst>
          </p:cNvPr>
          <p:cNvSpPr/>
          <p:nvPr/>
        </p:nvSpPr>
        <p:spPr>
          <a:xfrm>
            <a:off x="-1" y="347862"/>
            <a:ext cx="901244" cy="1019120"/>
          </a:xfrm>
          <a:prstGeom prst="homePlate">
            <a:avLst>
              <a:gd name="adj" fmla="val 50000"/>
            </a:avLst>
          </a:prstGeom>
          <a:solidFill>
            <a:schemeClr val="accent4"/>
          </a:solidFill>
          <a:ln>
            <a:noFill/>
          </a:ln>
        </p:spPr>
        <p:txBody>
          <a:bodyPr spcFirstLastPara="1" wrap="square" lIns="396000"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12" name="Google Shape;843;p29">
            <a:extLst>
              <a:ext uri="{FF2B5EF4-FFF2-40B4-BE49-F238E27FC236}">
                <a16:creationId xmlns:a16="http://schemas.microsoft.com/office/drawing/2014/main" id="{017D1C16-919E-15D6-36C3-28DA1B401F7F}"/>
              </a:ext>
            </a:extLst>
          </p:cNvPr>
          <p:cNvSpPr/>
          <p:nvPr/>
        </p:nvSpPr>
        <p:spPr>
          <a:xfrm>
            <a:off x="0" y="347492"/>
            <a:ext cx="12192001" cy="1019120"/>
          </a:xfrm>
          <a:prstGeom prst="chevron">
            <a:avLst>
              <a:gd name="adj" fmla="val 50000"/>
            </a:avLst>
          </a:prstGeom>
          <a:solidFill>
            <a:schemeClr val="accent4"/>
          </a:solidFill>
          <a:ln>
            <a:noFill/>
          </a:ln>
        </p:spPr>
        <p:txBody>
          <a:bodyPr spcFirstLastPara="1" wrap="square" lIns="91425" tIns="91425" rIns="91425" bIns="91425" anchor="ctr" anchorCtr="0">
            <a:noAutofit/>
          </a:bodyPr>
          <a:lstStyle/>
          <a:p>
            <a:pPr marL="0" lvl="0" indent="0">
              <a:spcBef>
                <a:spcPts val="0"/>
              </a:spcBef>
              <a:spcAft>
                <a:spcPts val="0"/>
              </a:spcAft>
              <a:buNone/>
            </a:pPr>
            <a:r>
              <a:rPr lang="da-DK" sz="3200" b="1" dirty="0">
                <a:solidFill>
                  <a:schemeClr val="bg1"/>
                </a:solidFill>
                <a:latin typeface="Amatic SC"/>
                <a:ea typeface="Amatic SC"/>
                <a:cs typeface="Amatic SC"/>
                <a:sym typeface="Amatic SC"/>
              </a:rPr>
              <a:t>Pædagogisk personale oplever at have fået et stærkere fælles børnesyn, </a:t>
            </a:r>
          </a:p>
          <a:p>
            <a:pPr marL="0" lvl="0" indent="0">
              <a:spcBef>
                <a:spcPts val="0"/>
              </a:spcBef>
              <a:spcAft>
                <a:spcPts val="0"/>
              </a:spcAft>
              <a:buNone/>
            </a:pPr>
            <a:r>
              <a:rPr lang="da-DK" sz="3200" b="1" dirty="0">
                <a:solidFill>
                  <a:schemeClr val="bg1"/>
                </a:solidFill>
                <a:latin typeface="Amatic SC"/>
                <a:ea typeface="Amatic SC"/>
                <a:cs typeface="Amatic SC"/>
                <a:sym typeface="Amatic SC"/>
              </a:rPr>
              <a:t>Men der er fortsat potentiale for at styrke deres mindset om elevinddragelse</a:t>
            </a:r>
          </a:p>
        </p:txBody>
      </p:sp>
      <p:sp>
        <p:nvSpPr>
          <p:cNvPr id="6" name="Rectangle 5">
            <a:extLst>
              <a:ext uri="{FF2B5EF4-FFF2-40B4-BE49-F238E27FC236}">
                <a16:creationId xmlns:a16="http://schemas.microsoft.com/office/drawing/2014/main" id="{D7F635EA-E124-DF4C-1D08-A82B15011C86}"/>
              </a:ext>
            </a:extLst>
          </p:cNvPr>
          <p:cNvSpPr/>
          <p:nvPr/>
        </p:nvSpPr>
        <p:spPr>
          <a:xfrm>
            <a:off x="5782491" y="5241971"/>
            <a:ext cx="5809145" cy="10191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08000" bIns="36000" rtlCol="0" anchor="t"/>
          <a:lstStyle/>
          <a:p>
            <a:pPr marL="216000"/>
            <a:br>
              <a:rPr lang="da-DK" sz="1300" noProof="0">
                <a:solidFill>
                  <a:schemeClr val="tx1"/>
                </a:solidFill>
                <a:latin typeface="Quicksand" panose="020B0604020202020204" charset="0"/>
              </a:rPr>
            </a:br>
            <a:endParaRPr lang="da-DK" sz="1300" noProof="0">
              <a:solidFill>
                <a:schemeClr val="tx1"/>
              </a:solidFill>
              <a:latin typeface="Quicksand" panose="020B0604020202020204" charset="0"/>
            </a:endParaRPr>
          </a:p>
          <a:p>
            <a:pPr marL="216000"/>
            <a:endParaRPr lang="da-DK" sz="1500">
              <a:solidFill>
                <a:schemeClr val="tx1"/>
              </a:solidFill>
              <a:latin typeface="Quicksand" panose="020B0604020202020204" charset="0"/>
            </a:endParaRPr>
          </a:p>
        </p:txBody>
      </p:sp>
      <p:sp>
        <p:nvSpPr>
          <p:cNvPr id="17" name="TextBox 16">
            <a:extLst>
              <a:ext uri="{FF2B5EF4-FFF2-40B4-BE49-F238E27FC236}">
                <a16:creationId xmlns:a16="http://schemas.microsoft.com/office/drawing/2014/main" id="{AF6793F0-8055-6F42-C52C-DCEABA9A364B}"/>
              </a:ext>
            </a:extLst>
          </p:cNvPr>
          <p:cNvSpPr txBox="1"/>
          <p:nvPr/>
        </p:nvSpPr>
        <p:spPr>
          <a:xfrm>
            <a:off x="6620981" y="5421988"/>
            <a:ext cx="5555576" cy="615553"/>
          </a:xfrm>
          <a:prstGeom prst="rect">
            <a:avLst/>
          </a:prstGeom>
          <a:noFill/>
        </p:spPr>
        <p:txBody>
          <a:bodyPr wrap="square" lIns="0" tIns="0" rIns="0" bIns="0" rtlCol="0">
            <a:spAutoFit/>
          </a:bodyPr>
          <a:lstStyle/>
          <a:p>
            <a:r>
              <a:rPr lang="da-DK" sz="2000" b="1" dirty="0">
                <a:latin typeface="Amatic SC" panose="00000500000000000000" pitchFamily="2" charset="-79"/>
                <a:cs typeface="Amatic SC" panose="00000500000000000000" pitchFamily="2" charset="-79"/>
              </a:rPr>
              <a:t>Find greb til, hvordan I som skole kan arbejde med at udforme</a:t>
            </a:r>
          </a:p>
          <a:p>
            <a:r>
              <a:rPr lang="da-DK" sz="2000" b="1" dirty="0">
                <a:latin typeface="Amatic SC" panose="00000500000000000000" pitchFamily="2" charset="-79"/>
                <a:cs typeface="Amatic SC" panose="00000500000000000000" pitchFamily="2" charset="-79"/>
              </a:rPr>
              <a:t>og omsætte børnesyn i praksis i pakken ‘procesgreb til skolerne’.</a:t>
            </a:r>
          </a:p>
        </p:txBody>
      </p:sp>
      <p:pic>
        <p:nvPicPr>
          <p:cNvPr id="13" name="Graphic 12" descr="Single gear outline">
            <a:extLst>
              <a:ext uri="{FF2B5EF4-FFF2-40B4-BE49-F238E27FC236}">
                <a16:creationId xmlns:a16="http://schemas.microsoft.com/office/drawing/2014/main" id="{BCE2C67E-FF11-BED0-0CDE-288A1287A6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56314" y="5500146"/>
            <a:ext cx="490845" cy="459236"/>
          </a:xfrm>
          <a:prstGeom prst="rect">
            <a:avLst/>
          </a:prstGeom>
        </p:spPr>
      </p:pic>
      <p:sp>
        <p:nvSpPr>
          <p:cNvPr id="30" name="Rectangle 29">
            <a:extLst>
              <a:ext uri="{FF2B5EF4-FFF2-40B4-BE49-F238E27FC236}">
                <a16:creationId xmlns:a16="http://schemas.microsoft.com/office/drawing/2014/main" id="{41C7C11D-2F71-66F0-CCD8-839A8BFAC8A0}"/>
              </a:ext>
            </a:extLst>
          </p:cNvPr>
          <p:cNvSpPr/>
          <p:nvPr/>
        </p:nvSpPr>
        <p:spPr>
          <a:xfrm>
            <a:off x="6525730" y="1724400"/>
            <a:ext cx="5065200" cy="4608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algn="ctr"/>
            <a:r>
              <a:rPr lang="da-DK" sz="2000" b="1">
                <a:solidFill>
                  <a:schemeClr val="tx1"/>
                </a:solidFill>
                <a:latin typeface="Amatic SC" panose="00000500000000000000" pitchFamily="2" charset="-79"/>
                <a:cs typeface="Amatic SC" panose="00000500000000000000" pitchFamily="2" charset="-79"/>
              </a:rPr>
              <a:t> Fremadrettet kan det styrke praksis, at…</a:t>
            </a:r>
            <a:endParaRPr lang="da-DK" sz="2000" b="1" noProof="0">
              <a:solidFill>
                <a:schemeClr val="tx1"/>
              </a:solidFill>
              <a:latin typeface="Amatic SC" panose="00000500000000000000" pitchFamily="2" charset="-79"/>
              <a:cs typeface="Amatic SC" panose="00000500000000000000" pitchFamily="2" charset="-79"/>
            </a:endParaRPr>
          </a:p>
        </p:txBody>
      </p:sp>
      <p:sp>
        <p:nvSpPr>
          <p:cNvPr id="31" name="Rectangle 30">
            <a:extLst>
              <a:ext uri="{FF2B5EF4-FFF2-40B4-BE49-F238E27FC236}">
                <a16:creationId xmlns:a16="http://schemas.microsoft.com/office/drawing/2014/main" id="{D9623390-6A5F-557E-5470-350887FC7A76}"/>
              </a:ext>
            </a:extLst>
          </p:cNvPr>
          <p:cNvSpPr/>
          <p:nvPr/>
        </p:nvSpPr>
        <p:spPr>
          <a:xfrm>
            <a:off x="6525730" y="2201166"/>
            <a:ext cx="5065906" cy="262513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08000" bIns="36000" rtlCol="0" anchor="t"/>
          <a:lstStyle/>
          <a:p>
            <a:pPr marL="216000"/>
            <a:endParaRPr lang="da-DK" sz="1400" dirty="0">
              <a:solidFill>
                <a:schemeClr val="tx1"/>
              </a:solidFill>
              <a:latin typeface="Quicksand" panose="020B0604020202020204" charset="0"/>
            </a:endParaRPr>
          </a:p>
          <a:p>
            <a:pPr marL="216000"/>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 teams reflekterer over, hvilke ord de mener </a:t>
            </a:r>
            <a:r>
              <a:rPr kumimoji="0" lang="da-DK" sz="1400" b="1" i="0" u="none" strike="noStrike" kern="1200" cap="none" spc="0" normalizeH="0" baseline="0" noProof="0" dirty="0">
                <a:ln>
                  <a:noFill/>
                </a:ln>
                <a:solidFill>
                  <a:srgbClr val="273F68"/>
                </a:solidFill>
                <a:effectLst/>
                <a:uLnTx/>
                <a:uFillTx/>
                <a:latin typeface="Quicksand" panose="020B0604020202020204" charset="0"/>
                <a:ea typeface="+mn-ea"/>
                <a:cs typeface="+mn-cs"/>
              </a:rPr>
              <a:t>karakteriserer</a:t>
            </a: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 </a:t>
            </a:r>
            <a:r>
              <a:rPr kumimoji="0" lang="da-DK" sz="1400" b="1" i="0" u="none" strike="noStrike" kern="1200" cap="none" spc="0" normalizeH="0" baseline="0" noProof="0" dirty="0">
                <a:ln>
                  <a:noFill/>
                </a:ln>
                <a:solidFill>
                  <a:srgbClr val="273F68"/>
                </a:solidFill>
                <a:effectLst/>
                <a:uLnTx/>
                <a:uFillTx/>
                <a:latin typeface="Quicksand" panose="020B0604020202020204" charset="0"/>
                <a:ea typeface="+mn-ea"/>
                <a:cs typeface="+mn-cs"/>
              </a:rPr>
              <a:t>skolens</a:t>
            </a: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 </a:t>
            </a:r>
            <a:r>
              <a:rPr kumimoji="0" lang="da-DK" sz="1400" b="1" i="0" u="none" strike="noStrike" kern="1200" cap="none" spc="0" normalizeH="0" baseline="0" noProof="0" dirty="0">
                <a:ln>
                  <a:noFill/>
                </a:ln>
                <a:solidFill>
                  <a:srgbClr val="273F68"/>
                </a:solidFill>
                <a:effectLst/>
                <a:uLnTx/>
                <a:uFillTx/>
                <a:latin typeface="Quicksand" panose="020B0604020202020204" charset="0"/>
                <a:ea typeface="+mn-ea"/>
                <a:cs typeface="+mn-cs"/>
              </a:rPr>
              <a:t>børnesyn</a:t>
            </a: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 og hvordan ordene stemmer overens med handlinger i skolens praksis. </a:t>
            </a:r>
          </a:p>
          <a:p>
            <a:pPr marL="216000"/>
            <a:endParaRPr lang="da-DK" sz="1400" dirty="0">
              <a:solidFill>
                <a:srgbClr val="273F68"/>
              </a:solidFill>
              <a:latin typeface="Quicksand" panose="020B0604020202020204" charset="0"/>
            </a:endParaRPr>
          </a:p>
          <a:p>
            <a:pPr marL="216000"/>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 lederne forholder sig til, hvordan </a:t>
            </a:r>
            <a:r>
              <a:rPr kumimoji="0" lang="da-DK" sz="1400" b="1" i="0" u="none" strike="noStrike" kern="1200" cap="none" spc="0" normalizeH="0" baseline="0" noProof="0" dirty="0">
                <a:ln>
                  <a:noFill/>
                </a:ln>
                <a:solidFill>
                  <a:srgbClr val="273F68"/>
                </a:solidFill>
                <a:effectLst/>
                <a:uLnTx/>
                <a:uFillTx/>
                <a:latin typeface="Quicksand" panose="020B0604020202020204" charset="0"/>
                <a:ea typeface="+mn-ea"/>
                <a:cs typeface="+mn-cs"/>
              </a:rPr>
              <a:t>børnesynet varierer inden for skolen</a:t>
            </a:r>
            <a:r>
              <a:rPr kumimoji="0" lang="da-DK" sz="1400" i="0" u="none" strike="noStrike" kern="1200" cap="none" spc="0" normalizeH="0" baseline="0" noProof="0" dirty="0">
                <a:ln>
                  <a:noFill/>
                </a:ln>
                <a:solidFill>
                  <a:srgbClr val="273F68"/>
                </a:solidFill>
                <a:effectLst/>
                <a:uLnTx/>
                <a:uFillTx/>
                <a:latin typeface="Quicksand" panose="020B0604020202020204" charset="0"/>
                <a:ea typeface="+mn-ea"/>
                <a:cs typeface="+mn-cs"/>
              </a:rPr>
              <a:t>,</a:t>
            </a:r>
            <a:r>
              <a:rPr kumimoji="0" lang="da-DK" sz="1400" b="1" i="0" u="none" strike="noStrike" kern="1200" cap="none" spc="0" normalizeH="0" baseline="0" noProof="0" dirty="0">
                <a:ln>
                  <a:noFill/>
                </a:ln>
                <a:solidFill>
                  <a:srgbClr val="273F68"/>
                </a:solidFill>
                <a:effectLst/>
                <a:uLnTx/>
                <a:uFillTx/>
                <a:latin typeface="Quicksand" panose="020B0604020202020204" charset="0"/>
                <a:ea typeface="+mn-ea"/>
                <a:cs typeface="+mn-cs"/>
              </a:rPr>
              <a:t> </a:t>
            </a:r>
            <a:r>
              <a:rPr kumimoji="0" lang="da-DK" sz="1400" i="0" u="none" strike="noStrike" kern="1200" cap="none" spc="0" normalizeH="0" baseline="0" noProof="0" dirty="0">
                <a:ln>
                  <a:noFill/>
                </a:ln>
                <a:solidFill>
                  <a:srgbClr val="273F68"/>
                </a:solidFill>
                <a:effectLst/>
                <a:uLnTx/>
                <a:uFillTx/>
                <a:latin typeface="Quicksand" panose="020B0604020202020204" charset="0"/>
                <a:ea typeface="+mn-ea"/>
                <a:cs typeface="+mn-cs"/>
              </a:rPr>
              <a:t>og hvad man kan gøre for at skabe større fælles fodslag</a:t>
            </a: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 </a:t>
            </a:r>
          </a:p>
          <a:p>
            <a:pPr marL="216000"/>
            <a:endPar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endParaRPr>
          </a:p>
          <a:p>
            <a:pPr marL="216000"/>
            <a:r>
              <a:rPr lang="da-DK" sz="1400" dirty="0">
                <a:solidFill>
                  <a:srgbClr val="273F68"/>
                </a:solidFill>
                <a:latin typeface="Quicksand" panose="020B0604020202020204" charset="0"/>
              </a:rPr>
              <a:t>… </a:t>
            </a: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have fælles dialoger med ledelsen om, hvordan skolens </a:t>
            </a:r>
            <a:r>
              <a:rPr kumimoji="0" lang="da-DK" sz="1400" b="1" i="0" u="none" strike="noStrike" kern="1200" cap="none" spc="0" normalizeH="0" baseline="0" noProof="0" dirty="0">
                <a:ln>
                  <a:noFill/>
                </a:ln>
                <a:solidFill>
                  <a:srgbClr val="273F68"/>
                </a:solidFill>
                <a:effectLst/>
                <a:uLnTx/>
                <a:uFillTx/>
                <a:latin typeface="Quicksand" panose="020B0604020202020204" charset="0"/>
                <a:ea typeface="+mn-ea"/>
                <a:cs typeface="+mn-cs"/>
              </a:rPr>
              <a:t>børnesyn kommer til udtryk og omsættes i praksis</a:t>
            </a: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 </a:t>
            </a:r>
            <a:endParaRPr lang="da-DK" sz="1400" dirty="0">
              <a:solidFill>
                <a:srgbClr val="273F68"/>
              </a:solidFill>
              <a:latin typeface="Quicksand" panose="020B0604020202020204" charset="0"/>
            </a:endParaRPr>
          </a:p>
          <a:p>
            <a:pPr marL="216000"/>
            <a:endPar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endParaRPr>
          </a:p>
          <a:p>
            <a:pPr marL="216000"/>
            <a:endParaRPr lang="da-DK" sz="1400" dirty="0">
              <a:solidFill>
                <a:schemeClr val="tx1"/>
              </a:solidFill>
              <a:latin typeface="Quicksand" panose="020B0604020202020204" charset="0"/>
            </a:endParaRPr>
          </a:p>
          <a:p>
            <a:pPr marL="216000"/>
            <a:endParaRPr lang="da-DK" sz="1400" dirty="0">
              <a:solidFill>
                <a:schemeClr val="tx1"/>
              </a:solidFill>
              <a:latin typeface="Quicksand" panose="020B0604020202020204" charset="0"/>
            </a:endParaRPr>
          </a:p>
          <a:p>
            <a:pPr marL="501750" indent="-285750">
              <a:buFont typeface="Arial" panose="020B0604020202020204" pitchFamily="34" charset="0"/>
              <a:buChar char="•"/>
            </a:pPr>
            <a:endParaRPr lang="da-DK" sz="1400" dirty="0">
              <a:solidFill>
                <a:schemeClr val="tx1"/>
              </a:solidFill>
              <a:latin typeface="Quicksand" panose="020B0604020202020204" charset="0"/>
            </a:endParaRPr>
          </a:p>
          <a:p>
            <a:pPr marL="216000"/>
            <a:endParaRPr lang="da-DK" sz="1500" dirty="0">
              <a:solidFill>
                <a:schemeClr val="tx1"/>
              </a:solidFill>
              <a:latin typeface="Quicksand" panose="020B0604020202020204" charset="0"/>
            </a:endParaRPr>
          </a:p>
        </p:txBody>
      </p:sp>
      <p:sp>
        <p:nvSpPr>
          <p:cNvPr id="34" name="Google Shape;1217;p48">
            <a:extLst>
              <a:ext uri="{FF2B5EF4-FFF2-40B4-BE49-F238E27FC236}">
                <a16:creationId xmlns:a16="http://schemas.microsoft.com/office/drawing/2014/main" id="{3826CD82-4677-9AF2-B082-3FD865834C3B}"/>
              </a:ext>
            </a:extLst>
          </p:cNvPr>
          <p:cNvSpPr/>
          <p:nvPr/>
        </p:nvSpPr>
        <p:spPr>
          <a:xfrm>
            <a:off x="7040617" y="1807031"/>
            <a:ext cx="321251" cy="269060"/>
          </a:xfrm>
          <a:custGeom>
            <a:avLst/>
            <a:gdLst/>
            <a:ahLst/>
            <a:cxnLst/>
            <a:rect l="l" t="t" r="r" b="b"/>
            <a:pathLst>
              <a:path w="18981" h="16766" extrusionOk="0">
                <a:moveTo>
                  <a:pt x="5451" y="5475"/>
                </a:moveTo>
                <a:lnTo>
                  <a:pt x="5257" y="5548"/>
                </a:lnTo>
                <a:lnTo>
                  <a:pt x="5159" y="5597"/>
                </a:lnTo>
                <a:lnTo>
                  <a:pt x="5062" y="5670"/>
                </a:lnTo>
                <a:lnTo>
                  <a:pt x="5013" y="5743"/>
                </a:lnTo>
                <a:lnTo>
                  <a:pt x="4965" y="5816"/>
                </a:lnTo>
                <a:lnTo>
                  <a:pt x="4940" y="5889"/>
                </a:lnTo>
                <a:lnTo>
                  <a:pt x="4965" y="5962"/>
                </a:lnTo>
                <a:lnTo>
                  <a:pt x="5013" y="6011"/>
                </a:lnTo>
                <a:lnTo>
                  <a:pt x="5086" y="6059"/>
                </a:lnTo>
                <a:lnTo>
                  <a:pt x="5208" y="6059"/>
                </a:lnTo>
                <a:lnTo>
                  <a:pt x="5354" y="6035"/>
                </a:lnTo>
                <a:lnTo>
                  <a:pt x="5476" y="6011"/>
                </a:lnTo>
                <a:lnTo>
                  <a:pt x="5695" y="6011"/>
                </a:lnTo>
                <a:lnTo>
                  <a:pt x="5792" y="5986"/>
                </a:lnTo>
                <a:lnTo>
                  <a:pt x="5865" y="5913"/>
                </a:lnTo>
                <a:lnTo>
                  <a:pt x="5914" y="5816"/>
                </a:lnTo>
                <a:lnTo>
                  <a:pt x="5938" y="5743"/>
                </a:lnTo>
                <a:lnTo>
                  <a:pt x="5938" y="5694"/>
                </a:lnTo>
                <a:lnTo>
                  <a:pt x="5889" y="5573"/>
                </a:lnTo>
                <a:lnTo>
                  <a:pt x="5792" y="5500"/>
                </a:lnTo>
                <a:lnTo>
                  <a:pt x="5670" y="5475"/>
                </a:lnTo>
                <a:close/>
                <a:moveTo>
                  <a:pt x="4575" y="5986"/>
                </a:moveTo>
                <a:lnTo>
                  <a:pt x="4454" y="6011"/>
                </a:lnTo>
                <a:lnTo>
                  <a:pt x="4356" y="6035"/>
                </a:lnTo>
                <a:lnTo>
                  <a:pt x="4259" y="6084"/>
                </a:lnTo>
                <a:lnTo>
                  <a:pt x="4113" y="6205"/>
                </a:lnTo>
                <a:lnTo>
                  <a:pt x="4040" y="6254"/>
                </a:lnTo>
                <a:lnTo>
                  <a:pt x="3991" y="6351"/>
                </a:lnTo>
                <a:lnTo>
                  <a:pt x="3967" y="6424"/>
                </a:lnTo>
                <a:lnTo>
                  <a:pt x="3991" y="6522"/>
                </a:lnTo>
                <a:lnTo>
                  <a:pt x="4064" y="6570"/>
                </a:lnTo>
                <a:lnTo>
                  <a:pt x="4162" y="6619"/>
                </a:lnTo>
                <a:lnTo>
                  <a:pt x="4283" y="6595"/>
                </a:lnTo>
                <a:lnTo>
                  <a:pt x="4429" y="6546"/>
                </a:lnTo>
                <a:lnTo>
                  <a:pt x="4527" y="6522"/>
                </a:lnTo>
                <a:lnTo>
                  <a:pt x="4551" y="6497"/>
                </a:lnTo>
                <a:lnTo>
                  <a:pt x="4648" y="6473"/>
                </a:lnTo>
                <a:lnTo>
                  <a:pt x="4721" y="6424"/>
                </a:lnTo>
                <a:lnTo>
                  <a:pt x="4794" y="6327"/>
                </a:lnTo>
                <a:lnTo>
                  <a:pt x="4794" y="6205"/>
                </a:lnTo>
                <a:lnTo>
                  <a:pt x="4770" y="6108"/>
                </a:lnTo>
                <a:lnTo>
                  <a:pt x="4673" y="6035"/>
                </a:lnTo>
                <a:lnTo>
                  <a:pt x="4575" y="5986"/>
                </a:lnTo>
                <a:close/>
                <a:moveTo>
                  <a:pt x="7593" y="5962"/>
                </a:moveTo>
                <a:lnTo>
                  <a:pt x="7495" y="6011"/>
                </a:lnTo>
                <a:lnTo>
                  <a:pt x="7447" y="6059"/>
                </a:lnTo>
                <a:lnTo>
                  <a:pt x="7398" y="6132"/>
                </a:lnTo>
                <a:lnTo>
                  <a:pt x="7398" y="6181"/>
                </a:lnTo>
                <a:lnTo>
                  <a:pt x="7422" y="6254"/>
                </a:lnTo>
                <a:lnTo>
                  <a:pt x="7520" y="6351"/>
                </a:lnTo>
                <a:lnTo>
                  <a:pt x="7593" y="6424"/>
                </a:lnTo>
                <a:lnTo>
                  <a:pt x="7641" y="6449"/>
                </a:lnTo>
                <a:lnTo>
                  <a:pt x="7666" y="6473"/>
                </a:lnTo>
                <a:lnTo>
                  <a:pt x="7690" y="6497"/>
                </a:lnTo>
                <a:lnTo>
                  <a:pt x="7714" y="6546"/>
                </a:lnTo>
                <a:lnTo>
                  <a:pt x="7763" y="6619"/>
                </a:lnTo>
                <a:lnTo>
                  <a:pt x="7787" y="6668"/>
                </a:lnTo>
                <a:lnTo>
                  <a:pt x="7812" y="6692"/>
                </a:lnTo>
                <a:lnTo>
                  <a:pt x="7909" y="6741"/>
                </a:lnTo>
                <a:lnTo>
                  <a:pt x="8031" y="6741"/>
                </a:lnTo>
                <a:lnTo>
                  <a:pt x="8128" y="6716"/>
                </a:lnTo>
                <a:lnTo>
                  <a:pt x="8201" y="6643"/>
                </a:lnTo>
                <a:lnTo>
                  <a:pt x="8250" y="6546"/>
                </a:lnTo>
                <a:lnTo>
                  <a:pt x="8250" y="6449"/>
                </a:lnTo>
                <a:lnTo>
                  <a:pt x="8225" y="6351"/>
                </a:lnTo>
                <a:lnTo>
                  <a:pt x="8177" y="6254"/>
                </a:lnTo>
                <a:lnTo>
                  <a:pt x="8104" y="6181"/>
                </a:lnTo>
                <a:lnTo>
                  <a:pt x="8006" y="6108"/>
                </a:lnTo>
                <a:lnTo>
                  <a:pt x="7909" y="6035"/>
                </a:lnTo>
                <a:lnTo>
                  <a:pt x="7812" y="5986"/>
                </a:lnTo>
                <a:lnTo>
                  <a:pt x="7690" y="5962"/>
                </a:lnTo>
                <a:close/>
                <a:moveTo>
                  <a:pt x="3578" y="6741"/>
                </a:moveTo>
                <a:lnTo>
                  <a:pt x="3456" y="6765"/>
                </a:lnTo>
                <a:lnTo>
                  <a:pt x="3359" y="6814"/>
                </a:lnTo>
                <a:lnTo>
                  <a:pt x="3286" y="6887"/>
                </a:lnTo>
                <a:lnTo>
                  <a:pt x="3189" y="6960"/>
                </a:lnTo>
                <a:lnTo>
                  <a:pt x="3140" y="7081"/>
                </a:lnTo>
                <a:lnTo>
                  <a:pt x="3091" y="7179"/>
                </a:lnTo>
                <a:lnTo>
                  <a:pt x="3067" y="7300"/>
                </a:lnTo>
                <a:lnTo>
                  <a:pt x="3067" y="7398"/>
                </a:lnTo>
                <a:lnTo>
                  <a:pt x="3091" y="7446"/>
                </a:lnTo>
                <a:lnTo>
                  <a:pt x="3116" y="7471"/>
                </a:lnTo>
                <a:lnTo>
                  <a:pt x="3189" y="7519"/>
                </a:lnTo>
                <a:lnTo>
                  <a:pt x="3286" y="7544"/>
                </a:lnTo>
                <a:lnTo>
                  <a:pt x="3359" y="7519"/>
                </a:lnTo>
                <a:lnTo>
                  <a:pt x="3481" y="7446"/>
                </a:lnTo>
                <a:lnTo>
                  <a:pt x="3554" y="7325"/>
                </a:lnTo>
                <a:lnTo>
                  <a:pt x="3627" y="7276"/>
                </a:lnTo>
                <a:lnTo>
                  <a:pt x="3651" y="7252"/>
                </a:lnTo>
                <a:lnTo>
                  <a:pt x="3700" y="7227"/>
                </a:lnTo>
                <a:lnTo>
                  <a:pt x="3773" y="7179"/>
                </a:lnTo>
                <a:lnTo>
                  <a:pt x="3821" y="7106"/>
                </a:lnTo>
                <a:lnTo>
                  <a:pt x="3821" y="7033"/>
                </a:lnTo>
                <a:lnTo>
                  <a:pt x="3821" y="6935"/>
                </a:lnTo>
                <a:lnTo>
                  <a:pt x="3797" y="6862"/>
                </a:lnTo>
                <a:lnTo>
                  <a:pt x="3724" y="6789"/>
                </a:lnTo>
                <a:lnTo>
                  <a:pt x="3651" y="6765"/>
                </a:lnTo>
                <a:lnTo>
                  <a:pt x="3578" y="6741"/>
                </a:lnTo>
                <a:close/>
                <a:moveTo>
                  <a:pt x="16863" y="4526"/>
                </a:moveTo>
                <a:lnTo>
                  <a:pt x="16766" y="4575"/>
                </a:lnTo>
                <a:lnTo>
                  <a:pt x="16693" y="4624"/>
                </a:lnTo>
                <a:lnTo>
                  <a:pt x="16620" y="4697"/>
                </a:lnTo>
                <a:lnTo>
                  <a:pt x="16498" y="4843"/>
                </a:lnTo>
                <a:lnTo>
                  <a:pt x="16401" y="5037"/>
                </a:lnTo>
                <a:lnTo>
                  <a:pt x="16158" y="5500"/>
                </a:lnTo>
                <a:lnTo>
                  <a:pt x="15914" y="5962"/>
                </a:lnTo>
                <a:lnTo>
                  <a:pt x="15647" y="5816"/>
                </a:lnTo>
                <a:lnTo>
                  <a:pt x="15501" y="5719"/>
                </a:lnTo>
                <a:lnTo>
                  <a:pt x="15355" y="5670"/>
                </a:lnTo>
                <a:lnTo>
                  <a:pt x="15233" y="5646"/>
                </a:lnTo>
                <a:lnTo>
                  <a:pt x="15087" y="5597"/>
                </a:lnTo>
                <a:lnTo>
                  <a:pt x="15038" y="5573"/>
                </a:lnTo>
                <a:lnTo>
                  <a:pt x="15014" y="5573"/>
                </a:lnTo>
                <a:lnTo>
                  <a:pt x="14917" y="5621"/>
                </a:lnTo>
                <a:lnTo>
                  <a:pt x="14892" y="5646"/>
                </a:lnTo>
                <a:lnTo>
                  <a:pt x="14844" y="5694"/>
                </a:lnTo>
                <a:lnTo>
                  <a:pt x="14844" y="5767"/>
                </a:lnTo>
                <a:lnTo>
                  <a:pt x="14868" y="5840"/>
                </a:lnTo>
                <a:lnTo>
                  <a:pt x="14892" y="5913"/>
                </a:lnTo>
                <a:lnTo>
                  <a:pt x="15087" y="6059"/>
                </a:lnTo>
                <a:lnTo>
                  <a:pt x="15282" y="6181"/>
                </a:lnTo>
                <a:lnTo>
                  <a:pt x="15671" y="6424"/>
                </a:lnTo>
                <a:lnTo>
                  <a:pt x="15355" y="6984"/>
                </a:lnTo>
                <a:lnTo>
                  <a:pt x="15160" y="7252"/>
                </a:lnTo>
                <a:lnTo>
                  <a:pt x="14965" y="7519"/>
                </a:lnTo>
                <a:lnTo>
                  <a:pt x="14941" y="7592"/>
                </a:lnTo>
                <a:lnTo>
                  <a:pt x="14941" y="7641"/>
                </a:lnTo>
                <a:lnTo>
                  <a:pt x="14941" y="7714"/>
                </a:lnTo>
                <a:lnTo>
                  <a:pt x="14965" y="7763"/>
                </a:lnTo>
                <a:lnTo>
                  <a:pt x="15014" y="7836"/>
                </a:lnTo>
                <a:lnTo>
                  <a:pt x="15063" y="7860"/>
                </a:lnTo>
                <a:lnTo>
                  <a:pt x="15111" y="7884"/>
                </a:lnTo>
                <a:lnTo>
                  <a:pt x="15184" y="7909"/>
                </a:lnTo>
                <a:lnTo>
                  <a:pt x="15257" y="7884"/>
                </a:lnTo>
                <a:lnTo>
                  <a:pt x="15355" y="7860"/>
                </a:lnTo>
                <a:lnTo>
                  <a:pt x="15501" y="7763"/>
                </a:lnTo>
                <a:lnTo>
                  <a:pt x="15622" y="7641"/>
                </a:lnTo>
                <a:lnTo>
                  <a:pt x="15744" y="7471"/>
                </a:lnTo>
                <a:lnTo>
                  <a:pt x="15866" y="7276"/>
                </a:lnTo>
                <a:lnTo>
                  <a:pt x="15963" y="7081"/>
                </a:lnTo>
                <a:lnTo>
                  <a:pt x="16133" y="6716"/>
                </a:lnTo>
                <a:lnTo>
                  <a:pt x="16328" y="6862"/>
                </a:lnTo>
                <a:lnTo>
                  <a:pt x="16523" y="7008"/>
                </a:lnTo>
                <a:lnTo>
                  <a:pt x="16742" y="7106"/>
                </a:lnTo>
                <a:lnTo>
                  <a:pt x="16839" y="7130"/>
                </a:lnTo>
                <a:lnTo>
                  <a:pt x="16961" y="7154"/>
                </a:lnTo>
                <a:lnTo>
                  <a:pt x="17034" y="7130"/>
                </a:lnTo>
                <a:lnTo>
                  <a:pt x="17082" y="7106"/>
                </a:lnTo>
                <a:lnTo>
                  <a:pt x="17131" y="7057"/>
                </a:lnTo>
                <a:lnTo>
                  <a:pt x="17155" y="7008"/>
                </a:lnTo>
                <a:lnTo>
                  <a:pt x="17180" y="6960"/>
                </a:lnTo>
                <a:lnTo>
                  <a:pt x="17180" y="6887"/>
                </a:lnTo>
                <a:lnTo>
                  <a:pt x="17155" y="6814"/>
                </a:lnTo>
                <a:lnTo>
                  <a:pt x="17131" y="6765"/>
                </a:lnTo>
                <a:lnTo>
                  <a:pt x="16961" y="6619"/>
                </a:lnTo>
                <a:lnTo>
                  <a:pt x="16766" y="6497"/>
                </a:lnTo>
                <a:lnTo>
                  <a:pt x="16377" y="6254"/>
                </a:lnTo>
                <a:lnTo>
                  <a:pt x="16644" y="5670"/>
                </a:lnTo>
                <a:lnTo>
                  <a:pt x="16766" y="5427"/>
                </a:lnTo>
                <a:lnTo>
                  <a:pt x="16912" y="5183"/>
                </a:lnTo>
                <a:lnTo>
                  <a:pt x="17034" y="4916"/>
                </a:lnTo>
                <a:lnTo>
                  <a:pt x="17082" y="4770"/>
                </a:lnTo>
                <a:lnTo>
                  <a:pt x="17082" y="4648"/>
                </a:lnTo>
                <a:lnTo>
                  <a:pt x="17082" y="4599"/>
                </a:lnTo>
                <a:lnTo>
                  <a:pt x="17058" y="4551"/>
                </a:lnTo>
                <a:lnTo>
                  <a:pt x="17009" y="4526"/>
                </a:lnTo>
                <a:close/>
                <a:moveTo>
                  <a:pt x="8420" y="6838"/>
                </a:moveTo>
                <a:lnTo>
                  <a:pt x="8371" y="6862"/>
                </a:lnTo>
                <a:lnTo>
                  <a:pt x="8298" y="6911"/>
                </a:lnTo>
                <a:lnTo>
                  <a:pt x="8274" y="6984"/>
                </a:lnTo>
                <a:lnTo>
                  <a:pt x="8250" y="7081"/>
                </a:lnTo>
                <a:lnTo>
                  <a:pt x="8274" y="7179"/>
                </a:lnTo>
                <a:lnTo>
                  <a:pt x="8298" y="7276"/>
                </a:lnTo>
                <a:lnTo>
                  <a:pt x="8347" y="7373"/>
                </a:lnTo>
                <a:lnTo>
                  <a:pt x="8420" y="7519"/>
                </a:lnTo>
                <a:lnTo>
                  <a:pt x="8444" y="7665"/>
                </a:lnTo>
                <a:lnTo>
                  <a:pt x="8444" y="7763"/>
                </a:lnTo>
                <a:lnTo>
                  <a:pt x="8493" y="7836"/>
                </a:lnTo>
                <a:lnTo>
                  <a:pt x="8566" y="7909"/>
                </a:lnTo>
                <a:lnTo>
                  <a:pt x="8663" y="7933"/>
                </a:lnTo>
                <a:lnTo>
                  <a:pt x="8761" y="7957"/>
                </a:lnTo>
                <a:lnTo>
                  <a:pt x="8882" y="7909"/>
                </a:lnTo>
                <a:lnTo>
                  <a:pt x="8980" y="7836"/>
                </a:lnTo>
                <a:lnTo>
                  <a:pt x="9004" y="7787"/>
                </a:lnTo>
                <a:lnTo>
                  <a:pt x="9028" y="7738"/>
                </a:lnTo>
                <a:lnTo>
                  <a:pt x="9028" y="7592"/>
                </a:lnTo>
                <a:lnTo>
                  <a:pt x="9004" y="7446"/>
                </a:lnTo>
                <a:lnTo>
                  <a:pt x="8955" y="7325"/>
                </a:lnTo>
                <a:lnTo>
                  <a:pt x="8882" y="7179"/>
                </a:lnTo>
                <a:lnTo>
                  <a:pt x="8809" y="7057"/>
                </a:lnTo>
                <a:lnTo>
                  <a:pt x="8712" y="6960"/>
                </a:lnTo>
                <a:lnTo>
                  <a:pt x="8663" y="6911"/>
                </a:lnTo>
                <a:lnTo>
                  <a:pt x="8615" y="6862"/>
                </a:lnTo>
                <a:lnTo>
                  <a:pt x="8542" y="6838"/>
                </a:lnTo>
                <a:close/>
                <a:moveTo>
                  <a:pt x="16255" y="7495"/>
                </a:moveTo>
                <a:lnTo>
                  <a:pt x="16206" y="7544"/>
                </a:lnTo>
                <a:lnTo>
                  <a:pt x="16158" y="7592"/>
                </a:lnTo>
                <a:lnTo>
                  <a:pt x="16158" y="7714"/>
                </a:lnTo>
                <a:lnTo>
                  <a:pt x="16158" y="7836"/>
                </a:lnTo>
                <a:lnTo>
                  <a:pt x="16206" y="7982"/>
                </a:lnTo>
                <a:lnTo>
                  <a:pt x="16231" y="8030"/>
                </a:lnTo>
                <a:lnTo>
                  <a:pt x="16279" y="8079"/>
                </a:lnTo>
                <a:lnTo>
                  <a:pt x="16304" y="8103"/>
                </a:lnTo>
                <a:lnTo>
                  <a:pt x="16377" y="8128"/>
                </a:lnTo>
                <a:lnTo>
                  <a:pt x="16474" y="8128"/>
                </a:lnTo>
                <a:lnTo>
                  <a:pt x="16523" y="8103"/>
                </a:lnTo>
                <a:lnTo>
                  <a:pt x="16547" y="8055"/>
                </a:lnTo>
                <a:lnTo>
                  <a:pt x="16571" y="8006"/>
                </a:lnTo>
                <a:lnTo>
                  <a:pt x="16571" y="7957"/>
                </a:lnTo>
                <a:lnTo>
                  <a:pt x="16547" y="7836"/>
                </a:lnTo>
                <a:lnTo>
                  <a:pt x="16523" y="7738"/>
                </a:lnTo>
                <a:lnTo>
                  <a:pt x="16474" y="7641"/>
                </a:lnTo>
                <a:lnTo>
                  <a:pt x="16401" y="7544"/>
                </a:lnTo>
                <a:lnTo>
                  <a:pt x="16328" y="7495"/>
                </a:lnTo>
                <a:close/>
                <a:moveTo>
                  <a:pt x="2897" y="7836"/>
                </a:moveTo>
                <a:lnTo>
                  <a:pt x="2799" y="7860"/>
                </a:lnTo>
                <a:lnTo>
                  <a:pt x="2702" y="7909"/>
                </a:lnTo>
                <a:lnTo>
                  <a:pt x="2629" y="7982"/>
                </a:lnTo>
                <a:lnTo>
                  <a:pt x="2556" y="8079"/>
                </a:lnTo>
                <a:lnTo>
                  <a:pt x="2507" y="8201"/>
                </a:lnTo>
                <a:lnTo>
                  <a:pt x="2507" y="8347"/>
                </a:lnTo>
                <a:lnTo>
                  <a:pt x="2507" y="8468"/>
                </a:lnTo>
                <a:lnTo>
                  <a:pt x="2556" y="8517"/>
                </a:lnTo>
                <a:lnTo>
                  <a:pt x="2580" y="8566"/>
                </a:lnTo>
                <a:lnTo>
                  <a:pt x="2678" y="8614"/>
                </a:lnTo>
                <a:lnTo>
                  <a:pt x="2799" y="8614"/>
                </a:lnTo>
                <a:lnTo>
                  <a:pt x="2848" y="8590"/>
                </a:lnTo>
                <a:lnTo>
                  <a:pt x="2897" y="8566"/>
                </a:lnTo>
                <a:lnTo>
                  <a:pt x="2970" y="8493"/>
                </a:lnTo>
                <a:lnTo>
                  <a:pt x="3018" y="8420"/>
                </a:lnTo>
                <a:lnTo>
                  <a:pt x="3116" y="8274"/>
                </a:lnTo>
                <a:lnTo>
                  <a:pt x="3140" y="8152"/>
                </a:lnTo>
                <a:lnTo>
                  <a:pt x="3140" y="8055"/>
                </a:lnTo>
                <a:lnTo>
                  <a:pt x="3091" y="7957"/>
                </a:lnTo>
                <a:lnTo>
                  <a:pt x="3018" y="7884"/>
                </a:lnTo>
                <a:lnTo>
                  <a:pt x="2897" y="7836"/>
                </a:lnTo>
                <a:close/>
                <a:moveTo>
                  <a:pt x="8955" y="8152"/>
                </a:moveTo>
                <a:lnTo>
                  <a:pt x="8882" y="8201"/>
                </a:lnTo>
                <a:lnTo>
                  <a:pt x="8858" y="8274"/>
                </a:lnTo>
                <a:lnTo>
                  <a:pt x="8858" y="8371"/>
                </a:lnTo>
                <a:lnTo>
                  <a:pt x="8858" y="8468"/>
                </a:lnTo>
                <a:lnTo>
                  <a:pt x="8907" y="8639"/>
                </a:lnTo>
                <a:lnTo>
                  <a:pt x="8955" y="8760"/>
                </a:lnTo>
                <a:lnTo>
                  <a:pt x="8980" y="8858"/>
                </a:lnTo>
                <a:lnTo>
                  <a:pt x="9053" y="8955"/>
                </a:lnTo>
                <a:lnTo>
                  <a:pt x="9101" y="9004"/>
                </a:lnTo>
                <a:lnTo>
                  <a:pt x="9150" y="9028"/>
                </a:lnTo>
                <a:lnTo>
                  <a:pt x="9296" y="9028"/>
                </a:lnTo>
                <a:lnTo>
                  <a:pt x="9369" y="8979"/>
                </a:lnTo>
                <a:lnTo>
                  <a:pt x="9393" y="8931"/>
                </a:lnTo>
                <a:lnTo>
                  <a:pt x="9418" y="8858"/>
                </a:lnTo>
                <a:lnTo>
                  <a:pt x="9418" y="8785"/>
                </a:lnTo>
                <a:lnTo>
                  <a:pt x="9393" y="8639"/>
                </a:lnTo>
                <a:lnTo>
                  <a:pt x="9369" y="8614"/>
                </a:lnTo>
                <a:lnTo>
                  <a:pt x="9345" y="8517"/>
                </a:lnTo>
                <a:lnTo>
                  <a:pt x="9247" y="8322"/>
                </a:lnTo>
                <a:lnTo>
                  <a:pt x="9199" y="8225"/>
                </a:lnTo>
                <a:lnTo>
                  <a:pt x="9101" y="8176"/>
                </a:lnTo>
                <a:lnTo>
                  <a:pt x="9028" y="8152"/>
                </a:lnTo>
                <a:close/>
                <a:moveTo>
                  <a:pt x="16352" y="8541"/>
                </a:moveTo>
                <a:lnTo>
                  <a:pt x="16279" y="8566"/>
                </a:lnTo>
                <a:lnTo>
                  <a:pt x="16231" y="8614"/>
                </a:lnTo>
                <a:lnTo>
                  <a:pt x="16206" y="8663"/>
                </a:lnTo>
                <a:lnTo>
                  <a:pt x="16182" y="8736"/>
                </a:lnTo>
                <a:lnTo>
                  <a:pt x="16182" y="8858"/>
                </a:lnTo>
                <a:lnTo>
                  <a:pt x="16206" y="8979"/>
                </a:lnTo>
                <a:lnTo>
                  <a:pt x="16231" y="9174"/>
                </a:lnTo>
                <a:lnTo>
                  <a:pt x="16255" y="9296"/>
                </a:lnTo>
                <a:lnTo>
                  <a:pt x="16304" y="9369"/>
                </a:lnTo>
                <a:lnTo>
                  <a:pt x="16401" y="9417"/>
                </a:lnTo>
                <a:lnTo>
                  <a:pt x="16498" y="9417"/>
                </a:lnTo>
                <a:lnTo>
                  <a:pt x="16596" y="9393"/>
                </a:lnTo>
                <a:lnTo>
                  <a:pt x="16669" y="9320"/>
                </a:lnTo>
                <a:lnTo>
                  <a:pt x="16693" y="9223"/>
                </a:lnTo>
                <a:lnTo>
                  <a:pt x="16693" y="9101"/>
                </a:lnTo>
                <a:lnTo>
                  <a:pt x="16644" y="8882"/>
                </a:lnTo>
                <a:lnTo>
                  <a:pt x="16596" y="8760"/>
                </a:lnTo>
                <a:lnTo>
                  <a:pt x="16547" y="8639"/>
                </a:lnTo>
                <a:lnTo>
                  <a:pt x="16523" y="8590"/>
                </a:lnTo>
                <a:lnTo>
                  <a:pt x="16474" y="8541"/>
                </a:lnTo>
                <a:close/>
                <a:moveTo>
                  <a:pt x="2434" y="9077"/>
                </a:moveTo>
                <a:lnTo>
                  <a:pt x="2337" y="9101"/>
                </a:lnTo>
                <a:lnTo>
                  <a:pt x="2264" y="9125"/>
                </a:lnTo>
                <a:lnTo>
                  <a:pt x="2191" y="9198"/>
                </a:lnTo>
                <a:lnTo>
                  <a:pt x="2142" y="9271"/>
                </a:lnTo>
                <a:lnTo>
                  <a:pt x="2118" y="9369"/>
                </a:lnTo>
                <a:lnTo>
                  <a:pt x="2094" y="9515"/>
                </a:lnTo>
                <a:lnTo>
                  <a:pt x="2094" y="9612"/>
                </a:lnTo>
                <a:lnTo>
                  <a:pt x="2094" y="9685"/>
                </a:lnTo>
                <a:lnTo>
                  <a:pt x="2118" y="9782"/>
                </a:lnTo>
                <a:lnTo>
                  <a:pt x="2191" y="9831"/>
                </a:lnTo>
                <a:lnTo>
                  <a:pt x="2240" y="9879"/>
                </a:lnTo>
                <a:lnTo>
                  <a:pt x="2337" y="9904"/>
                </a:lnTo>
                <a:lnTo>
                  <a:pt x="2410" y="9879"/>
                </a:lnTo>
                <a:lnTo>
                  <a:pt x="2483" y="9831"/>
                </a:lnTo>
                <a:lnTo>
                  <a:pt x="2556" y="9733"/>
                </a:lnTo>
                <a:lnTo>
                  <a:pt x="2580" y="9612"/>
                </a:lnTo>
                <a:lnTo>
                  <a:pt x="2653" y="9417"/>
                </a:lnTo>
                <a:lnTo>
                  <a:pt x="2653" y="9320"/>
                </a:lnTo>
                <a:lnTo>
                  <a:pt x="2653" y="9247"/>
                </a:lnTo>
                <a:lnTo>
                  <a:pt x="2605" y="9174"/>
                </a:lnTo>
                <a:lnTo>
                  <a:pt x="2532" y="9125"/>
                </a:lnTo>
                <a:lnTo>
                  <a:pt x="2434" y="9077"/>
                </a:lnTo>
                <a:close/>
                <a:moveTo>
                  <a:pt x="9272" y="9296"/>
                </a:moveTo>
                <a:lnTo>
                  <a:pt x="9199" y="9344"/>
                </a:lnTo>
                <a:lnTo>
                  <a:pt x="9101" y="9417"/>
                </a:lnTo>
                <a:lnTo>
                  <a:pt x="9077" y="9539"/>
                </a:lnTo>
                <a:lnTo>
                  <a:pt x="9053" y="9661"/>
                </a:lnTo>
                <a:lnTo>
                  <a:pt x="9077" y="9782"/>
                </a:lnTo>
                <a:lnTo>
                  <a:pt x="9126" y="9904"/>
                </a:lnTo>
                <a:lnTo>
                  <a:pt x="9174" y="10001"/>
                </a:lnTo>
                <a:lnTo>
                  <a:pt x="9247" y="10123"/>
                </a:lnTo>
                <a:lnTo>
                  <a:pt x="9320" y="10196"/>
                </a:lnTo>
                <a:lnTo>
                  <a:pt x="9393" y="10220"/>
                </a:lnTo>
                <a:lnTo>
                  <a:pt x="9442" y="10220"/>
                </a:lnTo>
                <a:lnTo>
                  <a:pt x="9564" y="10196"/>
                </a:lnTo>
                <a:lnTo>
                  <a:pt x="9612" y="10147"/>
                </a:lnTo>
                <a:lnTo>
                  <a:pt x="9661" y="10123"/>
                </a:lnTo>
                <a:lnTo>
                  <a:pt x="9685" y="10050"/>
                </a:lnTo>
                <a:lnTo>
                  <a:pt x="9685" y="10001"/>
                </a:lnTo>
                <a:lnTo>
                  <a:pt x="9685" y="9904"/>
                </a:lnTo>
                <a:lnTo>
                  <a:pt x="9637" y="9806"/>
                </a:lnTo>
                <a:lnTo>
                  <a:pt x="9539" y="9636"/>
                </a:lnTo>
                <a:lnTo>
                  <a:pt x="9515" y="9515"/>
                </a:lnTo>
                <a:lnTo>
                  <a:pt x="9442" y="9393"/>
                </a:lnTo>
                <a:lnTo>
                  <a:pt x="9393" y="9344"/>
                </a:lnTo>
                <a:lnTo>
                  <a:pt x="9345" y="9320"/>
                </a:lnTo>
                <a:lnTo>
                  <a:pt x="9272" y="9296"/>
                </a:lnTo>
                <a:close/>
                <a:moveTo>
                  <a:pt x="16231" y="9855"/>
                </a:moveTo>
                <a:lnTo>
                  <a:pt x="16231" y="9879"/>
                </a:lnTo>
                <a:lnTo>
                  <a:pt x="16182" y="9904"/>
                </a:lnTo>
                <a:lnTo>
                  <a:pt x="16133" y="9952"/>
                </a:lnTo>
                <a:lnTo>
                  <a:pt x="16060" y="10098"/>
                </a:lnTo>
                <a:lnTo>
                  <a:pt x="16012" y="10293"/>
                </a:lnTo>
                <a:lnTo>
                  <a:pt x="16012" y="10390"/>
                </a:lnTo>
                <a:lnTo>
                  <a:pt x="16012" y="10463"/>
                </a:lnTo>
                <a:lnTo>
                  <a:pt x="16085" y="10561"/>
                </a:lnTo>
                <a:lnTo>
                  <a:pt x="16182" y="10634"/>
                </a:lnTo>
                <a:lnTo>
                  <a:pt x="16304" y="10634"/>
                </a:lnTo>
                <a:lnTo>
                  <a:pt x="16352" y="10609"/>
                </a:lnTo>
                <a:lnTo>
                  <a:pt x="16401" y="10561"/>
                </a:lnTo>
                <a:lnTo>
                  <a:pt x="16450" y="10488"/>
                </a:lnTo>
                <a:lnTo>
                  <a:pt x="16474" y="10415"/>
                </a:lnTo>
                <a:lnTo>
                  <a:pt x="16498" y="10244"/>
                </a:lnTo>
                <a:lnTo>
                  <a:pt x="16498" y="10147"/>
                </a:lnTo>
                <a:lnTo>
                  <a:pt x="16498" y="10050"/>
                </a:lnTo>
                <a:lnTo>
                  <a:pt x="16474" y="9952"/>
                </a:lnTo>
                <a:lnTo>
                  <a:pt x="16425" y="9879"/>
                </a:lnTo>
                <a:lnTo>
                  <a:pt x="16328" y="9855"/>
                </a:lnTo>
                <a:close/>
                <a:moveTo>
                  <a:pt x="2167" y="10244"/>
                </a:moveTo>
                <a:lnTo>
                  <a:pt x="2045" y="10269"/>
                </a:lnTo>
                <a:lnTo>
                  <a:pt x="1972" y="10317"/>
                </a:lnTo>
                <a:lnTo>
                  <a:pt x="1875" y="10463"/>
                </a:lnTo>
                <a:lnTo>
                  <a:pt x="1826" y="10634"/>
                </a:lnTo>
                <a:lnTo>
                  <a:pt x="1802" y="10804"/>
                </a:lnTo>
                <a:lnTo>
                  <a:pt x="1850" y="10926"/>
                </a:lnTo>
                <a:lnTo>
                  <a:pt x="1923" y="11023"/>
                </a:lnTo>
                <a:lnTo>
                  <a:pt x="1948" y="11072"/>
                </a:lnTo>
                <a:lnTo>
                  <a:pt x="2021" y="11096"/>
                </a:lnTo>
                <a:lnTo>
                  <a:pt x="2118" y="11096"/>
                </a:lnTo>
                <a:lnTo>
                  <a:pt x="2191" y="11072"/>
                </a:lnTo>
                <a:lnTo>
                  <a:pt x="2215" y="11023"/>
                </a:lnTo>
                <a:lnTo>
                  <a:pt x="2288" y="10950"/>
                </a:lnTo>
                <a:lnTo>
                  <a:pt x="2313" y="10877"/>
                </a:lnTo>
                <a:lnTo>
                  <a:pt x="2337" y="10780"/>
                </a:lnTo>
                <a:lnTo>
                  <a:pt x="2337" y="10755"/>
                </a:lnTo>
                <a:lnTo>
                  <a:pt x="2337" y="10731"/>
                </a:lnTo>
                <a:lnTo>
                  <a:pt x="2386" y="10658"/>
                </a:lnTo>
                <a:lnTo>
                  <a:pt x="2410" y="10561"/>
                </a:lnTo>
                <a:lnTo>
                  <a:pt x="2434" y="10488"/>
                </a:lnTo>
                <a:lnTo>
                  <a:pt x="2410" y="10390"/>
                </a:lnTo>
                <a:lnTo>
                  <a:pt x="2337" y="10317"/>
                </a:lnTo>
                <a:lnTo>
                  <a:pt x="2264" y="10269"/>
                </a:lnTo>
                <a:lnTo>
                  <a:pt x="2167" y="10244"/>
                </a:lnTo>
                <a:close/>
                <a:moveTo>
                  <a:pt x="9661" y="10512"/>
                </a:moveTo>
                <a:lnTo>
                  <a:pt x="9612" y="10536"/>
                </a:lnTo>
                <a:lnTo>
                  <a:pt x="9539" y="10609"/>
                </a:lnTo>
                <a:lnTo>
                  <a:pt x="9491" y="10658"/>
                </a:lnTo>
                <a:lnTo>
                  <a:pt x="9491" y="10731"/>
                </a:lnTo>
                <a:lnTo>
                  <a:pt x="9491" y="10877"/>
                </a:lnTo>
                <a:lnTo>
                  <a:pt x="9539" y="11023"/>
                </a:lnTo>
                <a:lnTo>
                  <a:pt x="9588" y="11169"/>
                </a:lnTo>
                <a:lnTo>
                  <a:pt x="9637" y="11242"/>
                </a:lnTo>
                <a:lnTo>
                  <a:pt x="9710" y="11315"/>
                </a:lnTo>
                <a:lnTo>
                  <a:pt x="9783" y="11339"/>
                </a:lnTo>
                <a:lnTo>
                  <a:pt x="9880" y="11339"/>
                </a:lnTo>
                <a:lnTo>
                  <a:pt x="9977" y="11291"/>
                </a:lnTo>
                <a:lnTo>
                  <a:pt x="10026" y="11218"/>
                </a:lnTo>
                <a:lnTo>
                  <a:pt x="10075" y="11120"/>
                </a:lnTo>
                <a:lnTo>
                  <a:pt x="10050" y="11023"/>
                </a:lnTo>
                <a:lnTo>
                  <a:pt x="10002" y="10877"/>
                </a:lnTo>
                <a:lnTo>
                  <a:pt x="9929" y="10731"/>
                </a:lnTo>
                <a:lnTo>
                  <a:pt x="9831" y="10609"/>
                </a:lnTo>
                <a:lnTo>
                  <a:pt x="9783" y="10561"/>
                </a:lnTo>
                <a:lnTo>
                  <a:pt x="9710" y="10536"/>
                </a:lnTo>
                <a:lnTo>
                  <a:pt x="9661" y="10512"/>
                </a:lnTo>
                <a:close/>
                <a:moveTo>
                  <a:pt x="15987" y="10999"/>
                </a:moveTo>
                <a:lnTo>
                  <a:pt x="15890" y="11047"/>
                </a:lnTo>
                <a:lnTo>
                  <a:pt x="15817" y="11120"/>
                </a:lnTo>
                <a:lnTo>
                  <a:pt x="15720" y="11291"/>
                </a:lnTo>
                <a:lnTo>
                  <a:pt x="15598" y="11461"/>
                </a:lnTo>
                <a:lnTo>
                  <a:pt x="15525" y="11631"/>
                </a:lnTo>
                <a:lnTo>
                  <a:pt x="15525" y="11729"/>
                </a:lnTo>
                <a:lnTo>
                  <a:pt x="15549" y="11802"/>
                </a:lnTo>
                <a:lnTo>
                  <a:pt x="15598" y="11850"/>
                </a:lnTo>
                <a:lnTo>
                  <a:pt x="15647" y="11899"/>
                </a:lnTo>
                <a:lnTo>
                  <a:pt x="15720" y="11948"/>
                </a:lnTo>
                <a:lnTo>
                  <a:pt x="15793" y="11948"/>
                </a:lnTo>
                <a:lnTo>
                  <a:pt x="15866" y="11923"/>
                </a:lnTo>
                <a:lnTo>
                  <a:pt x="15939" y="11875"/>
                </a:lnTo>
                <a:lnTo>
                  <a:pt x="16036" y="11704"/>
                </a:lnTo>
                <a:lnTo>
                  <a:pt x="16109" y="11510"/>
                </a:lnTo>
                <a:lnTo>
                  <a:pt x="16182" y="11315"/>
                </a:lnTo>
                <a:lnTo>
                  <a:pt x="16206" y="11218"/>
                </a:lnTo>
                <a:lnTo>
                  <a:pt x="16206" y="11120"/>
                </a:lnTo>
                <a:lnTo>
                  <a:pt x="16182" y="11047"/>
                </a:lnTo>
                <a:lnTo>
                  <a:pt x="16133" y="11023"/>
                </a:lnTo>
                <a:lnTo>
                  <a:pt x="16060" y="10999"/>
                </a:lnTo>
                <a:close/>
                <a:moveTo>
                  <a:pt x="1996" y="11437"/>
                </a:moveTo>
                <a:lnTo>
                  <a:pt x="1948" y="11461"/>
                </a:lnTo>
                <a:lnTo>
                  <a:pt x="1875" y="11485"/>
                </a:lnTo>
                <a:lnTo>
                  <a:pt x="1826" y="11558"/>
                </a:lnTo>
                <a:lnTo>
                  <a:pt x="1802" y="11607"/>
                </a:lnTo>
                <a:lnTo>
                  <a:pt x="1777" y="11680"/>
                </a:lnTo>
                <a:lnTo>
                  <a:pt x="1777" y="11826"/>
                </a:lnTo>
                <a:lnTo>
                  <a:pt x="1777" y="11899"/>
                </a:lnTo>
                <a:lnTo>
                  <a:pt x="1802" y="12021"/>
                </a:lnTo>
                <a:lnTo>
                  <a:pt x="1850" y="12094"/>
                </a:lnTo>
                <a:lnTo>
                  <a:pt x="1899" y="12142"/>
                </a:lnTo>
                <a:lnTo>
                  <a:pt x="1972" y="12167"/>
                </a:lnTo>
                <a:lnTo>
                  <a:pt x="2069" y="12167"/>
                </a:lnTo>
                <a:lnTo>
                  <a:pt x="2118" y="12142"/>
                </a:lnTo>
                <a:lnTo>
                  <a:pt x="2191" y="12094"/>
                </a:lnTo>
                <a:lnTo>
                  <a:pt x="2215" y="12021"/>
                </a:lnTo>
                <a:lnTo>
                  <a:pt x="2264" y="11875"/>
                </a:lnTo>
                <a:lnTo>
                  <a:pt x="2288" y="11753"/>
                </a:lnTo>
                <a:lnTo>
                  <a:pt x="2288" y="11680"/>
                </a:lnTo>
                <a:lnTo>
                  <a:pt x="2288" y="11607"/>
                </a:lnTo>
                <a:lnTo>
                  <a:pt x="2264" y="11534"/>
                </a:lnTo>
                <a:lnTo>
                  <a:pt x="2215" y="11485"/>
                </a:lnTo>
                <a:lnTo>
                  <a:pt x="2142" y="11437"/>
                </a:lnTo>
                <a:close/>
                <a:moveTo>
                  <a:pt x="10221" y="11753"/>
                </a:moveTo>
                <a:lnTo>
                  <a:pt x="10123" y="11802"/>
                </a:lnTo>
                <a:lnTo>
                  <a:pt x="10075" y="11875"/>
                </a:lnTo>
                <a:lnTo>
                  <a:pt x="10075" y="11996"/>
                </a:lnTo>
                <a:lnTo>
                  <a:pt x="10123" y="12094"/>
                </a:lnTo>
                <a:lnTo>
                  <a:pt x="10172" y="12191"/>
                </a:lnTo>
                <a:lnTo>
                  <a:pt x="10342" y="12337"/>
                </a:lnTo>
                <a:lnTo>
                  <a:pt x="10440" y="12410"/>
                </a:lnTo>
                <a:lnTo>
                  <a:pt x="10561" y="12483"/>
                </a:lnTo>
                <a:lnTo>
                  <a:pt x="10683" y="12532"/>
                </a:lnTo>
                <a:lnTo>
                  <a:pt x="10829" y="12532"/>
                </a:lnTo>
                <a:lnTo>
                  <a:pt x="10926" y="12507"/>
                </a:lnTo>
                <a:lnTo>
                  <a:pt x="10999" y="12459"/>
                </a:lnTo>
                <a:lnTo>
                  <a:pt x="11048" y="12386"/>
                </a:lnTo>
                <a:lnTo>
                  <a:pt x="11072" y="12313"/>
                </a:lnTo>
                <a:lnTo>
                  <a:pt x="11072" y="12240"/>
                </a:lnTo>
                <a:lnTo>
                  <a:pt x="11048" y="12167"/>
                </a:lnTo>
                <a:lnTo>
                  <a:pt x="10975" y="12094"/>
                </a:lnTo>
                <a:lnTo>
                  <a:pt x="10902" y="12045"/>
                </a:lnTo>
                <a:lnTo>
                  <a:pt x="10756" y="12021"/>
                </a:lnTo>
                <a:lnTo>
                  <a:pt x="10634" y="11948"/>
                </a:lnTo>
                <a:lnTo>
                  <a:pt x="10488" y="11826"/>
                </a:lnTo>
                <a:lnTo>
                  <a:pt x="10415" y="11777"/>
                </a:lnTo>
                <a:lnTo>
                  <a:pt x="10318" y="11753"/>
                </a:lnTo>
                <a:close/>
                <a:moveTo>
                  <a:pt x="15306" y="11996"/>
                </a:moveTo>
                <a:lnTo>
                  <a:pt x="15257" y="12045"/>
                </a:lnTo>
                <a:lnTo>
                  <a:pt x="15136" y="12167"/>
                </a:lnTo>
                <a:lnTo>
                  <a:pt x="15014" y="12288"/>
                </a:lnTo>
                <a:lnTo>
                  <a:pt x="14868" y="12386"/>
                </a:lnTo>
                <a:lnTo>
                  <a:pt x="14795" y="12434"/>
                </a:lnTo>
                <a:lnTo>
                  <a:pt x="14722" y="12483"/>
                </a:lnTo>
                <a:lnTo>
                  <a:pt x="14698" y="12532"/>
                </a:lnTo>
                <a:lnTo>
                  <a:pt x="14698" y="12605"/>
                </a:lnTo>
                <a:lnTo>
                  <a:pt x="14722" y="12653"/>
                </a:lnTo>
                <a:lnTo>
                  <a:pt x="14746" y="12678"/>
                </a:lnTo>
                <a:lnTo>
                  <a:pt x="14868" y="12726"/>
                </a:lnTo>
                <a:lnTo>
                  <a:pt x="14990" y="12726"/>
                </a:lnTo>
                <a:lnTo>
                  <a:pt x="15111" y="12702"/>
                </a:lnTo>
                <a:lnTo>
                  <a:pt x="15209" y="12629"/>
                </a:lnTo>
                <a:lnTo>
                  <a:pt x="15330" y="12556"/>
                </a:lnTo>
                <a:lnTo>
                  <a:pt x="15428" y="12483"/>
                </a:lnTo>
                <a:lnTo>
                  <a:pt x="15501" y="12386"/>
                </a:lnTo>
                <a:lnTo>
                  <a:pt x="15574" y="12288"/>
                </a:lnTo>
                <a:lnTo>
                  <a:pt x="15598" y="12215"/>
                </a:lnTo>
                <a:lnTo>
                  <a:pt x="15598" y="12142"/>
                </a:lnTo>
                <a:lnTo>
                  <a:pt x="15574" y="12094"/>
                </a:lnTo>
                <a:lnTo>
                  <a:pt x="15525" y="12045"/>
                </a:lnTo>
                <a:lnTo>
                  <a:pt x="15452" y="11996"/>
                </a:lnTo>
                <a:close/>
                <a:moveTo>
                  <a:pt x="14114" y="12605"/>
                </a:moveTo>
                <a:lnTo>
                  <a:pt x="14041" y="12629"/>
                </a:lnTo>
                <a:lnTo>
                  <a:pt x="13968" y="12678"/>
                </a:lnTo>
                <a:lnTo>
                  <a:pt x="13895" y="12726"/>
                </a:lnTo>
                <a:lnTo>
                  <a:pt x="13797" y="12751"/>
                </a:lnTo>
                <a:lnTo>
                  <a:pt x="13700" y="12751"/>
                </a:lnTo>
                <a:lnTo>
                  <a:pt x="13578" y="12775"/>
                </a:lnTo>
                <a:lnTo>
                  <a:pt x="13481" y="12848"/>
                </a:lnTo>
                <a:lnTo>
                  <a:pt x="13432" y="12872"/>
                </a:lnTo>
                <a:lnTo>
                  <a:pt x="13408" y="12921"/>
                </a:lnTo>
                <a:lnTo>
                  <a:pt x="13408" y="12970"/>
                </a:lnTo>
                <a:lnTo>
                  <a:pt x="13432" y="13018"/>
                </a:lnTo>
                <a:lnTo>
                  <a:pt x="13457" y="13091"/>
                </a:lnTo>
                <a:lnTo>
                  <a:pt x="13505" y="13116"/>
                </a:lnTo>
                <a:lnTo>
                  <a:pt x="13603" y="13164"/>
                </a:lnTo>
                <a:lnTo>
                  <a:pt x="13724" y="13189"/>
                </a:lnTo>
                <a:lnTo>
                  <a:pt x="13870" y="13189"/>
                </a:lnTo>
                <a:lnTo>
                  <a:pt x="14016" y="13164"/>
                </a:lnTo>
                <a:lnTo>
                  <a:pt x="14162" y="13091"/>
                </a:lnTo>
                <a:lnTo>
                  <a:pt x="14284" y="12994"/>
                </a:lnTo>
                <a:lnTo>
                  <a:pt x="14333" y="12945"/>
                </a:lnTo>
                <a:lnTo>
                  <a:pt x="14357" y="12872"/>
                </a:lnTo>
                <a:lnTo>
                  <a:pt x="14357" y="12799"/>
                </a:lnTo>
                <a:lnTo>
                  <a:pt x="14357" y="12726"/>
                </a:lnTo>
                <a:lnTo>
                  <a:pt x="14333" y="12678"/>
                </a:lnTo>
                <a:lnTo>
                  <a:pt x="14284" y="12653"/>
                </a:lnTo>
                <a:lnTo>
                  <a:pt x="14235" y="12605"/>
                </a:lnTo>
                <a:close/>
                <a:moveTo>
                  <a:pt x="6668" y="512"/>
                </a:moveTo>
                <a:lnTo>
                  <a:pt x="6887" y="755"/>
                </a:lnTo>
                <a:lnTo>
                  <a:pt x="7130" y="950"/>
                </a:lnTo>
                <a:lnTo>
                  <a:pt x="7398" y="1120"/>
                </a:lnTo>
                <a:lnTo>
                  <a:pt x="7666" y="1290"/>
                </a:lnTo>
                <a:lnTo>
                  <a:pt x="8250" y="1558"/>
                </a:lnTo>
                <a:lnTo>
                  <a:pt x="8834" y="1801"/>
                </a:lnTo>
                <a:lnTo>
                  <a:pt x="9320" y="2020"/>
                </a:lnTo>
                <a:lnTo>
                  <a:pt x="9807" y="2215"/>
                </a:lnTo>
                <a:lnTo>
                  <a:pt x="10780" y="2604"/>
                </a:lnTo>
                <a:lnTo>
                  <a:pt x="11194" y="2799"/>
                </a:lnTo>
                <a:lnTo>
                  <a:pt x="11559" y="3018"/>
                </a:lnTo>
                <a:lnTo>
                  <a:pt x="11729" y="3115"/>
                </a:lnTo>
                <a:lnTo>
                  <a:pt x="11924" y="3188"/>
                </a:lnTo>
                <a:lnTo>
                  <a:pt x="12094" y="3261"/>
                </a:lnTo>
                <a:lnTo>
                  <a:pt x="12240" y="3358"/>
                </a:lnTo>
                <a:lnTo>
                  <a:pt x="12264" y="3407"/>
                </a:lnTo>
                <a:lnTo>
                  <a:pt x="12313" y="3456"/>
                </a:lnTo>
                <a:lnTo>
                  <a:pt x="12410" y="3480"/>
                </a:lnTo>
                <a:lnTo>
                  <a:pt x="12435" y="3942"/>
                </a:lnTo>
                <a:lnTo>
                  <a:pt x="11851" y="3650"/>
                </a:lnTo>
                <a:lnTo>
                  <a:pt x="11389" y="3407"/>
                </a:lnTo>
                <a:lnTo>
                  <a:pt x="11170" y="3310"/>
                </a:lnTo>
                <a:lnTo>
                  <a:pt x="10926" y="3237"/>
                </a:lnTo>
                <a:lnTo>
                  <a:pt x="10878" y="3237"/>
                </a:lnTo>
                <a:lnTo>
                  <a:pt x="10853" y="3261"/>
                </a:lnTo>
                <a:lnTo>
                  <a:pt x="10853" y="3285"/>
                </a:lnTo>
                <a:lnTo>
                  <a:pt x="10853" y="3310"/>
                </a:lnTo>
                <a:lnTo>
                  <a:pt x="11024" y="3480"/>
                </a:lnTo>
                <a:lnTo>
                  <a:pt x="11218" y="3626"/>
                </a:lnTo>
                <a:lnTo>
                  <a:pt x="11608" y="3869"/>
                </a:lnTo>
                <a:lnTo>
                  <a:pt x="12045" y="4113"/>
                </a:lnTo>
                <a:lnTo>
                  <a:pt x="12459" y="4307"/>
                </a:lnTo>
                <a:lnTo>
                  <a:pt x="12483" y="4818"/>
                </a:lnTo>
                <a:lnTo>
                  <a:pt x="12337" y="4770"/>
                </a:lnTo>
                <a:lnTo>
                  <a:pt x="12216" y="4721"/>
                </a:lnTo>
                <a:lnTo>
                  <a:pt x="12021" y="4672"/>
                </a:lnTo>
                <a:lnTo>
                  <a:pt x="11729" y="4526"/>
                </a:lnTo>
                <a:lnTo>
                  <a:pt x="11413" y="4380"/>
                </a:lnTo>
                <a:lnTo>
                  <a:pt x="11218" y="4259"/>
                </a:lnTo>
                <a:lnTo>
                  <a:pt x="11121" y="4234"/>
                </a:lnTo>
                <a:lnTo>
                  <a:pt x="11024" y="4210"/>
                </a:lnTo>
                <a:lnTo>
                  <a:pt x="10975" y="4210"/>
                </a:lnTo>
                <a:lnTo>
                  <a:pt x="10951" y="4259"/>
                </a:lnTo>
                <a:lnTo>
                  <a:pt x="10951" y="4283"/>
                </a:lnTo>
                <a:lnTo>
                  <a:pt x="10951" y="4332"/>
                </a:lnTo>
                <a:lnTo>
                  <a:pt x="11024" y="4429"/>
                </a:lnTo>
                <a:lnTo>
                  <a:pt x="11121" y="4526"/>
                </a:lnTo>
                <a:lnTo>
                  <a:pt x="11218" y="4599"/>
                </a:lnTo>
                <a:lnTo>
                  <a:pt x="11340" y="4672"/>
                </a:lnTo>
                <a:lnTo>
                  <a:pt x="11608" y="4818"/>
                </a:lnTo>
                <a:lnTo>
                  <a:pt x="11826" y="4916"/>
                </a:lnTo>
                <a:lnTo>
                  <a:pt x="12143" y="5037"/>
                </a:lnTo>
                <a:lnTo>
                  <a:pt x="12313" y="5086"/>
                </a:lnTo>
                <a:lnTo>
                  <a:pt x="12410" y="5086"/>
                </a:lnTo>
                <a:lnTo>
                  <a:pt x="12483" y="5062"/>
                </a:lnTo>
                <a:lnTo>
                  <a:pt x="12483" y="5743"/>
                </a:lnTo>
                <a:lnTo>
                  <a:pt x="12289" y="5621"/>
                </a:lnTo>
                <a:lnTo>
                  <a:pt x="12094" y="5475"/>
                </a:lnTo>
                <a:lnTo>
                  <a:pt x="11608" y="5256"/>
                </a:lnTo>
                <a:lnTo>
                  <a:pt x="11194" y="5110"/>
                </a:lnTo>
                <a:lnTo>
                  <a:pt x="11024" y="5062"/>
                </a:lnTo>
                <a:lnTo>
                  <a:pt x="10926" y="5062"/>
                </a:lnTo>
                <a:lnTo>
                  <a:pt x="10902" y="5086"/>
                </a:lnTo>
                <a:lnTo>
                  <a:pt x="10878" y="5110"/>
                </a:lnTo>
                <a:lnTo>
                  <a:pt x="10951" y="5232"/>
                </a:lnTo>
                <a:lnTo>
                  <a:pt x="11024" y="5305"/>
                </a:lnTo>
                <a:lnTo>
                  <a:pt x="11121" y="5378"/>
                </a:lnTo>
                <a:lnTo>
                  <a:pt x="11267" y="5451"/>
                </a:lnTo>
                <a:lnTo>
                  <a:pt x="11535" y="5548"/>
                </a:lnTo>
                <a:lnTo>
                  <a:pt x="11754" y="5646"/>
                </a:lnTo>
                <a:lnTo>
                  <a:pt x="12094" y="5792"/>
                </a:lnTo>
                <a:lnTo>
                  <a:pt x="12240" y="5889"/>
                </a:lnTo>
                <a:lnTo>
                  <a:pt x="12386" y="6011"/>
                </a:lnTo>
                <a:lnTo>
                  <a:pt x="12483" y="6108"/>
                </a:lnTo>
                <a:lnTo>
                  <a:pt x="12483" y="6254"/>
                </a:lnTo>
                <a:lnTo>
                  <a:pt x="12337" y="6157"/>
                </a:lnTo>
                <a:lnTo>
                  <a:pt x="12191" y="6084"/>
                </a:lnTo>
                <a:lnTo>
                  <a:pt x="11899" y="5938"/>
                </a:lnTo>
                <a:lnTo>
                  <a:pt x="11705" y="5816"/>
                </a:lnTo>
                <a:lnTo>
                  <a:pt x="11510" y="5743"/>
                </a:lnTo>
                <a:lnTo>
                  <a:pt x="11291" y="5670"/>
                </a:lnTo>
                <a:lnTo>
                  <a:pt x="11194" y="5670"/>
                </a:lnTo>
                <a:lnTo>
                  <a:pt x="11097" y="5694"/>
                </a:lnTo>
                <a:lnTo>
                  <a:pt x="11072" y="5694"/>
                </a:lnTo>
                <a:lnTo>
                  <a:pt x="11072" y="5719"/>
                </a:lnTo>
                <a:lnTo>
                  <a:pt x="11145" y="5816"/>
                </a:lnTo>
                <a:lnTo>
                  <a:pt x="11218" y="5889"/>
                </a:lnTo>
                <a:lnTo>
                  <a:pt x="11413" y="6035"/>
                </a:lnTo>
                <a:lnTo>
                  <a:pt x="11826" y="6254"/>
                </a:lnTo>
                <a:lnTo>
                  <a:pt x="12143" y="6449"/>
                </a:lnTo>
                <a:lnTo>
                  <a:pt x="12289" y="6522"/>
                </a:lnTo>
                <a:lnTo>
                  <a:pt x="12459" y="6570"/>
                </a:lnTo>
                <a:lnTo>
                  <a:pt x="12459" y="6838"/>
                </a:lnTo>
                <a:lnTo>
                  <a:pt x="12459" y="6862"/>
                </a:lnTo>
                <a:lnTo>
                  <a:pt x="12337" y="6765"/>
                </a:lnTo>
                <a:lnTo>
                  <a:pt x="12216" y="6668"/>
                </a:lnTo>
                <a:lnTo>
                  <a:pt x="12094" y="6619"/>
                </a:lnTo>
                <a:lnTo>
                  <a:pt x="11924" y="6546"/>
                </a:lnTo>
                <a:lnTo>
                  <a:pt x="11729" y="6473"/>
                </a:lnTo>
                <a:lnTo>
                  <a:pt x="11486" y="6424"/>
                </a:lnTo>
                <a:lnTo>
                  <a:pt x="11267" y="6376"/>
                </a:lnTo>
                <a:lnTo>
                  <a:pt x="11072" y="6303"/>
                </a:lnTo>
                <a:lnTo>
                  <a:pt x="11048" y="6303"/>
                </a:lnTo>
                <a:lnTo>
                  <a:pt x="11048" y="6327"/>
                </a:lnTo>
                <a:lnTo>
                  <a:pt x="11145" y="6449"/>
                </a:lnTo>
                <a:lnTo>
                  <a:pt x="11267" y="6546"/>
                </a:lnTo>
                <a:lnTo>
                  <a:pt x="11389" y="6619"/>
                </a:lnTo>
                <a:lnTo>
                  <a:pt x="11535" y="6692"/>
                </a:lnTo>
                <a:lnTo>
                  <a:pt x="11948" y="6862"/>
                </a:lnTo>
                <a:lnTo>
                  <a:pt x="12143" y="6960"/>
                </a:lnTo>
                <a:lnTo>
                  <a:pt x="12216" y="7033"/>
                </a:lnTo>
                <a:lnTo>
                  <a:pt x="12289" y="7106"/>
                </a:lnTo>
                <a:lnTo>
                  <a:pt x="12362" y="7179"/>
                </a:lnTo>
                <a:lnTo>
                  <a:pt x="12459" y="7179"/>
                </a:lnTo>
                <a:lnTo>
                  <a:pt x="12459" y="7592"/>
                </a:lnTo>
                <a:lnTo>
                  <a:pt x="12264" y="7495"/>
                </a:lnTo>
                <a:lnTo>
                  <a:pt x="12070" y="7422"/>
                </a:lnTo>
                <a:lnTo>
                  <a:pt x="11802" y="7349"/>
                </a:lnTo>
                <a:lnTo>
                  <a:pt x="11389" y="7106"/>
                </a:lnTo>
                <a:lnTo>
                  <a:pt x="11121" y="7008"/>
                </a:lnTo>
                <a:lnTo>
                  <a:pt x="11024" y="6984"/>
                </a:lnTo>
                <a:lnTo>
                  <a:pt x="10999" y="6984"/>
                </a:lnTo>
                <a:lnTo>
                  <a:pt x="10975" y="7008"/>
                </a:lnTo>
                <a:lnTo>
                  <a:pt x="10975" y="7057"/>
                </a:lnTo>
                <a:lnTo>
                  <a:pt x="10975" y="7106"/>
                </a:lnTo>
                <a:lnTo>
                  <a:pt x="10999" y="7227"/>
                </a:lnTo>
                <a:lnTo>
                  <a:pt x="11097" y="7325"/>
                </a:lnTo>
                <a:lnTo>
                  <a:pt x="11194" y="7398"/>
                </a:lnTo>
                <a:lnTo>
                  <a:pt x="11437" y="7544"/>
                </a:lnTo>
                <a:lnTo>
                  <a:pt x="11632" y="7641"/>
                </a:lnTo>
                <a:lnTo>
                  <a:pt x="11997" y="7836"/>
                </a:lnTo>
                <a:lnTo>
                  <a:pt x="12240" y="7909"/>
                </a:lnTo>
                <a:lnTo>
                  <a:pt x="12362" y="7933"/>
                </a:lnTo>
                <a:lnTo>
                  <a:pt x="12459" y="7957"/>
                </a:lnTo>
                <a:lnTo>
                  <a:pt x="12459" y="8298"/>
                </a:lnTo>
                <a:lnTo>
                  <a:pt x="12216" y="8176"/>
                </a:lnTo>
                <a:lnTo>
                  <a:pt x="11972" y="8055"/>
                </a:lnTo>
                <a:lnTo>
                  <a:pt x="11754" y="7909"/>
                </a:lnTo>
                <a:lnTo>
                  <a:pt x="11535" y="7738"/>
                </a:lnTo>
                <a:lnTo>
                  <a:pt x="11413" y="7665"/>
                </a:lnTo>
                <a:lnTo>
                  <a:pt x="11291" y="7617"/>
                </a:lnTo>
                <a:lnTo>
                  <a:pt x="11170" y="7592"/>
                </a:lnTo>
                <a:lnTo>
                  <a:pt x="11048" y="7568"/>
                </a:lnTo>
                <a:lnTo>
                  <a:pt x="11048" y="7592"/>
                </a:lnTo>
                <a:lnTo>
                  <a:pt x="11024" y="7617"/>
                </a:lnTo>
                <a:lnTo>
                  <a:pt x="11072" y="7714"/>
                </a:lnTo>
                <a:lnTo>
                  <a:pt x="11145" y="7836"/>
                </a:lnTo>
                <a:lnTo>
                  <a:pt x="11243" y="7933"/>
                </a:lnTo>
                <a:lnTo>
                  <a:pt x="11364" y="8006"/>
                </a:lnTo>
                <a:lnTo>
                  <a:pt x="11583" y="8176"/>
                </a:lnTo>
                <a:lnTo>
                  <a:pt x="11802" y="8322"/>
                </a:lnTo>
                <a:lnTo>
                  <a:pt x="12118" y="8493"/>
                </a:lnTo>
                <a:lnTo>
                  <a:pt x="12289" y="8590"/>
                </a:lnTo>
                <a:lnTo>
                  <a:pt x="12459" y="8663"/>
                </a:lnTo>
                <a:lnTo>
                  <a:pt x="12483" y="9101"/>
                </a:lnTo>
                <a:lnTo>
                  <a:pt x="12435" y="9028"/>
                </a:lnTo>
                <a:lnTo>
                  <a:pt x="12386" y="8979"/>
                </a:lnTo>
                <a:lnTo>
                  <a:pt x="12216" y="8882"/>
                </a:lnTo>
                <a:lnTo>
                  <a:pt x="11899" y="8736"/>
                </a:lnTo>
                <a:lnTo>
                  <a:pt x="11559" y="8517"/>
                </a:lnTo>
                <a:lnTo>
                  <a:pt x="11364" y="8420"/>
                </a:lnTo>
                <a:lnTo>
                  <a:pt x="11291" y="8395"/>
                </a:lnTo>
                <a:lnTo>
                  <a:pt x="11194" y="8371"/>
                </a:lnTo>
                <a:lnTo>
                  <a:pt x="11170" y="8371"/>
                </a:lnTo>
                <a:lnTo>
                  <a:pt x="11170" y="8395"/>
                </a:lnTo>
                <a:lnTo>
                  <a:pt x="11194" y="8493"/>
                </a:lnTo>
                <a:lnTo>
                  <a:pt x="11218" y="8566"/>
                </a:lnTo>
                <a:lnTo>
                  <a:pt x="11364" y="8712"/>
                </a:lnTo>
                <a:lnTo>
                  <a:pt x="11535" y="8858"/>
                </a:lnTo>
                <a:lnTo>
                  <a:pt x="11681" y="8955"/>
                </a:lnTo>
                <a:lnTo>
                  <a:pt x="11851" y="9052"/>
                </a:lnTo>
                <a:lnTo>
                  <a:pt x="12070" y="9174"/>
                </a:lnTo>
                <a:lnTo>
                  <a:pt x="12167" y="9223"/>
                </a:lnTo>
                <a:lnTo>
                  <a:pt x="12264" y="9247"/>
                </a:lnTo>
                <a:lnTo>
                  <a:pt x="12362" y="9247"/>
                </a:lnTo>
                <a:lnTo>
                  <a:pt x="12459" y="9223"/>
                </a:lnTo>
                <a:lnTo>
                  <a:pt x="12483" y="9198"/>
                </a:lnTo>
                <a:lnTo>
                  <a:pt x="12508" y="10025"/>
                </a:lnTo>
                <a:lnTo>
                  <a:pt x="12386" y="9879"/>
                </a:lnTo>
                <a:lnTo>
                  <a:pt x="12240" y="9758"/>
                </a:lnTo>
                <a:lnTo>
                  <a:pt x="11924" y="9515"/>
                </a:lnTo>
                <a:lnTo>
                  <a:pt x="11608" y="9296"/>
                </a:lnTo>
                <a:lnTo>
                  <a:pt x="11267" y="9101"/>
                </a:lnTo>
                <a:lnTo>
                  <a:pt x="11243" y="9077"/>
                </a:lnTo>
                <a:lnTo>
                  <a:pt x="11218" y="9101"/>
                </a:lnTo>
                <a:lnTo>
                  <a:pt x="11218" y="9125"/>
                </a:lnTo>
                <a:lnTo>
                  <a:pt x="11218" y="9150"/>
                </a:lnTo>
                <a:lnTo>
                  <a:pt x="11340" y="9296"/>
                </a:lnTo>
                <a:lnTo>
                  <a:pt x="11462" y="9466"/>
                </a:lnTo>
                <a:lnTo>
                  <a:pt x="11608" y="9612"/>
                </a:lnTo>
                <a:lnTo>
                  <a:pt x="11754" y="9733"/>
                </a:lnTo>
                <a:lnTo>
                  <a:pt x="11924" y="9855"/>
                </a:lnTo>
                <a:lnTo>
                  <a:pt x="12094" y="9952"/>
                </a:lnTo>
                <a:lnTo>
                  <a:pt x="12289" y="10050"/>
                </a:lnTo>
                <a:lnTo>
                  <a:pt x="12459" y="10098"/>
                </a:lnTo>
                <a:lnTo>
                  <a:pt x="12508" y="10098"/>
                </a:lnTo>
                <a:lnTo>
                  <a:pt x="12508" y="10488"/>
                </a:lnTo>
                <a:lnTo>
                  <a:pt x="12289" y="10317"/>
                </a:lnTo>
                <a:lnTo>
                  <a:pt x="11802" y="10001"/>
                </a:lnTo>
                <a:lnTo>
                  <a:pt x="11608" y="9855"/>
                </a:lnTo>
                <a:lnTo>
                  <a:pt x="11486" y="9782"/>
                </a:lnTo>
                <a:lnTo>
                  <a:pt x="11389" y="9733"/>
                </a:lnTo>
                <a:lnTo>
                  <a:pt x="11364" y="9758"/>
                </a:lnTo>
                <a:lnTo>
                  <a:pt x="11364" y="9855"/>
                </a:lnTo>
                <a:lnTo>
                  <a:pt x="11389" y="9952"/>
                </a:lnTo>
                <a:lnTo>
                  <a:pt x="11437" y="10050"/>
                </a:lnTo>
                <a:lnTo>
                  <a:pt x="11510" y="10147"/>
                </a:lnTo>
                <a:lnTo>
                  <a:pt x="11681" y="10317"/>
                </a:lnTo>
                <a:lnTo>
                  <a:pt x="11851" y="10439"/>
                </a:lnTo>
                <a:lnTo>
                  <a:pt x="12094" y="10585"/>
                </a:lnTo>
                <a:lnTo>
                  <a:pt x="12313" y="10780"/>
                </a:lnTo>
                <a:lnTo>
                  <a:pt x="12410" y="10877"/>
                </a:lnTo>
                <a:lnTo>
                  <a:pt x="12508" y="10999"/>
                </a:lnTo>
                <a:lnTo>
                  <a:pt x="12483" y="11291"/>
                </a:lnTo>
                <a:lnTo>
                  <a:pt x="11875" y="10901"/>
                </a:lnTo>
                <a:lnTo>
                  <a:pt x="11705" y="10780"/>
                </a:lnTo>
                <a:lnTo>
                  <a:pt x="11535" y="10658"/>
                </a:lnTo>
                <a:lnTo>
                  <a:pt x="11462" y="10609"/>
                </a:lnTo>
                <a:lnTo>
                  <a:pt x="11364" y="10585"/>
                </a:lnTo>
                <a:lnTo>
                  <a:pt x="11267" y="10561"/>
                </a:lnTo>
                <a:lnTo>
                  <a:pt x="11145" y="10585"/>
                </a:lnTo>
                <a:lnTo>
                  <a:pt x="11121" y="10609"/>
                </a:lnTo>
                <a:lnTo>
                  <a:pt x="11145" y="10634"/>
                </a:lnTo>
                <a:lnTo>
                  <a:pt x="11291" y="10780"/>
                </a:lnTo>
                <a:lnTo>
                  <a:pt x="11413" y="10926"/>
                </a:lnTo>
                <a:lnTo>
                  <a:pt x="11535" y="11072"/>
                </a:lnTo>
                <a:lnTo>
                  <a:pt x="11705" y="11218"/>
                </a:lnTo>
                <a:lnTo>
                  <a:pt x="12070" y="11485"/>
                </a:lnTo>
                <a:lnTo>
                  <a:pt x="12483" y="11729"/>
                </a:lnTo>
                <a:lnTo>
                  <a:pt x="12459" y="12094"/>
                </a:lnTo>
                <a:lnTo>
                  <a:pt x="12191" y="11923"/>
                </a:lnTo>
                <a:lnTo>
                  <a:pt x="11948" y="11777"/>
                </a:lnTo>
                <a:lnTo>
                  <a:pt x="11559" y="11558"/>
                </a:lnTo>
                <a:lnTo>
                  <a:pt x="11170" y="11388"/>
                </a:lnTo>
                <a:lnTo>
                  <a:pt x="11145" y="11388"/>
                </a:lnTo>
                <a:lnTo>
                  <a:pt x="11145" y="11485"/>
                </a:lnTo>
                <a:lnTo>
                  <a:pt x="11170" y="11558"/>
                </a:lnTo>
                <a:lnTo>
                  <a:pt x="11243" y="11704"/>
                </a:lnTo>
                <a:lnTo>
                  <a:pt x="11364" y="11850"/>
                </a:lnTo>
                <a:lnTo>
                  <a:pt x="11510" y="11948"/>
                </a:lnTo>
                <a:lnTo>
                  <a:pt x="11754" y="12118"/>
                </a:lnTo>
                <a:lnTo>
                  <a:pt x="12021" y="12288"/>
                </a:lnTo>
                <a:lnTo>
                  <a:pt x="12216" y="12434"/>
                </a:lnTo>
                <a:lnTo>
                  <a:pt x="12435" y="12556"/>
                </a:lnTo>
                <a:lnTo>
                  <a:pt x="12435" y="12799"/>
                </a:lnTo>
                <a:lnTo>
                  <a:pt x="12337" y="12824"/>
                </a:lnTo>
                <a:lnTo>
                  <a:pt x="12264" y="12848"/>
                </a:lnTo>
                <a:lnTo>
                  <a:pt x="12143" y="12775"/>
                </a:lnTo>
                <a:lnTo>
                  <a:pt x="11972" y="12629"/>
                </a:lnTo>
                <a:lnTo>
                  <a:pt x="11802" y="12507"/>
                </a:lnTo>
                <a:lnTo>
                  <a:pt x="11632" y="12361"/>
                </a:lnTo>
                <a:lnTo>
                  <a:pt x="11462" y="12240"/>
                </a:lnTo>
                <a:lnTo>
                  <a:pt x="11413" y="12240"/>
                </a:lnTo>
                <a:lnTo>
                  <a:pt x="11413" y="12288"/>
                </a:lnTo>
                <a:lnTo>
                  <a:pt x="11413" y="12361"/>
                </a:lnTo>
                <a:lnTo>
                  <a:pt x="11413" y="12434"/>
                </a:lnTo>
                <a:lnTo>
                  <a:pt x="11486" y="12605"/>
                </a:lnTo>
                <a:lnTo>
                  <a:pt x="11389" y="12605"/>
                </a:lnTo>
                <a:lnTo>
                  <a:pt x="11267" y="12653"/>
                </a:lnTo>
                <a:lnTo>
                  <a:pt x="11243" y="12678"/>
                </a:lnTo>
                <a:lnTo>
                  <a:pt x="11218" y="12726"/>
                </a:lnTo>
                <a:lnTo>
                  <a:pt x="11218" y="12775"/>
                </a:lnTo>
                <a:lnTo>
                  <a:pt x="11218" y="12848"/>
                </a:lnTo>
                <a:lnTo>
                  <a:pt x="11291" y="12921"/>
                </a:lnTo>
                <a:lnTo>
                  <a:pt x="11364" y="12994"/>
                </a:lnTo>
                <a:lnTo>
                  <a:pt x="11486" y="13043"/>
                </a:lnTo>
                <a:lnTo>
                  <a:pt x="11583" y="13091"/>
                </a:lnTo>
                <a:lnTo>
                  <a:pt x="11705" y="13140"/>
                </a:lnTo>
                <a:lnTo>
                  <a:pt x="11802" y="13140"/>
                </a:lnTo>
                <a:lnTo>
                  <a:pt x="11924" y="13116"/>
                </a:lnTo>
                <a:lnTo>
                  <a:pt x="12021" y="13067"/>
                </a:lnTo>
                <a:lnTo>
                  <a:pt x="12240" y="13189"/>
                </a:lnTo>
                <a:lnTo>
                  <a:pt x="12410" y="13335"/>
                </a:lnTo>
                <a:lnTo>
                  <a:pt x="12386" y="13602"/>
                </a:lnTo>
                <a:lnTo>
                  <a:pt x="11802" y="13286"/>
                </a:lnTo>
                <a:lnTo>
                  <a:pt x="11510" y="13140"/>
                </a:lnTo>
                <a:lnTo>
                  <a:pt x="11194" y="13018"/>
                </a:lnTo>
                <a:lnTo>
                  <a:pt x="11170" y="13018"/>
                </a:lnTo>
                <a:lnTo>
                  <a:pt x="11145" y="13116"/>
                </a:lnTo>
                <a:lnTo>
                  <a:pt x="11170" y="13213"/>
                </a:lnTo>
                <a:lnTo>
                  <a:pt x="11218" y="13286"/>
                </a:lnTo>
                <a:lnTo>
                  <a:pt x="11291" y="13359"/>
                </a:lnTo>
                <a:lnTo>
                  <a:pt x="11437" y="13456"/>
                </a:lnTo>
                <a:lnTo>
                  <a:pt x="11608" y="13529"/>
                </a:lnTo>
                <a:lnTo>
                  <a:pt x="11802" y="13651"/>
                </a:lnTo>
                <a:lnTo>
                  <a:pt x="11997" y="13773"/>
                </a:lnTo>
                <a:lnTo>
                  <a:pt x="12191" y="13894"/>
                </a:lnTo>
                <a:lnTo>
                  <a:pt x="12386" y="14016"/>
                </a:lnTo>
                <a:lnTo>
                  <a:pt x="12386" y="14332"/>
                </a:lnTo>
                <a:lnTo>
                  <a:pt x="11851" y="13943"/>
                </a:lnTo>
                <a:lnTo>
                  <a:pt x="11705" y="13846"/>
                </a:lnTo>
                <a:lnTo>
                  <a:pt x="11510" y="13724"/>
                </a:lnTo>
                <a:lnTo>
                  <a:pt x="11413" y="13700"/>
                </a:lnTo>
                <a:lnTo>
                  <a:pt x="11316" y="13675"/>
                </a:lnTo>
                <a:lnTo>
                  <a:pt x="11218" y="13675"/>
                </a:lnTo>
                <a:lnTo>
                  <a:pt x="11121" y="13700"/>
                </a:lnTo>
                <a:lnTo>
                  <a:pt x="11121" y="13724"/>
                </a:lnTo>
                <a:lnTo>
                  <a:pt x="11121" y="13748"/>
                </a:lnTo>
                <a:lnTo>
                  <a:pt x="11145" y="13821"/>
                </a:lnTo>
                <a:lnTo>
                  <a:pt x="11218" y="13919"/>
                </a:lnTo>
                <a:lnTo>
                  <a:pt x="11364" y="14040"/>
                </a:lnTo>
                <a:lnTo>
                  <a:pt x="11729" y="14284"/>
                </a:lnTo>
                <a:lnTo>
                  <a:pt x="12045" y="14551"/>
                </a:lnTo>
                <a:lnTo>
                  <a:pt x="12191" y="14673"/>
                </a:lnTo>
                <a:lnTo>
                  <a:pt x="12386" y="14795"/>
                </a:lnTo>
                <a:lnTo>
                  <a:pt x="12386" y="15281"/>
                </a:lnTo>
                <a:lnTo>
                  <a:pt x="12289" y="15184"/>
                </a:lnTo>
                <a:lnTo>
                  <a:pt x="12167" y="15087"/>
                </a:lnTo>
                <a:lnTo>
                  <a:pt x="12021" y="14916"/>
                </a:lnTo>
                <a:lnTo>
                  <a:pt x="11851" y="14746"/>
                </a:lnTo>
                <a:lnTo>
                  <a:pt x="11656" y="14600"/>
                </a:lnTo>
                <a:lnTo>
                  <a:pt x="11413" y="14503"/>
                </a:lnTo>
                <a:lnTo>
                  <a:pt x="11170" y="14430"/>
                </a:lnTo>
                <a:lnTo>
                  <a:pt x="10926" y="14430"/>
                </a:lnTo>
                <a:lnTo>
                  <a:pt x="10902" y="14454"/>
                </a:lnTo>
                <a:lnTo>
                  <a:pt x="10902" y="14478"/>
                </a:lnTo>
                <a:lnTo>
                  <a:pt x="10975" y="14551"/>
                </a:lnTo>
                <a:lnTo>
                  <a:pt x="11024" y="14600"/>
                </a:lnTo>
                <a:lnTo>
                  <a:pt x="11194" y="14697"/>
                </a:lnTo>
                <a:lnTo>
                  <a:pt x="11462" y="14892"/>
                </a:lnTo>
                <a:lnTo>
                  <a:pt x="11608" y="14989"/>
                </a:lnTo>
                <a:lnTo>
                  <a:pt x="11729" y="15111"/>
                </a:lnTo>
                <a:lnTo>
                  <a:pt x="11875" y="15281"/>
                </a:lnTo>
                <a:lnTo>
                  <a:pt x="12021" y="15452"/>
                </a:lnTo>
                <a:lnTo>
                  <a:pt x="12118" y="15525"/>
                </a:lnTo>
                <a:lnTo>
                  <a:pt x="12191" y="15573"/>
                </a:lnTo>
                <a:lnTo>
                  <a:pt x="12313" y="15622"/>
                </a:lnTo>
                <a:lnTo>
                  <a:pt x="12410" y="15646"/>
                </a:lnTo>
                <a:lnTo>
                  <a:pt x="12435" y="16133"/>
                </a:lnTo>
                <a:lnTo>
                  <a:pt x="12386" y="16133"/>
                </a:lnTo>
                <a:lnTo>
                  <a:pt x="12362" y="16084"/>
                </a:lnTo>
                <a:lnTo>
                  <a:pt x="12240" y="15963"/>
                </a:lnTo>
                <a:lnTo>
                  <a:pt x="12070" y="15841"/>
                </a:lnTo>
                <a:lnTo>
                  <a:pt x="11754" y="15622"/>
                </a:lnTo>
                <a:lnTo>
                  <a:pt x="11413" y="15354"/>
                </a:lnTo>
                <a:lnTo>
                  <a:pt x="11243" y="15233"/>
                </a:lnTo>
                <a:lnTo>
                  <a:pt x="11072" y="15160"/>
                </a:lnTo>
                <a:lnTo>
                  <a:pt x="11048" y="15160"/>
                </a:lnTo>
                <a:lnTo>
                  <a:pt x="11024" y="15184"/>
                </a:lnTo>
                <a:lnTo>
                  <a:pt x="11048" y="15281"/>
                </a:lnTo>
                <a:lnTo>
                  <a:pt x="11072" y="15354"/>
                </a:lnTo>
                <a:lnTo>
                  <a:pt x="11170" y="15500"/>
                </a:lnTo>
                <a:lnTo>
                  <a:pt x="11291" y="15622"/>
                </a:lnTo>
                <a:lnTo>
                  <a:pt x="11437" y="15744"/>
                </a:lnTo>
                <a:lnTo>
                  <a:pt x="11218" y="15646"/>
                </a:lnTo>
                <a:lnTo>
                  <a:pt x="9564" y="14916"/>
                </a:lnTo>
                <a:lnTo>
                  <a:pt x="8055" y="14259"/>
                </a:lnTo>
                <a:lnTo>
                  <a:pt x="7301" y="13894"/>
                </a:lnTo>
                <a:lnTo>
                  <a:pt x="7130" y="13797"/>
                </a:lnTo>
                <a:lnTo>
                  <a:pt x="6863" y="13675"/>
                </a:lnTo>
                <a:lnTo>
                  <a:pt x="6863" y="13602"/>
                </a:lnTo>
                <a:lnTo>
                  <a:pt x="6814" y="12775"/>
                </a:lnTo>
                <a:lnTo>
                  <a:pt x="6765" y="11972"/>
                </a:lnTo>
                <a:lnTo>
                  <a:pt x="6692" y="11145"/>
                </a:lnTo>
                <a:lnTo>
                  <a:pt x="6668" y="10317"/>
                </a:lnTo>
                <a:lnTo>
                  <a:pt x="6668" y="9393"/>
                </a:lnTo>
                <a:lnTo>
                  <a:pt x="6692" y="8493"/>
                </a:lnTo>
                <a:lnTo>
                  <a:pt x="6717" y="7568"/>
                </a:lnTo>
                <a:lnTo>
                  <a:pt x="6717" y="6643"/>
                </a:lnTo>
                <a:lnTo>
                  <a:pt x="6717" y="5889"/>
                </a:lnTo>
                <a:lnTo>
                  <a:pt x="6863" y="5913"/>
                </a:lnTo>
                <a:lnTo>
                  <a:pt x="6936" y="5938"/>
                </a:lnTo>
                <a:lnTo>
                  <a:pt x="7033" y="5962"/>
                </a:lnTo>
                <a:lnTo>
                  <a:pt x="7130" y="5938"/>
                </a:lnTo>
                <a:lnTo>
                  <a:pt x="7228" y="5865"/>
                </a:lnTo>
                <a:lnTo>
                  <a:pt x="7252" y="5816"/>
                </a:lnTo>
                <a:lnTo>
                  <a:pt x="7276" y="5767"/>
                </a:lnTo>
                <a:lnTo>
                  <a:pt x="7276" y="5670"/>
                </a:lnTo>
                <a:lnTo>
                  <a:pt x="7252" y="5573"/>
                </a:lnTo>
                <a:lnTo>
                  <a:pt x="7179" y="5500"/>
                </a:lnTo>
                <a:lnTo>
                  <a:pt x="7082" y="5451"/>
                </a:lnTo>
                <a:lnTo>
                  <a:pt x="7033" y="5427"/>
                </a:lnTo>
                <a:lnTo>
                  <a:pt x="6960" y="5402"/>
                </a:lnTo>
                <a:lnTo>
                  <a:pt x="6887" y="5427"/>
                </a:lnTo>
                <a:lnTo>
                  <a:pt x="6814" y="5451"/>
                </a:lnTo>
                <a:lnTo>
                  <a:pt x="6790" y="5451"/>
                </a:lnTo>
                <a:lnTo>
                  <a:pt x="6692" y="5500"/>
                </a:lnTo>
                <a:lnTo>
                  <a:pt x="6644" y="3018"/>
                </a:lnTo>
                <a:lnTo>
                  <a:pt x="6644" y="1752"/>
                </a:lnTo>
                <a:lnTo>
                  <a:pt x="6668" y="512"/>
                </a:lnTo>
                <a:close/>
                <a:moveTo>
                  <a:pt x="6206" y="585"/>
                </a:moveTo>
                <a:lnTo>
                  <a:pt x="6181" y="852"/>
                </a:lnTo>
                <a:lnTo>
                  <a:pt x="6181" y="1096"/>
                </a:lnTo>
                <a:lnTo>
                  <a:pt x="6181" y="1874"/>
                </a:lnTo>
                <a:lnTo>
                  <a:pt x="6181" y="2653"/>
                </a:lnTo>
                <a:lnTo>
                  <a:pt x="6181" y="3602"/>
                </a:lnTo>
                <a:lnTo>
                  <a:pt x="6181" y="4551"/>
                </a:lnTo>
                <a:lnTo>
                  <a:pt x="6230" y="6449"/>
                </a:lnTo>
                <a:lnTo>
                  <a:pt x="6230" y="7373"/>
                </a:lnTo>
                <a:lnTo>
                  <a:pt x="6206" y="8298"/>
                </a:lnTo>
                <a:lnTo>
                  <a:pt x="6181" y="9198"/>
                </a:lnTo>
                <a:lnTo>
                  <a:pt x="6133" y="10123"/>
                </a:lnTo>
                <a:lnTo>
                  <a:pt x="6157" y="10926"/>
                </a:lnTo>
                <a:lnTo>
                  <a:pt x="6206" y="11729"/>
                </a:lnTo>
                <a:lnTo>
                  <a:pt x="6254" y="12532"/>
                </a:lnTo>
                <a:lnTo>
                  <a:pt x="6279" y="13335"/>
                </a:lnTo>
                <a:lnTo>
                  <a:pt x="6206" y="13359"/>
                </a:lnTo>
                <a:lnTo>
                  <a:pt x="5451" y="13748"/>
                </a:lnTo>
                <a:lnTo>
                  <a:pt x="4721" y="14186"/>
                </a:lnTo>
                <a:lnTo>
                  <a:pt x="3262" y="15087"/>
                </a:lnTo>
                <a:lnTo>
                  <a:pt x="2897" y="15281"/>
                </a:lnTo>
                <a:lnTo>
                  <a:pt x="2532" y="15476"/>
                </a:lnTo>
                <a:lnTo>
                  <a:pt x="2142" y="15671"/>
                </a:lnTo>
                <a:lnTo>
                  <a:pt x="1753" y="15841"/>
                </a:lnTo>
                <a:lnTo>
                  <a:pt x="950" y="16133"/>
                </a:lnTo>
                <a:lnTo>
                  <a:pt x="634" y="16255"/>
                </a:lnTo>
                <a:lnTo>
                  <a:pt x="634" y="16279"/>
                </a:lnTo>
                <a:lnTo>
                  <a:pt x="585" y="15938"/>
                </a:lnTo>
                <a:lnTo>
                  <a:pt x="561" y="15573"/>
                </a:lnTo>
                <a:lnTo>
                  <a:pt x="536" y="15208"/>
                </a:lnTo>
                <a:lnTo>
                  <a:pt x="512" y="14868"/>
                </a:lnTo>
                <a:lnTo>
                  <a:pt x="439" y="14430"/>
                </a:lnTo>
                <a:lnTo>
                  <a:pt x="415" y="13992"/>
                </a:lnTo>
                <a:lnTo>
                  <a:pt x="415" y="13578"/>
                </a:lnTo>
                <a:lnTo>
                  <a:pt x="439" y="13140"/>
                </a:lnTo>
                <a:lnTo>
                  <a:pt x="512" y="11461"/>
                </a:lnTo>
                <a:lnTo>
                  <a:pt x="561" y="10634"/>
                </a:lnTo>
                <a:lnTo>
                  <a:pt x="585" y="9782"/>
                </a:lnTo>
                <a:lnTo>
                  <a:pt x="609" y="8225"/>
                </a:lnTo>
                <a:lnTo>
                  <a:pt x="609" y="6668"/>
                </a:lnTo>
                <a:lnTo>
                  <a:pt x="561" y="5110"/>
                </a:lnTo>
                <a:lnTo>
                  <a:pt x="536" y="4356"/>
                </a:lnTo>
                <a:lnTo>
                  <a:pt x="488" y="3577"/>
                </a:lnTo>
                <a:lnTo>
                  <a:pt x="609" y="3504"/>
                </a:lnTo>
                <a:lnTo>
                  <a:pt x="755" y="3407"/>
                </a:lnTo>
                <a:lnTo>
                  <a:pt x="1145" y="3164"/>
                </a:lnTo>
                <a:lnTo>
                  <a:pt x="1558" y="2920"/>
                </a:lnTo>
                <a:lnTo>
                  <a:pt x="2337" y="2507"/>
                </a:lnTo>
                <a:lnTo>
                  <a:pt x="3116" y="2093"/>
                </a:lnTo>
                <a:lnTo>
                  <a:pt x="3529" y="1850"/>
                </a:lnTo>
                <a:lnTo>
                  <a:pt x="3967" y="1655"/>
                </a:lnTo>
                <a:lnTo>
                  <a:pt x="4405" y="1461"/>
                </a:lnTo>
                <a:lnTo>
                  <a:pt x="4843" y="1290"/>
                </a:lnTo>
                <a:lnTo>
                  <a:pt x="5208" y="1144"/>
                </a:lnTo>
                <a:lnTo>
                  <a:pt x="5549" y="974"/>
                </a:lnTo>
                <a:lnTo>
                  <a:pt x="6206" y="585"/>
                </a:lnTo>
                <a:close/>
                <a:moveTo>
                  <a:pt x="18542" y="804"/>
                </a:moveTo>
                <a:lnTo>
                  <a:pt x="18518" y="1023"/>
                </a:lnTo>
                <a:lnTo>
                  <a:pt x="18518" y="1266"/>
                </a:lnTo>
                <a:lnTo>
                  <a:pt x="18518" y="1752"/>
                </a:lnTo>
                <a:lnTo>
                  <a:pt x="18567" y="2263"/>
                </a:lnTo>
                <a:lnTo>
                  <a:pt x="18567" y="2726"/>
                </a:lnTo>
                <a:lnTo>
                  <a:pt x="18542" y="4648"/>
                </a:lnTo>
                <a:lnTo>
                  <a:pt x="18494" y="6546"/>
                </a:lnTo>
                <a:lnTo>
                  <a:pt x="18469" y="8249"/>
                </a:lnTo>
                <a:lnTo>
                  <a:pt x="18494" y="9952"/>
                </a:lnTo>
                <a:lnTo>
                  <a:pt x="18567" y="13359"/>
                </a:lnTo>
                <a:lnTo>
                  <a:pt x="18542" y="13359"/>
                </a:lnTo>
                <a:lnTo>
                  <a:pt x="18396" y="13505"/>
                </a:lnTo>
                <a:lnTo>
                  <a:pt x="18226" y="13651"/>
                </a:lnTo>
                <a:lnTo>
                  <a:pt x="18031" y="13748"/>
                </a:lnTo>
                <a:lnTo>
                  <a:pt x="17837" y="13846"/>
                </a:lnTo>
                <a:lnTo>
                  <a:pt x="17423" y="14016"/>
                </a:lnTo>
                <a:lnTo>
                  <a:pt x="17009" y="14186"/>
                </a:lnTo>
                <a:lnTo>
                  <a:pt x="16474" y="14454"/>
                </a:lnTo>
                <a:lnTo>
                  <a:pt x="15963" y="14746"/>
                </a:lnTo>
                <a:lnTo>
                  <a:pt x="15452" y="15038"/>
                </a:lnTo>
                <a:lnTo>
                  <a:pt x="14941" y="15330"/>
                </a:lnTo>
                <a:lnTo>
                  <a:pt x="14479" y="15598"/>
                </a:lnTo>
                <a:lnTo>
                  <a:pt x="14016" y="15865"/>
                </a:lnTo>
                <a:lnTo>
                  <a:pt x="13773" y="15987"/>
                </a:lnTo>
                <a:lnTo>
                  <a:pt x="13530" y="16109"/>
                </a:lnTo>
                <a:lnTo>
                  <a:pt x="13286" y="16182"/>
                </a:lnTo>
                <a:lnTo>
                  <a:pt x="13043" y="16255"/>
                </a:lnTo>
                <a:lnTo>
                  <a:pt x="12921" y="16303"/>
                </a:lnTo>
                <a:lnTo>
                  <a:pt x="12921" y="15987"/>
                </a:lnTo>
                <a:lnTo>
                  <a:pt x="12897" y="15671"/>
                </a:lnTo>
                <a:lnTo>
                  <a:pt x="12873" y="15379"/>
                </a:lnTo>
                <a:lnTo>
                  <a:pt x="12848" y="15062"/>
                </a:lnTo>
                <a:lnTo>
                  <a:pt x="12824" y="14770"/>
                </a:lnTo>
                <a:lnTo>
                  <a:pt x="12824" y="14016"/>
                </a:lnTo>
                <a:lnTo>
                  <a:pt x="12848" y="13943"/>
                </a:lnTo>
                <a:lnTo>
                  <a:pt x="12848" y="13894"/>
                </a:lnTo>
                <a:lnTo>
                  <a:pt x="12848" y="13359"/>
                </a:lnTo>
                <a:lnTo>
                  <a:pt x="12946" y="13335"/>
                </a:lnTo>
                <a:lnTo>
                  <a:pt x="13019" y="13310"/>
                </a:lnTo>
                <a:lnTo>
                  <a:pt x="13092" y="13262"/>
                </a:lnTo>
                <a:lnTo>
                  <a:pt x="13140" y="13213"/>
                </a:lnTo>
                <a:lnTo>
                  <a:pt x="13165" y="13116"/>
                </a:lnTo>
                <a:lnTo>
                  <a:pt x="13165" y="13018"/>
                </a:lnTo>
                <a:lnTo>
                  <a:pt x="13116" y="12921"/>
                </a:lnTo>
                <a:lnTo>
                  <a:pt x="13043" y="12872"/>
                </a:lnTo>
                <a:lnTo>
                  <a:pt x="12970" y="12848"/>
                </a:lnTo>
                <a:lnTo>
                  <a:pt x="12873" y="12848"/>
                </a:lnTo>
                <a:lnTo>
                  <a:pt x="12921" y="11826"/>
                </a:lnTo>
                <a:lnTo>
                  <a:pt x="12970" y="10804"/>
                </a:lnTo>
                <a:lnTo>
                  <a:pt x="12970" y="9806"/>
                </a:lnTo>
                <a:lnTo>
                  <a:pt x="12946" y="8809"/>
                </a:lnTo>
                <a:lnTo>
                  <a:pt x="12897" y="7836"/>
                </a:lnTo>
                <a:lnTo>
                  <a:pt x="12897" y="6838"/>
                </a:lnTo>
                <a:lnTo>
                  <a:pt x="12946" y="5986"/>
                </a:lnTo>
                <a:lnTo>
                  <a:pt x="12970" y="5110"/>
                </a:lnTo>
                <a:lnTo>
                  <a:pt x="12970" y="4672"/>
                </a:lnTo>
                <a:lnTo>
                  <a:pt x="12946" y="4234"/>
                </a:lnTo>
                <a:lnTo>
                  <a:pt x="12897" y="3821"/>
                </a:lnTo>
                <a:lnTo>
                  <a:pt x="12800" y="3383"/>
                </a:lnTo>
                <a:lnTo>
                  <a:pt x="13067" y="3285"/>
                </a:lnTo>
                <a:lnTo>
                  <a:pt x="13335" y="3164"/>
                </a:lnTo>
                <a:lnTo>
                  <a:pt x="13603" y="3042"/>
                </a:lnTo>
                <a:lnTo>
                  <a:pt x="13870" y="2920"/>
                </a:lnTo>
                <a:lnTo>
                  <a:pt x="14235" y="2750"/>
                </a:lnTo>
                <a:lnTo>
                  <a:pt x="14600" y="2555"/>
                </a:lnTo>
                <a:lnTo>
                  <a:pt x="15306" y="2142"/>
                </a:lnTo>
                <a:lnTo>
                  <a:pt x="15963" y="1752"/>
                </a:lnTo>
                <a:lnTo>
                  <a:pt x="16304" y="1558"/>
                </a:lnTo>
                <a:lnTo>
                  <a:pt x="16644" y="1388"/>
                </a:lnTo>
                <a:lnTo>
                  <a:pt x="17009" y="1242"/>
                </a:lnTo>
                <a:lnTo>
                  <a:pt x="17350" y="1096"/>
                </a:lnTo>
                <a:lnTo>
                  <a:pt x="17715" y="974"/>
                </a:lnTo>
                <a:lnTo>
                  <a:pt x="18104" y="877"/>
                </a:lnTo>
                <a:lnTo>
                  <a:pt x="18153" y="877"/>
                </a:lnTo>
                <a:lnTo>
                  <a:pt x="18202" y="828"/>
                </a:lnTo>
                <a:lnTo>
                  <a:pt x="18372" y="828"/>
                </a:lnTo>
                <a:lnTo>
                  <a:pt x="18542" y="804"/>
                </a:lnTo>
                <a:close/>
                <a:moveTo>
                  <a:pt x="6279" y="1"/>
                </a:moveTo>
                <a:lnTo>
                  <a:pt x="6206" y="25"/>
                </a:lnTo>
                <a:lnTo>
                  <a:pt x="5403" y="487"/>
                </a:lnTo>
                <a:lnTo>
                  <a:pt x="4989" y="682"/>
                </a:lnTo>
                <a:lnTo>
                  <a:pt x="4551" y="852"/>
                </a:lnTo>
                <a:lnTo>
                  <a:pt x="4113" y="1023"/>
                </a:lnTo>
                <a:lnTo>
                  <a:pt x="3700" y="1217"/>
                </a:lnTo>
                <a:lnTo>
                  <a:pt x="3286" y="1436"/>
                </a:lnTo>
                <a:lnTo>
                  <a:pt x="2872" y="1679"/>
                </a:lnTo>
                <a:lnTo>
                  <a:pt x="2021" y="2117"/>
                </a:lnTo>
                <a:lnTo>
                  <a:pt x="1607" y="2361"/>
                </a:lnTo>
                <a:lnTo>
                  <a:pt x="1193" y="2604"/>
                </a:lnTo>
                <a:lnTo>
                  <a:pt x="974" y="2726"/>
                </a:lnTo>
                <a:lnTo>
                  <a:pt x="731" y="2896"/>
                </a:lnTo>
                <a:lnTo>
                  <a:pt x="488" y="3066"/>
                </a:lnTo>
                <a:lnTo>
                  <a:pt x="390" y="3188"/>
                </a:lnTo>
                <a:lnTo>
                  <a:pt x="317" y="3285"/>
                </a:lnTo>
                <a:lnTo>
                  <a:pt x="269" y="3310"/>
                </a:lnTo>
                <a:lnTo>
                  <a:pt x="220" y="3358"/>
                </a:lnTo>
                <a:lnTo>
                  <a:pt x="171" y="3480"/>
                </a:lnTo>
                <a:lnTo>
                  <a:pt x="123" y="3626"/>
                </a:lnTo>
                <a:lnTo>
                  <a:pt x="98" y="3894"/>
                </a:lnTo>
                <a:lnTo>
                  <a:pt x="98" y="4186"/>
                </a:lnTo>
                <a:lnTo>
                  <a:pt x="123" y="4453"/>
                </a:lnTo>
                <a:lnTo>
                  <a:pt x="147" y="5329"/>
                </a:lnTo>
                <a:lnTo>
                  <a:pt x="171" y="6205"/>
                </a:lnTo>
                <a:lnTo>
                  <a:pt x="171" y="8006"/>
                </a:lnTo>
                <a:lnTo>
                  <a:pt x="147" y="9782"/>
                </a:lnTo>
                <a:lnTo>
                  <a:pt x="123" y="10658"/>
                </a:lnTo>
                <a:lnTo>
                  <a:pt x="98" y="11558"/>
                </a:lnTo>
                <a:lnTo>
                  <a:pt x="1" y="13335"/>
                </a:lnTo>
                <a:lnTo>
                  <a:pt x="1" y="13700"/>
                </a:lnTo>
                <a:lnTo>
                  <a:pt x="1" y="14065"/>
                </a:lnTo>
                <a:lnTo>
                  <a:pt x="25" y="14454"/>
                </a:lnTo>
                <a:lnTo>
                  <a:pt x="50" y="14819"/>
                </a:lnTo>
                <a:lnTo>
                  <a:pt x="98" y="15233"/>
                </a:lnTo>
                <a:lnTo>
                  <a:pt x="123" y="15646"/>
                </a:lnTo>
                <a:lnTo>
                  <a:pt x="147" y="16060"/>
                </a:lnTo>
                <a:lnTo>
                  <a:pt x="171" y="16255"/>
                </a:lnTo>
                <a:lnTo>
                  <a:pt x="220" y="16474"/>
                </a:lnTo>
                <a:lnTo>
                  <a:pt x="244" y="16547"/>
                </a:lnTo>
                <a:lnTo>
                  <a:pt x="317" y="16595"/>
                </a:lnTo>
                <a:lnTo>
                  <a:pt x="390" y="16620"/>
                </a:lnTo>
                <a:lnTo>
                  <a:pt x="463" y="16620"/>
                </a:lnTo>
                <a:lnTo>
                  <a:pt x="536" y="16644"/>
                </a:lnTo>
                <a:lnTo>
                  <a:pt x="707" y="16620"/>
                </a:lnTo>
                <a:lnTo>
                  <a:pt x="877" y="16595"/>
                </a:lnTo>
                <a:lnTo>
                  <a:pt x="1218" y="16474"/>
                </a:lnTo>
                <a:lnTo>
                  <a:pt x="1850" y="16230"/>
                </a:lnTo>
                <a:lnTo>
                  <a:pt x="2240" y="16060"/>
                </a:lnTo>
                <a:lnTo>
                  <a:pt x="2605" y="15890"/>
                </a:lnTo>
                <a:lnTo>
                  <a:pt x="2970" y="15719"/>
                </a:lnTo>
                <a:lnTo>
                  <a:pt x="3310" y="15525"/>
                </a:lnTo>
                <a:lnTo>
                  <a:pt x="4064" y="15062"/>
                </a:lnTo>
                <a:lnTo>
                  <a:pt x="4819" y="14624"/>
                </a:lnTo>
                <a:lnTo>
                  <a:pt x="5549" y="14162"/>
                </a:lnTo>
                <a:lnTo>
                  <a:pt x="5938" y="13967"/>
                </a:lnTo>
                <a:lnTo>
                  <a:pt x="6327" y="13748"/>
                </a:lnTo>
                <a:lnTo>
                  <a:pt x="6400" y="13821"/>
                </a:lnTo>
                <a:lnTo>
                  <a:pt x="6473" y="13870"/>
                </a:lnTo>
                <a:lnTo>
                  <a:pt x="6546" y="13894"/>
                </a:lnTo>
                <a:lnTo>
                  <a:pt x="6644" y="13870"/>
                </a:lnTo>
                <a:lnTo>
                  <a:pt x="6741" y="13992"/>
                </a:lnTo>
                <a:lnTo>
                  <a:pt x="6863" y="14089"/>
                </a:lnTo>
                <a:lnTo>
                  <a:pt x="7130" y="14259"/>
                </a:lnTo>
                <a:lnTo>
                  <a:pt x="7422" y="14405"/>
                </a:lnTo>
                <a:lnTo>
                  <a:pt x="7690" y="14551"/>
                </a:lnTo>
                <a:lnTo>
                  <a:pt x="8517" y="14916"/>
                </a:lnTo>
                <a:lnTo>
                  <a:pt x="9345" y="15306"/>
                </a:lnTo>
                <a:lnTo>
                  <a:pt x="10878" y="16011"/>
                </a:lnTo>
                <a:lnTo>
                  <a:pt x="11656" y="16352"/>
                </a:lnTo>
                <a:lnTo>
                  <a:pt x="12435" y="16644"/>
                </a:lnTo>
                <a:lnTo>
                  <a:pt x="12459" y="16668"/>
                </a:lnTo>
                <a:lnTo>
                  <a:pt x="12508" y="16741"/>
                </a:lnTo>
                <a:lnTo>
                  <a:pt x="12581" y="16766"/>
                </a:lnTo>
                <a:lnTo>
                  <a:pt x="12678" y="16766"/>
                </a:lnTo>
                <a:lnTo>
                  <a:pt x="12751" y="16741"/>
                </a:lnTo>
                <a:lnTo>
                  <a:pt x="12800" y="16693"/>
                </a:lnTo>
                <a:lnTo>
                  <a:pt x="12897" y="16717"/>
                </a:lnTo>
                <a:lnTo>
                  <a:pt x="13019" y="16717"/>
                </a:lnTo>
                <a:lnTo>
                  <a:pt x="13286" y="16668"/>
                </a:lnTo>
                <a:lnTo>
                  <a:pt x="13530" y="16595"/>
                </a:lnTo>
                <a:lnTo>
                  <a:pt x="13724" y="16522"/>
                </a:lnTo>
                <a:lnTo>
                  <a:pt x="14211" y="16279"/>
                </a:lnTo>
                <a:lnTo>
                  <a:pt x="14698" y="16036"/>
                </a:lnTo>
                <a:lnTo>
                  <a:pt x="15647" y="15500"/>
                </a:lnTo>
                <a:lnTo>
                  <a:pt x="16596" y="14965"/>
                </a:lnTo>
                <a:lnTo>
                  <a:pt x="17058" y="14697"/>
                </a:lnTo>
                <a:lnTo>
                  <a:pt x="17545" y="14478"/>
                </a:lnTo>
                <a:lnTo>
                  <a:pt x="17885" y="14332"/>
                </a:lnTo>
                <a:lnTo>
                  <a:pt x="18226" y="14186"/>
                </a:lnTo>
                <a:lnTo>
                  <a:pt x="18542" y="14016"/>
                </a:lnTo>
                <a:lnTo>
                  <a:pt x="18688" y="13894"/>
                </a:lnTo>
                <a:lnTo>
                  <a:pt x="18834" y="13773"/>
                </a:lnTo>
                <a:lnTo>
                  <a:pt x="18883" y="13748"/>
                </a:lnTo>
                <a:lnTo>
                  <a:pt x="18932" y="13724"/>
                </a:lnTo>
                <a:lnTo>
                  <a:pt x="18980" y="13651"/>
                </a:lnTo>
                <a:lnTo>
                  <a:pt x="18980" y="13578"/>
                </a:lnTo>
                <a:lnTo>
                  <a:pt x="18980" y="12726"/>
                </a:lnTo>
                <a:lnTo>
                  <a:pt x="18956" y="11875"/>
                </a:lnTo>
                <a:lnTo>
                  <a:pt x="18883" y="10171"/>
                </a:lnTo>
                <a:lnTo>
                  <a:pt x="18859" y="9271"/>
                </a:lnTo>
                <a:lnTo>
                  <a:pt x="18859" y="8347"/>
                </a:lnTo>
                <a:lnTo>
                  <a:pt x="18883" y="6546"/>
                </a:lnTo>
                <a:lnTo>
                  <a:pt x="18932" y="4648"/>
                </a:lnTo>
                <a:lnTo>
                  <a:pt x="18956" y="2726"/>
                </a:lnTo>
                <a:lnTo>
                  <a:pt x="18980" y="2215"/>
                </a:lnTo>
                <a:lnTo>
                  <a:pt x="18980" y="1679"/>
                </a:lnTo>
                <a:lnTo>
                  <a:pt x="18932" y="1144"/>
                </a:lnTo>
                <a:lnTo>
                  <a:pt x="18883" y="901"/>
                </a:lnTo>
                <a:lnTo>
                  <a:pt x="18834" y="633"/>
                </a:lnTo>
                <a:lnTo>
                  <a:pt x="18883" y="585"/>
                </a:lnTo>
                <a:lnTo>
                  <a:pt x="18883" y="512"/>
                </a:lnTo>
                <a:lnTo>
                  <a:pt x="18883" y="439"/>
                </a:lnTo>
                <a:lnTo>
                  <a:pt x="18834" y="366"/>
                </a:lnTo>
                <a:lnTo>
                  <a:pt x="18761" y="293"/>
                </a:lnTo>
                <a:lnTo>
                  <a:pt x="18664" y="244"/>
                </a:lnTo>
                <a:lnTo>
                  <a:pt x="18421" y="244"/>
                </a:lnTo>
                <a:lnTo>
                  <a:pt x="18177" y="317"/>
                </a:lnTo>
                <a:lnTo>
                  <a:pt x="17958" y="414"/>
                </a:lnTo>
                <a:lnTo>
                  <a:pt x="17715" y="487"/>
                </a:lnTo>
                <a:lnTo>
                  <a:pt x="17374" y="585"/>
                </a:lnTo>
                <a:lnTo>
                  <a:pt x="17058" y="706"/>
                </a:lnTo>
                <a:lnTo>
                  <a:pt x="16742" y="828"/>
                </a:lnTo>
                <a:lnTo>
                  <a:pt x="16425" y="974"/>
                </a:lnTo>
                <a:lnTo>
                  <a:pt x="15817" y="1290"/>
                </a:lnTo>
                <a:lnTo>
                  <a:pt x="15209" y="1655"/>
                </a:lnTo>
                <a:lnTo>
                  <a:pt x="14479" y="2117"/>
                </a:lnTo>
                <a:lnTo>
                  <a:pt x="14089" y="2312"/>
                </a:lnTo>
                <a:lnTo>
                  <a:pt x="13700" y="2507"/>
                </a:lnTo>
                <a:lnTo>
                  <a:pt x="13432" y="2628"/>
                </a:lnTo>
                <a:lnTo>
                  <a:pt x="13165" y="2750"/>
                </a:lnTo>
                <a:lnTo>
                  <a:pt x="12897" y="2920"/>
                </a:lnTo>
                <a:lnTo>
                  <a:pt x="12654" y="3091"/>
                </a:lnTo>
                <a:lnTo>
                  <a:pt x="12532" y="2969"/>
                </a:lnTo>
                <a:lnTo>
                  <a:pt x="12386" y="2896"/>
                </a:lnTo>
                <a:lnTo>
                  <a:pt x="12070" y="2750"/>
                </a:lnTo>
                <a:lnTo>
                  <a:pt x="11875" y="2653"/>
                </a:lnTo>
                <a:lnTo>
                  <a:pt x="11705" y="2555"/>
                </a:lnTo>
                <a:lnTo>
                  <a:pt x="11316" y="2336"/>
                </a:lnTo>
                <a:lnTo>
                  <a:pt x="11072" y="2190"/>
                </a:lnTo>
                <a:lnTo>
                  <a:pt x="10805" y="2093"/>
                </a:lnTo>
                <a:lnTo>
                  <a:pt x="10294" y="1874"/>
                </a:lnTo>
                <a:lnTo>
                  <a:pt x="9758" y="1679"/>
                </a:lnTo>
                <a:lnTo>
                  <a:pt x="9223" y="1485"/>
                </a:lnTo>
                <a:lnTo>
                  <a:pt x="8298" y="1071"/>
                </a:lnTo>
                <a:lnTo>
                  <a:pt x="7836" y="852"/>
                </a:lnTo>
                <a:lnTo>
                  <a:pt x="7398" y="609"/>
                </a:lnTo>
                <a:lnTo>
                  <a:pt x="7325" y="536"/>
                </a:lnTo>
                <a:lnTo>
                  <a:pt x="7228" y="439"/>
                </a:lnTo>
                <a:lnTo>
                  <a:pt x="7057" y="244"/>
                </a:lnTo>
                <a:lnTo>
                  <a:pt x="6936" y="147"/>
                </a:lnTo>
                <a:lnTo>
                  <a:pt x="6838" y="74"/>
                </a:lnTo>
                <a:lnTo>
                  <a:pt x="6741" y="25"/>
                </a:lnTo>
                <a:lnTo>
                  <a:pt x="6619" y="25"/>
                </a:lnTo>
                <a:lnTo>
                  <a:pt x="6571" y="1"/>
                </a:lnTo>
                <a:lnTo>
                  <a:pt x="6498" y="1"/>
                </a:lnTo>
                <a:lnTo>
                  <a:pt x="6449" y="25"/>
                </a:lnTo>
                <a:lnTo>
                  <a:pt x="6400" y="1"/>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 name="TextBox 2">
            <a:extLst>
              <a:ext uri="{FF2B5EF4-FFF2-40B4-BE49-F238E27FC236}">
                <a16:creationId xmlns:a16="http://schemas.microsoft.com/office/drawing/2014/main" id="{EF897D22-3B24-39B8-B3C1-47CA5D082FB4}"/>
              </a:ext>
            </a:extLst>
          </p:cNvPr>
          <p:cNvSpPr txBox="1"/>
          <p:nvPr/>
        </p:nvSpPr>
        <p:spPr>
          <a:xfrm>
            <a:off x="278658" y="1616029"/>
            <a:ext cx="7131792" cy="430887"/>
          </a:xfrm>
          <a:prstGeom prst="rect">
            <a:avLst/>
          </a:prstGeom>
          <a:noFill/>
        </p:spPr>
        <p:txBody>
          <a:bodyPr wrap="square">
            <a:spAutoFit/>
          </a:bodyPr>
          <a:lstStyle/>
          <a:p>
            <a:pPr lvl="0" algn="l">
              <a:spcBef>
                <a:spcPts val="0"/>
              </a:spcBef>
              <a:spcAft>
                <a:spcPts val="0"/>
              </a:spcAft>
            </a:pPr>
            <a:r>
              <a:rPr lang="da-DK" sz="2200" b="1">
                <a:latin typeface="Amatic SC"/>
                <a:cs typeface="Amatic SC"/>
                <a:sym typeface="Quicksand"/>
              </a:rPr>
              <a:t>Evalueringen viser, at:</a:t>
            </a:r>
            <a:endParaRPr lang="da-DK" sz="2200" b="1">
              <a:latin typeface="Quicksand"/>
              <a:ea typeface="Quicksand"/>
              <a:cs typeface="Quicksand"/>
              <a:sym typeface="Quicksand"/>
            </a:endParaRPr>
          </a:p>
        </p:txBody>
      </p:sp>
      <p:sp>
        <p:nvSpPr>
          <p:cNvPr id="2" name="Oval 5">
            <a:extLst>
              <a:ext uri="{FF2B5EF4-FFF2-40B4-BE49-F238E27FC236}">
                <a16:creationId xmlns:a16="http://schemas.microsoft.com/office/drawing/2014/main" id="{6192CEAD-C99E-DC9B-FE7A-817458E371FF}"/>
              </a:ext>
            </a:extLst>
          </p:cNvPr>
          <p:cNvSpPr/>
          <p:nvPr/>
        </p:nvSpPr>
        <p:spPr>
          <a:xfrm>
            <a:off x="346519" y="2326640"/>
            <a:ext cx="345600" cy="345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1</a:t>
            </a:r>
            <a:endParaRPr lang="da-DK" sz="2000" noProof="0" dirty="0">
              <a:latin typeface="Quicksand" panose="020B0604020202020204" charset="0"/>
              <a:cs typeface="Quicksand" panose="020B0604020202020204" charset="0"/>
            </a:endParaRPr>
          </a:p>
        </p:txBody>
      </p:sp>
      <p:sp>
        <p:nvSpPr>
          <p:cNvPr id="7" name="Oval 6">
            <a:extLst>
              <a:ext uri="{FF2B5EF4-FFF2-40B4-BE49-F238E27FC236}">
                <a16:creationId xmlns:a16="http://schemas.microsoft.com/office/drawing/2014/main" id="{729825B9-BA9D-CB2B-8D16-E43A949EB1B1}"/>
              </a:ext>
            </a:extLst>
          </p:cNvPr>
          <p:cNvSpPr/>
          <p:nvPr/>
        </p:nvSpPr>
        <p:spPr>
          <a:xfrm>
            <a:off x="346519" y="3031877"/>
            <a:ext cx="345600" cy="345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8" name="Oval 7">
            <a:extLst>
              <a:ext uri="{FF2B5EF4-FFF2-40B4-BE49-F238E27FC236}">
                <a16:creationId xmlns:a16="http://schemas.microsoft.com/office/drawing/2014/main" id="{CDAF1D35-3AD6-8487-5EBF-8D9C36833710}"/>
              </a:ext>
            </a:extLst>
          </p:cNvPr>
          <p:cNvSpPr/>
          <p:nvPr/>
        </p:nvSpPr>
        <p:spPr>
          <a:xfrm>
            <a:off x="346519" y="3781929"/>
            <a:ext cx="345600" cy="345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spTree>
    <p:extLst>
      <p:ext uri="{BB962C8B-B14F-4D97-AF65-F5344CB8AC3E}">
        <p14:creationId xmlns:p14="http://schemas.microsoft.com/office/powerpoint/2010/main" val="25868883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9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41E3BF-4194-4AEC-AE0B-9FE634FD6E9D}"/>
              </a:ext>
            </a:extLst>
          </p:cNvPr>
          <p:cNvGraphicFramePr>
            <a:graphicFrameLocks noChangeAspect="1"/>
          </p:cNvGraphicFramePr>
          <p:nvPr>
            <p:custDataLst>
              <p:tags r:id="rId1"/>
            </p:custDataLst>
            <p:extLst>
              <p:ext uri="{D42A27DB-BD31-4B8C-83A1-F6EECF244321}">
                <p14:modId xmlns:p14="http://schemas.microsoft.com/office/powerpoint/2010/main" val="3230649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a:extLst>
                          <a:ext uri="{FF2B5EF4-FFF2-40B4-BE49-F238E27FC236}">
                            <a16:creationId xmlns:a16="http://schemas.microsoft.com/office/drawing/2014/main" id="{CB41E3BF-4194-4AEC-AE0B-9FE634FD6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94" name="Google Shape;694;p13"/>
          <p:cNvSpPr txBox="1">
            <a:spLocks noGrp="1"/>
          </p:cNvSpPr>
          <p:nvPr>
            <p:ph type="ctrTitle"/>
          </p:nvPr>
        </p:nvSpPr>
        <p:spPr>
          <a:xfrm>
            <a:off x="0" y="2436684"/>
            <a:ext cx="12192000" cy="1984631"/>
          </a:xfrm>
          <a:prstGeom prst="rect">
            <a:avLst/>
          </a:prstGeom>
        </p:spPr>
        <p:txBody>
          <a:bodyPr spcFirstLastPara="1" wrap="square" lIns="0" tIns="0" rIns="0" bIns="0" anchor="ctr" anchorCtr="0">
            <a:noAutofit/>
          </a:bodyPr>
          <a:lstStyle/>
          <a:p>
            <a:pPr algn="ctr"/>
            <a:r>
              <a:rPr lang="da-DK" sz="4800" b="1" dirty="0">
                <a:latin typeface="Amatic SC" panose="00000500000000000000" pitchFamily="2" charset="-79"/>
                <a:cs typeface="Amatic SC" panose="00000500000000000000" pitchFamily="2" charset="-79"/>
              </a:rPr>
              <a:t>Resultater fra andet evalueringsrul</a:t>
            </a:r>
            <a:br>
              <a:rPr lang="da-DK" sz="4800" b="1" dirty="0">
                <a:latin typeface="Amatic SC" panose="00000500000000000000" pitchFamily="2" charset="-79"/>
                <a:cs typeface="Amatic SC" panose="00000500000000000000" pitchFamily="2" charset="-79"/>
              </a:rPr>
            </a:br>
            <a:r>
              <a:rPr lang="da-DK" sz="3200" dirty="0">
                <a:latin typeface="Amatic SC" panose="00000500000000000000" pitchFamily="2" charset="-79"/>
                <a:cs typeface="Amatic SC" panose="00000500000000000000" pitchFamily="2" charset="-79"/>
              </a:rPr>
              <a:t>den mangfoldige folkeskole i Nordjylland</a:t>
            </a:r>
            <a:br>
              <a:rPr lang="da-DK" sz="3200" dirty="0">
                <a:latin typeface="Amatic SC" panose="00000500000000000000" pitchFamily="2" charset="-79"/>
                <a:cs typeface="Amatic SC" panose="00000500000000000000" pitchFamily="2" charset="-79"/>
              </a:rPr>
            </a:br>
            <a:r>
              <a:rPr lang="da-DK" sz="3200" dirty="0">
                <a:latin typeface="Amatic SC" panose="00000500000000000000" pitchFamily="2" charset="-79"/>
                <a:cs typeface="Amatic SC" panose="00000500000000000000" pitchFamily="2" charset="-79"/>
              </a:rPr>
              <a:t>forår 2024</a:t>
            </a:r>
          </a:p>
        </p:txBody>
      </p:sp>
      <p:sp>
        <p:nvSpPr>
          <p:cNvPr id="5" name="Freeform 5">
            <a:extLst>
              <a:ext uri="{FF2B5EF4-FFF2-40B4-BE49-F238E27FC236}">
                <a16:creationId xmlns:a16="http://schemas.microsoft.com/office/drawing/2014/main" id="{6700E6DD-2609-4241-8E3B-D501AA8DCC47}"/>
              </a:ext>
            </a:extLst>
          </p:cNvPr>
          <p:cNvSpPr>
            <a:spLocks noEditPoints="1"/>
          </p:cNvSpPr>
          <p:nvPr/>
        </p:nvSpPr>
        <p:spPr bwMode="auto">
          <a:xfrm>
            <a:off x="549872" y="6128309"/>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a-DK"/>
          </a:p>
        </p:txBody>
      </p:sp>
    </p:spTree>
    <p:extLst>
      <p:ext uri="{BB962C8B-B14F-4D97-AF65-F5344CB8AC3E}">
        <p14:creationId xmlns:p14="http://schemas.microsoft.com/office/powerpoint/2010/main" val="22250463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9CA9FF-A7C4-BBBA-B976-CEC71C9FD6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Object 2" hidden="1">
                        <a:extLst>
                          <a:ext uri="{FF2B5EF4-FFF2-40B4-BE49-F238E27FC236}">
                            <a16:creationId xmlns:a16="http://schemas.microsoft.com/office/drawing/2014/main" id="{939CA9FF-A7C4-BBBA-B976-CEC71C9FD6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6837AFC8-649E-E213-A63F-4A4D4D0758C6}"/>
              </a:ext>
            </a:extLst>
          </p:cNvPr>
          <p:cNvSpPr txBox="1"/>
          <p:nvPr/>
        </p:nvSpPr>
        <p:spPr>
          <a:xfrm>
            <a:off x="3744687" y="2731229"/>
            <a:ext cx="6035040" cy="2523768"/>
          </a:xfrm>
          <a:prstGeom prst="rect">
            <a:avLst/>
          </a:prstGeom>
          <a:noFill/>
        </p:spPr>
        <p:txBody>
          <a:bodyPr wrap="square" lIns="0" tIns="0" rIns="0" bIns="0" rtlCol="0">
            <a:spAutoFit/>
          </a:bodyPr>
          <a:lstStyle/>
          <a:p>
            <a:r>
              <a:rPr lang="da-DK" sz="2400" b="1" dirty="0">
                <a:solidFill>
                  <a:schemeClr val="accent4"/>
                </a:solidFill>
                <a:latin typeface="Quicksand" panose="020B0604020202020204"/>
                <a:cs typeface="Amatic SC" panose="00000500000000000000" pitchFamily="2" charset="-79"/>
              </a:rPr>
              <a:t>Vi er kun to i vores team, og derfor er der en anden synergi. Men i arbejdet med vores børnesyn har vi måtte sande, at vi havde et mere statisk børnesyn, end vi ønskede. </a:t>
            </a:r>
          </a:p>
          <a:p>
            <a:r>
              <a:rPr lang="da-DK" sz="2400" b="1" dirty="0">
                <a:solidFill>
                  <a:schemeClr val="accent4"/>
                </a:solidFill>
                <a:latin typeface="Quicksand" panose="020B0604020202020204"/>
                <a:cs typeface="Amatic SC" panose="00000500000000000000" pitchFamily="2" charset="-79"/>
              </a:rPr>
              <a:t>Det var skræmmende at finde ud af. </a:t>
            </a:r>
            <a:br>
              <a:rPr lang="da-DK" sz="2400" dirty="0">
                <a:solidFill>
                  <a:schemeClr val="accent4"/>
                </a:solidFill>
                <a:latin typeface="Quicksand" panose="020B0604020202020204"/>
                <a:cs typeface="Amatic SC" panose="00000500000000000000" pitchFamily="2" charset="-79"/>
              </a:rPr>
            </a:br>
            <a:endParaRPr lang="da-DK" sz="2400" b="1" dirty="0">
              <a:solidFill>
                <a:schemeClr val="accent4"/>
              </a:solidFill>
              <a:latin typeface="Quicksand" panose="020B0604020202020204" charset="0"/>
              <a:cs typeface="Quicksand" panose="020B0604020202020204" charset="0"/>
            </a:endParaRPr>
          </a:p>
          <a:p>
            <a:r>
              <a:rPr lang="da-DK" sz="2000" i="1" dirty="0">
                <a:solidFill>
                  <a:schemeClr val="accent4"/>
                </a:solidFill>
                <a:latin typeface="Quicksand" panose="020B0604020202020204" charset="0"/>
                <a:cs typeface="Quicksand" panose="020B0604020202020204" charset="0"/>
              </a:rPr>
              <a:t>Pædagogisk personale</a:t>
            </a:r>
          </a:p>
        </p:txBody>
      </p:sp>
      <p:pic>
        <p:nvPicPr>
          <p:cNvPr id="4" name="Graphic 3" descr="Open quotation mark with solid fill">
            <a:extLst>
              <a:ext uri="{FF2B5EF4-FFF2-40B4-BE49-F238E27FC236}">
                <a16:creationId xmlns:a16="http://schemas.microsoft.com/office/drawing/2014/main" id="{A9D03C7A-067A-F731-C9CE-914E8B9493B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438279" y="1472656"/>
            <a:ext cx="1255221" cy="1255221"/>
          </a:xfrm>
          <a:prstGeom prst="rect">
            <a:avLst/>
          </a:prstGeom>
        </p:spPr>
      </p:pic>
    </p:spTree>
    <p:extLst>
      <p:ext uri="{BB962C8B-B14F-4D97-AF65-F5344CB8AC3E}">
        <p14:creationId xmlns:p14="http://schemas.microsoft.com/office/powerpoint/2010/main" val="25923186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Shape 69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41E3BF-4194-4AEC-AE0B-9FE634FD6E9D}"/>
              </a:ext>
            </a:extLst>
          </p:cNvPr>
          <p:cNvGraphicFramePr>
            <a:graphicFrameLocks noChangeAspect="1"/>
          </p:cNvGraphicFramePr>
          <p:nvPr>
            <p:custDataLst>
              <p:tags r:id="rId1"/>
            </p:custDataLst>
            <p:extLst>
              <p:ext uri="{D42A27DB-BD31-4B8C-83A1-F6EECF244321}">
                <p14:modId xmlns:p14="http://schemas.microsoft.com/office/powerpoint/2010/main" val="2755115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a:extLst>
                          <a:ext uri="{FF2B5EF4-FFF2-40B4-BE49-F238E27FC236}">
                            <a16:creationId xmlns:a16="http://schemas.microsoft.com/office/drawing/2014/main" id="{CB41E3BF-4194-4AEC-AE0B-9FE634FD6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94" name="Google Shape;694;p13"/>
          <p:cNvSpPr txBox="1">
            <a:spLocks noGrp="1"/>
          </p:cNvSpPr>
          <p:nvPr>
            <p:ph type="ctrTitle"/>
          </p:nvPr>
        </p:nvSpPr>
        <p:spPr>
          <a:xfrm>
            <a:off x="3328946" y="2142350"/>
            <a:ext cx="5534107" cy="2542820"/>
          </a:xfrm>
          <a:prstGeom prst="rect">
            <a:avLst/>
          </a:prstGeom>
          <a:solidFill>
            <a:schemeClr val="accent3"/>
          </a:solidFill>
        </p:spPr>
        <p:txBody>
          <a:bodyPr spcFirstLastPara="1" wrap="square" lIns="0" tIns="0" rIns="0" bIns="0" anchor="ctr" anchorCtr="0">
            <a:noAutofit/>
          </a:bodyPr>
          <a:lstStyle/>
          <a:p>
            <a:pPr marL="0" lvl="0" indent="0" algn="ctr">
              <a:spcBef>
                <a:spcPts val="0"/>
              </a:spcBef>
              <a:spcAft>
                <a:spcPts val="0"/>
              </a:spcAft>
              <a:buNone/>
            </a:pPr>
            <a:r>
              <a:rPr lang="da-DK" sz="4800" b="1" dirty="0">
                <a:solidFill>
                  <a:schemeClr val="bg1"/>
                </a:solidFill>
                <a:latin typeface="Amatic SC"/>
                <a:ea typeface="Amatic SC"/>
                <a:cs typeface="Amatic SC"/>
                <a:sym typeface="Amatic SC"/>
              </a:rPr>
              <a:t>Ledelsesunderstøttelse</a:t>
            </a:r>
            <a:br>
              <a:rPr lang="da-DK" sz="4800" b="1" dirty="0">
                <a:solidFill>
                  <a:schemeClr val="bg1"/>
                </a:solidFill>
                <a:latin typeface="Amatic SC"/>
                <a:ea typeface="Amatic SC"/>
                <a:cs typeface="Amatic SC"/>
                <a:sym typeface="Amatic SC"/>
              </a:rPr>
            </a:br>
            <a:r>
              <a:rPr lang="da-DK" sz="4800" b="1" dirty="0">
                <a:solidFill>
                  <a:schemeClr val="bg1"/>
                </a:solidFill>
                <a:latin typeface="Amatic SC"/>
                <a:ea typeface="Amatic SC"/>
                <a:cs typeface="Amatic SC"/>
                <a:sym typeface="Amatic SC"/>
              </a:rPr>
              <a:t>og organisering</a:t>
            </a:r>
          </a:p>
        </p:txBody>
      </p:sp>
    </p:spTree>
    <p:extLst>
      <p:ext uri="{BB962C8B-B14F-4D97-AF65-F5344CB8AC3E}">
        <p14:creationId xmlns:p14="http://schemas.microsoft.com/office/powerpoint/2010/main" val="23071078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22</a:t>
            </a:fld>
            <a:endParaRPr lang="da-DK"/>
          </a:p>
        </p:txBody>
      </p:sp>
      <p:sp>
        <p:nvSpPr>
          <p:cNvPr id="25" name="Google Shape;846;p29">
            <a:extLst>
              <a:ext uri="{FF2B5EF4-FFF2-40B4-BE49-F238E27FC236}">
                <a16:creationId xmlns:a16="http://schemas.microsoft.com/office/drawing/2014/main" id="{EDA2C9DA-AA0E-4900-AD2F-E52580846E8D}"/>
              </a:ext>
            </a:extLst>
          </p:cNvPr>
          <p:cNvSpPr/>
          <p:nvPr/>
        </p:nvSpPr>
        <p:spPr>
          <a:xfrm>
            <a:off x="-1" y="338337"/>
            <a:ext cx="901244" cy="1019120"/>
          </a:xfrm>
          <a:prstGeom prst="homePlate">
            <a:avLst>
              <a:gd name="adj" fmla="val 50000"/>
            </a:avLst>
          </a:prstGeom>
          <a:solidFill>
            <a:schemeClr val="accent3"/>
          </a:solidFill>
          <a:ln>
            <a:noFill/>
          </a:ln>
        </p:spPr>
        <p:txBody>
          <a:bodyPr spcFirstLastPara="1" wrap="square" lIns="396000"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19" name="Google Shape;843;p29">
            <a:extLst>
              <a:ext uri="{FF2B5EF4-FFF2-40B4-BE49-F238E27FC236}">
                <a16:creationId xmlns:a16="http://schemas.microsoft.com/office/drawing/2014/main" id="{63F687D6-3A0C-49E8-8309-51383D3FACDF}"/>
              </a:ext>
            </a:extLst>
          </p:cNvPr>
          <p:cNvSpPr/>
          <p:nvPr/>
        </p:nvSpPr>
        <p:spPr>
          <a:xfrm>
            <a:off x="369455" y="335052"/>
            <a:ext cx="11822545" cy="1019120"/>
          </a:xfrm>
          <a:prstGeom prst="chevron">
            <a:avLst>
              <a:gd name="adj" fmla="val 50000"/>
            </a:avLst>
          </a:prstGeom>
          <a:solidFill>
            <a:schemeClr val="accent3"/>
          </a:solidFill>
          <a:ln>
            <a:noFill/>
          </a:ln>
        </p:spPr>
        <p:txBody>
          <a:bodyPr spcFirstLastPara="1" wrap="square" lIns="91425" tIns="91425" rIns="91425" bIns="91425" anchor="ctr" anchorCtr="0">
            <a:noAutofit/>
          </a:bodyPr>
          <a:lstStyle/>
          <a:p>
            <a:pPr marL="0" lvl="0" indent="0">
              <a:spcBef>
                <a:spcPts val="0"/>
              </a:spcBef>
              <a:spcAft>
                <a:spcPts val="0"/>
              </a:spcAft>
              <a:buNone/>
            </a:pPr>
            <a:r>
              <a:rPr lang="da-DK" sz="3200" b="1">
                <a:solidFill>
                  <a:schemeClr val="bg1"/>
                </a:solidFill>
                <a:latin typeface="Amatic SC"/>
                <a:ea typeface="Amatic SC"/>
                <a:cs typeface="Amatic SC"/>
                <a:sym typeface="Amatic SC"/>
              </a:rPr>
              <a:t>Organisering og ledelsesunderstøttelse: hovedresultater</a:t>
            </a:r>
          </a:p>
        </p:txBody>
      </p:sp>
      <p:sp>
        <p:nvSpPr>
          <p:cNvPr id="32" name="TextBox 31">
            <a:extLst>
              <a:ext uri="{FF2B5EF4-FFF2-40B4-BE49-F238E27FC236}">
                <a16:creationId xmlns:a16="http://schemas.microsoft.com/office/drawing/2014/main" id="{6525F883-4EF3-2E17-67B9-930C5FF2C9C2}"/>
              </a:ext>
            </a:extLst>
          </p:cNvPr>
          <p:cNvSpPr txBox="1">
            <a:spLocks/>
          </p:cNvSpPr>
          <p:nvPr/>
        </p:nvSpPr>
        <p:spPr>
          <a:xfrm>
            <a:off x="1414324" y="2552292"/>
            <a:ext cx="9149171" cy="915984"/>
          </a:xfrm>
          <a:custGeom>
            <a:avLst/>
            <a:gdLst>
              <a:gd name="connsiteX0" fmla="*/ 0 w 9149171"/>
              <a:gd name="connsiteY0" fmla="*/ 0 h 915984"/>
              <a:gd name="connsiteX1" fmla="*/ 836496 w 9149171"/>
              <a:gd name="connsiteY1" fmla="*/ 0 h 915984"/>
              <a:gd name="connsiteX2" fmla="*/ 1581500 w 9149171"/>
              <a:gd name="connsiteY2" fmla="*/ 0 h 915984"/>
              <a:gd name="connsiteX3" fmla="*/ 2235012 w 9149171"/>
              <a:gd name="connsiteY3" fmla="*/ 0 h 915984"/>
              <a:gd name="connsiteX4" fmla="*/ 2797032 w 9149171"/>
              <a:gd name="connsiteY4" fmla="*/ 0 h 915984"/>
              <a:gd name="connsiteX5" fmla="*/ 3542036 w 9149171"/>
              <a:gd name="connsiteY5" fmla="*/ 0 h 915984"/>
              <a:gd name="connsiteX6" fmla="*/ 4012565 w 9149171"/>
              <a:gd name="connsiteY6" fmla="*/ 0 h 915984"/>
              <a:gd name="connsiteX7" fmla="*/ 4757569 w 9149171"/>
              <a:gd name="connsiteY7" fmla="*/ 0 h 915984"/>
              <a:gd name="connsiteX8" fmla="*/ 5228098 w 9149171"/>
              <a:gd name="connsiteY8" fmla="*/ 0 h 915984"/>
              <a:gd name="connsiteX9" fmla="*/ 5698627 w 9149171"/>
              <a:gd name="connsiteY9" fmla="*/ 0 h 915984"/>
              <a:gd name="connsiteX10" fmla="*/ 6535122 w 9149171"/>
              <a:gd name="connsiteY10" fmla="*/ 0 h 915984"/>
              <a:gd name="connsiteX11" fmla="*/ 7188634 w 9149171"/>
              <a:gd name="connsiteY11" fmla="*/ 0 h 915984"/>
              <a:gd name="connsiteX12" fmla="*/ 8025130 w 9149171"/>
              <a:gd name="connsiteY12" fmla="*/ 0 h 915984"/>
              <a:gd name="connsiteX13" fmla="*/ 9149171 w 9149171"/>
              <a:gd name="connsiteY13" fmla="*/ 0 h 915984"/>
              <a:gd name="connsiteX14" fmla="*/ 9149171 w 9149171"/>
              <a:gd name="connsiteY14" fmla="*/ 439672 h 915984"/>
              <a:gd name="connsiteX15" fmla="*/ 9149171 w 9149171"/>
              <a:gd name="connsiteY15" fmla="*/ 915984 h 915984"/>
              <a:gd name="connsiteX16" fmla="*/ 8312675 w 9149171"/>
              <a:gd name="connsiteY16" fmla="*/ 915984 h 915984"/>
              <a:gd name="connsiteX17" fmla="*/ 7567671 w 9149171"/>
              <a:gd name="connsiteY17" fmla="*/ 915984 h 915984"/>
              <a:gd name="connsiteX18" fmla="*/ 7005651 w 9149171"/>
              <a:gd name="connsiteY18" fmla="*/ 915984 h 915984"/>
              <a:gd name="connsiteX19" fmla="*/ 6626614 w 9149171"/>
              <a:gd name="connsiteY19" fmla="*/ 915984 h 915984"/>
              <a:gd name="connsiteX20" fmla="*/ 5881610 w 9149171"/>
              <a:gd name="connsiteY20" fmla="*/ 915984 h 915984"/>
              <a:gd name="connsiteX21" fmla="*/ 5045114 w 9149171"/>
              <a:gd name="connsiteY21" fmla="*/ 915984 h 915984"/>
              <a:gd name="connsiteX22" fmla="*/ 4483094 w 9149171"/>
              <a:gd name="connsiteY22" fmla="*/ 915984 h 915984"/>
              <a:gd name="connsiteX23" fmla="*/ 3738090 w 9149171"/>
              <a:gd name="connsiteY23" fmla="*/ 915984 h 915984"/>
              <a:gd name="connsiteX24" fmla="*/ 3359053 w 9149171"/>
              <a:gd name="connsiteY24" fmla="*/ 915984 h 915984"/>
              <a:gd name="connsiteX25" fmla="*/ 2614049 w 9149171"/>
              <a:gd name="connsiteY25" fmla="*/ 915984 h 915984"/>
              <a:gd name="connsiteX26" fmla="*/ 1960537 w 9149171"/>
              <a:gd name="connsiteY26" fmla="*/ 915984 h 915984"/>
              <a:gd name="connsiteX27" fmla="*/ 1398516 w 9149171"/>
              <a:gd name="connsiteY27" fmla="*/ 915984 h 915984"/>
              <a:gd name="connsiteX28" fmla="*/ 927987 w 9149171"/>
              <a:gd name="connsiteY28" fmla="*/ 915984 h 915984"/>
              <a:gd name="connsiteX29" fmla="*/ 0 w 9149171"/>
              <a:gd name="connsiteY29" fmla="*/ 915984 h 915984"/>
              <a:gd name="connsiteX30" fmla="*/ 0 w 9149171"/>
              <a:gd name="connsiteY30" fmla="*/ 476312 h 915984"/>
              <a:gd name="connsiteX31" fmla="*/ 0 w 9149171"/>
              <a:gd name="connsiteY31" fmla="*/ 0 h 915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9171" h="915984" extrusionOk="0">
                <a:moveTo>
                  <a:pt x="0" y="0"/>
                </a:moveTo>
                <a:cubicBezTo>
                  <a:pt x="340229" y="-20309"/>
                  <a:pt x="574244" y="19432"/>
                  <a:pt x="836496" y="0"/>
                </a:cubicBezTo>
                <a:cubicBezTo>
                  <a:pt x="1098748" y="-19432"/>
                  <a:pt x="1290717" y="-25470"/>
                  <a:pt x="1581500" y="0"/>
                </a:cubicBezTo>
                <a:cubicBezTo>
                  <a:pt x="1872283" y="25470"/>
                  <a:pt x="2032902" y="-10466"/>
                  <a:pt x="2235012" y="0"/>
                </a:cubicBezTo>
                <a:cubicBezTo>
                  <a:pt x="2437122" y="10466"/>
                  <a:pt x="2608503" y="20060"/>
                  <a:pt x="2797032" y="0"/>
                </a:cubicBezTo>
                <a:cubicBezTo>
                  <a:pt x="2985561" y="-20060"/>
                  <a:pt x="3346235" y="37069"/>
                  <a:pt x="3542036" y="0"/>
                </a:cubicBezTo>
                <a:cubicBezTo>
                  <a:pt x="3737837" y="-37069"/>
                  <a:pt x="3881947" y="-14285"/>
                  <a:pt x="4012565" y="0"/>
                </a:cubicBezTo>
                <a:cubicBezTo>
                  <a:pt x="4143183" y="14285"/>
                  <a:pt x="4400266" y="10630"/>
                  <a:pt x="4757569" y="0"/>
                </a:cubicBezTo>
                <a:cubicBezTo>
                  <a:pt x="5114872" y="-10630"/>
                  <a:pt x="5069141" y="2312"/>
                  <a:pt x="5228098" y="0"/>
                </a:cubicBezTo>
                <a:cubicBezTo>
                  <a:pt x="5387055" y="-2312"/>
                  <a:pt x="5464796" y="-5985"/>
                  <a:pt x="5698627" y="0"/>
                </a:cubicBezTo>
                <a:cubicBezTo>
                  <a:pt x="5932458" y="5985"/>
                  <a:pt x="6168688" y="-21201"/>
                  <a:pt x="6535122" y="0"/>
                </a:cubicBezTo>
                <a:cubicBezTo>
                  <a:pt x="6901557" y="21201"/>
                  <a:pt x="7048274" y="2489"/>
                  <a:pt x="7188634" y="0"/>
                </a:cubicBezTo>
                <a:cubicBezTo>
                  <a:pt x="7328994" y="-2489"/>
                  <a:pt x="7681279" y="40002"/>
                  <a:pt x="8025130" y="0"/>
                </a:cubicBezTo>
                <a:cubicBezTo>
                  <a:pt x="8368981" y="-40002"/>
                  <a:pt x="8647101" y="23429"/>
                  <a:pt x="9149171" y="0"/>
                </a:cubicBezTo>
                <a:cubicBezTo>
                  <a:pt x="9130240" y="154337"/>
                  <a:pt x="9162678" y="347072"/>
                  <a:pt x="9149171" y="439672"/>
                </a:cubicBezTo>
                <a:cubicBezTo>
                  <a:pt x="9135664" y="532272"/>
                  <a:pt x="9133755" y="813372"/>
                  <a:pt x="9149171" y="915984"/>
                </a:cubicBezTo>
                <a:cubicBezTo>
                  <a:pt x="8860588" y="954611"/>
                  <a:pt x="8726443" y="927647"/>
                  <a:pt x="8312675" y="915984"/>
                </a:cubicBezTo>
                <a:cubicBezTo>
                  <a:pt x="7898907" y="904321"/>
                  <a:pt x="7850053" y="935230"/>
                  <a:pt x="7567671" y="915984"/>
                </a:cubicBezTo>
                <a:cubicBezTo>
                  <a:pt x="7285289" y="896738"/>
                  <a:pt x="7150105" y="935493"/>
                  <a:pt x="7005651" y="915984"/>
                </a:cubicBezTo>
                <a:cubicBezTo>
                  <a:pt x="6861197" y="896475"/>
                  <a:pt x="6751854" y="924914"/>
                  <a:pt x="6626614" y="915984"/>
                </a:cubicBezTo>
                <a:cubicBezTo>
                  <a:pt x="6501374" y="907054"/>
                  <a:pt x="6104996" y="936783"/>
                  <a:pt x="5881610" y="915984"/>
                </a:cubicBezTo>
                <a:cubicBezTo>
                  <a:pt x="5658224" y="895185"/>
                  <a:pt x="5277778" y="917696"/>
                  <a:pt x="5045114" y="915984"/>
                </a:cubicBezTo>
                <a:cubicBezTo>
                  <a:pt x="4812450" y="914272"/>
                  <a:pt x="4686163" y="898077"/>
                  <a:pt x="4483094" y="915984"/>
                </a:cubicBezTo>
                <a:cubicBezTo>
                  <a:pt x="4280025" y="933891"/>
                  <a:pt x="4022605" y="948352"/>
                  <a:pt x="3738090" y="915984"/>
                </a:cubicBezTo>
                <a:cubicBezTo>
                  <a:pt x="3453575" y="883616"/>
                  <a:pt x="3450598" y="931735"/>
                  <a:pt x="3359053" y="915984"/>
                </a:cubicBezTo>
                <a:cubicBezTo>
                  <a:pt x="3267508" y="900233"/>
                  <a:pt x="2878757" y="931196"/>
                  <a:pt x="2614049" y="915984"/>
                </a:cubicBezTo>
                <a:cubicBezTo>
                  <a:pt x="2349341" y="900772"/>
                  <a:pt x="2225555" y="910211"/>
                  <a:pt x="1960537" y="915984"/>
                </a:cubicBezTo>
                <a:cubicBezTo>
                  <a:pt x="1695519" y="921757"/>
                  <a:pt x="1571593" y="906102"/>
                  <a:pt x="1398516" y="915984"/>
                </a:cubicBezTo>
                <a:cubicBezTo>
                  <a:pt x="1225439" y="925866"/>
                  <a:pt x="1024700" y="899881"/>
                  <a:pt x="927987" y="915984"/>
                </a:cubicBezTo>
                <a:cubicBezTo>
                  <a:pt x="831274" y="932087"/>
                  <a:pt x="209584" y="870400"/>
                  <a:pt x="0" y="915984"/>
                </a:cubicBezTo>
                <a:cubicBezTo>
                  <a:pt x="-11625" y="723549"/>
                  <a:pt x="-19283" y="584633"/>
                  <a:pt x="0" y="476312"/>
                </a:cubicBezTo>
                <a:cubicBezTo>
                  <a:pt x="19283" y="367991"/>
                  <a:pt x="-19169" y="135067"/>
                  <a:pt x="0" y="0"/>
                </a:cubicBezTo>
                <a:close/>
              </a:path>
            </a:pathLst>
          </a:custGeom>
          <a:noFill/>
          <a:ln w="28575">
            <a:solidFill>
              <a:schemeClr val="accent3"/>
            </a:solidFill>
            <a:extLst>
              <a:ext uri="{C807C97D-BFC1-408E-A445-0C87EB9F89A2}">
                <ask:lineSketchStyleProps xmlns:ask="http://schemas.microsoft.com/office/drawing/2018/sketchyshapes" sd="1077043750">
                  <a:prstGeom prst="rect">
                    <a:avLst/>
                  </a:prstGeom>
                  <ask:type>
                    <ask:lineSketchFreehand/>
                  </ask:type>
                </ask:lineSketchStyleProps>
              </a:ext>
            </a:extLst>
          </a:ln>
        </p:spPr>
        <p:style>
          <a:lnRef idx="2">
            <a:schemeClr val="accent5"/>
          </a:lnRef>
          <a:fillRef idx="1">
            <a:schemeClr val="lt1"/>
          </a:fillRef>
          <a:effectRef idx="0">
            <a:schemeClr val="accent5"/>
          </a:effectRef>
          <a:fontRef idx="minor">
            <a:schemeClr val="dk1"/>
          </a:fontRef>
        </p:style>
        <p:txBody>
          <a:bodyPr wrap="square" lIns="0" tIns="0" rIns="0" bIns="0" rtlCol="0" anchor="ctr">
            <a:noAutofit/>
          </a:bodyPr>
          <a:lstStyle/>
          <a:p>
            <a:pPr algn="ctr"/>
            <a:r>
              <a:rPr lang="da-DK" sz="1600" b="1" dirty="0">
                <a:solidFill>
                  <a:schemeClr val="tx1"/>
                </a:solidFill>
                <a:latin typeface="Quicksand" panose="020B0604020202020204"/>
                <a:cs typeface="Amatic SC" panose="00000500000000000000" pitchFamily="2" charset="-79"/>
              </a:rPr>
              <a:t>Lederne i stigende grad oplever at støtte op om </a:t>
            </a:r>
            <a:br>
              <a:rPr lang="da-DK" sz="1600" b="1" dirty="0">
                <a:solidFill>
                  <a:schemeClr val="tx1"/>
                </a:solidFill>
                <a:latin typeface="Quicksand" panose="020B0604020202020204"/>
                <a:cs typeface="Amatic SC" panose="00000500000000000000" pitchFamily="2" charset="-79"/>
              </a:rPr>
            </a:br>
            <a:r>
              <a:rPr lang="da-DK" sz="1600" b="1" dirty="0">
                <a:solidFill>
                  <a:schemeClr val="tx1"/>
                </a:solidFill>
                <a:latin typeface="Quicksand" panose="020B0604020202020204"/>
                <a:cs typeface="Amatic SC" panose="00000500000000000000" pitchFamily="2" charset="-79"/>
              </a:rPr>
              <a:t>og involvere sig i udvikling af læringsmiljøer </a:t>
            </a:r>
          </a:p>
        </p:txBody>
      </p:sp>
      <p:sp>
        <p:nvSpPr>
          <p:cNvPr id="33" name="TextBox 32">
            <a:extLst>
              <a:ext uri="{FF2B5EF4-FFF2-40B4-BE49-F238E27FC236}">
                <a16:creationId xmlns:a16="http://schemas.microsoft.com/office/drawing/2014/main" id="{9840AF1A-B8B8-C699-2240-4F1C066CBB4F}"/>
              </a:ext>
            </a:extLst>
          </p:cNvPr>
          <p:cNvSpPr txBox="1"/>
          <p:nvPr/>
        </p:nvSpPr>
        <p:spPr>
          <a:xfrm>
            <a:off x="1306269" y="2825618"/>
            <a:ext cx="878306" cy="369332"/>
          </a:xfrm>
          <a:prstGeom prst="rect">
            <a:avLst/>
          </a:prstGeom>
          <a:noFill/>
        </p:spPr>
        <p:txBody>
          <a:bodyPr wrap="square" lIns="0" tIns="0" rIns="0" bIns="0" rtlCol="0">
            <a:spAutoFit/>
          </a:bodyPr>
          <a:lstStyle/>
          <a:p>
            <a:pPr algn="ctr"/>
            <a:r>
              <a:rPr lang="da-DK" sz="2400" b="1" dirty="0">
                <a:latin typeface="Quicksand" panose="020B0604020202020204"/>
                <a:cs typeface="Amatic SC" panose="00000500000000000000" pitchFamily="2" charset="-79"/>
              </a:rPr>
              <a:t>1</a:t>
            </a:r>
            <a:endParaRPr lang="da-DK" sz="2000" b="1" dirty="0">
              <a:latin typeface="Quicksand" panose="020B0604020202020204"/>
              <a:cs typeface="Amatic SC" panose="00000500000000000000" pitchFamily="2" charset="-79"/>
            </a:endParaRPr>
          </a:p>
        </p:txBody>
      </p:sp>
      <p:sp>
        <p:nvSpPr>
          <p:cNvPr id="34" name="TextBox 33">
            <a:extLst>
              <a:ext uri="{FF2B5EF4-FFF2-40B4-BE49-F238E27FC236}">
                <a16:creationId xmlns:a16="http://schemas.microsoft.com/office/drawing/2014/main" id="{ECE452D0-51D2-5908-B869-A4330811097A}"/>
              </a:ext>
            </a:extLst>
          </p:cNvPr>
          <p:cNvSpPr txBox="1">
            <a:spLocks/>
          </p:cNvSpPr>
          <p:nvPr/>
        </p:nvSpPr>
        <p:spPr>
          <a:xfrm>
            <a:off x="1414324" y="3741602"/>
            <a:ext cx="9149171" cy="915984"/>
          </a:xfrm>
          <a:custGeom>
            <a:avLst/>
            <a:gdLst>
              <a:gd name="connsiteX0" fmla="*/ 0 w 9149171"/>
              <a:gd name="connsiteY0" fmla="*/ 0 h 915984"/>
              <a:gd name="connsiteX1" fmla="*/ 836496 w 9149171"/>
              <a:gd name="connsiteY1" fmla="*/ 0 h 915984"/>
              <a:gd name="connsiteX2" fmla="*/ 1581500 w 9149171"/>
              <a:gd name="connsiteY2" fmla="*/ 0 h 915984"/>
              <a:gd name="connsiteX3" fmla="*/ 2235012 w 9149171"/>
              <a:gd name="connsiteY3" fmla="*/ 0 h 915984"/>
              <a:gd name="connsiteX4" fmla="*/ 2797032 w 9149171"/>
              <a:gd name="connsiteY4" fmla="*/ 0 h 915984"/>
              <a:gd name="connsiteX5" fmla="*/ 3542036 w 9149171"/>
              <a:gd name="connsiteY5" fmla="*/ 0 h 915984"/>
              <a:gd name="connsiteX6" fmla="*/ 4012565 w 9149171"/>
              <a:gd name="connsiteY6" fmla="*/ 0 h 915984"/>
              <a:gd name="connsiteX7" fmla="*/ 4757569 w 9149171"/>
              <a:gd name="connsiteY7" fmla="*/ 0 h 915984"/>
              <a:gd name="connsiteX8" fmla="*/ 5228098 w 9149171"/>
              <a:gd name="connsiteY8" fmla="*/ 0 h 915984"/>
              <a:gd name="connsiteX9" fmla="*/ 5698627 w 9149171"/>
              <a:gd name="connsiteY9" fmla="*/ 0 h 915984"/>
              <a:gd name="connsiteX10" fmla="*/ 6535122 w 9149171"/>
              <a:gd name="connsiteY10" fmla="*/ 0 h 915984"/>
              <a:gd name="connsiteX11" fmla="*/ 7188634 w 9149171"/>
              <a:gd name="connsiteY11" fmla="*/ 0 h 915984"/>
              <a:gd name="connsiteX12" fmla="*/ 8025130 w 9149171"/>
              <a:gd name="connsiteY12" fmla="*/ 0 h 915984"/>
              <a:gd name="connsiteX13" fmla="*/ 9149171 w 9149171"/>
              <a:gd name="connsiteY13" fmla="*/ 0 h 915984"/>
              <a:gd name="connsiteX14" fmla="*/ 9149171 w 9149171"/>
              <a:gd name="connsiteY14" fmla="*/ 439672 h 915984"/>
              <a:gd name="connsiteX15" fmla="*/ 9149171 w 9149171"/>
              <a:gd name="connsiteY15" fmla="*/ 915984 h 915984"/>
              <a:gd name="connsiteX16" fmla="*/ 8312675 w 9149171"/>
              <a:gd name="connsiteY16" fmla="*/ 915984 h 915984"/>
              <a:gd name="connsiteX17" fmla="*/ 7567671 w 9149171"/>
              <a:gd name="connsiteY17" fmla="*/ 915984 h 915984"/>
              <a:gd name="connsiteX18" fmla="*/ 7005651 w 9149171"/>
              <a:gd name="connsiteY18" fmla="*/ 915984 h 915984"/>
              <a:gd name="connsiteX19" fmla="*/ 6626614 w 9149171"/>
              <a:gd name="connsiteY19" fmla="*/ 915984 h 915984"/>
              <a:gd name="connsiteX20" fmla="*/ 5881610 w 9149171"/>
              <a:gd name="connsiteY20" fmla="*/ 915984 h 915984"/>
              <a:gd name="connsiteX21" fmla="*/ 5045114 w 9149171"/>
              <a:gd name="connsiteY21" fmla="*/ 915984 h 915984"/>
              <a:gd name="connsiteX22" fmla="*/ 4483094 w 9149171"/>
              <a:gd name="connsiteY22" fmla="*/ 915984 h 915984"/>
              <a:gd name="connsiteX23" fmla="*/ 3738090 w 9149171"/>
              <a:gd name="connsiteY23" fmla="*/ 915984 h 915984"/>
              <a:gd name="connsiteX24" fmla="*/ 3359053 w 9149171"/>
              <a:gd name="connsiteY24" fmla="*/ 915984 h 915984"/>
              <a:gd name="connsiteX25" fmla="*/ 2614049 w 9149171"/>
              <a:gd name="connsiteY25" fmla="*/ 915984 h 915984"/>
              <a:gd name="connsiteX26" fmla="*/ 1960537 w 9149171"/>
              <a:gd name="connsiteY26" fmla="*/ 915984 h 915984"/>
              <a:gd name="connsiteX27" fmla="*/ 1398516 w 9149171"/>
              <a:gd name="connsiteY27" fmla="*/ 915984 h 915984"/>
              <a:gd name="connsiteX28" fmla="*/ 927987 w 9149171"/>
              <a:gd name="connsiteY28" fmla="*/ 915984 h 915984"/>
              <a:gd name="connsiteX29" fmla="*/ 0 w 9149171"/>
              <a:gd name="connsiteY29" fmla="*/ 915984 h 915984"/>
              <a:gd name="connsiteX30" fmla="*/ 0 w 9149171"/>
              <a:gd name="connsiteY30" fmla="*/ 476312 h 915984"/>
              <a:gd name="connsiteX31" fmla="*/ 0 w 9149171"/>
              <a:gd name="connsiteY31" fmla="*/ 0 h 915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9171" h="915984" extrusionOk="0">
                <a:moveTo>
                  <a:pt x="0" y="0"/>
                </a:moveTo>
                <a:cubicBezTo>
                  <a:pt x="340229" y="-20309"/>
                  <a:pt x="574244" y="19432"/>
                  <a:pt x="836496" y="0"/>
                </a:cubicBezTo>
                <a:cubicBezTo>
                  <a:pt x="1098748" y="-19432"/>
                  <a:pt x="1290717" y="-25470"/>
                  <a:pt x="1581500" y="0"/>
                </a:cubicBezTo>
                <a:cubicBezTo>
                  <a:pt x="1872283" y="25470"/>
                  <a:pt x="2032902" y="-10466"/>
                  <a:pt x="2235012" y="0"/>
                </a:cubicBezTo>
                <a:cubicBezTo>
                  <a:pt x="2437122" y="10466"/>
                  <a:pt x="2608503" y="20060"/>
                  <a:pt x="2797032" y="0"/>
                </a:cubicBezTo>
                <a:cubicBezTo>
                  <a:pt x="2985561" y="-20060"/>
                  <a:pt x="3346235" y="37069"/>
                  <a:pt x="3542036" y="0"/>
                </a:cubicBezTo>
                <a:cubicBezTo>
                  <a:pt x="3737837" y="-37069"/>
                  <a:pt x="3881947" y="-14285"/>
                  <a:pt x="4012565" y="0"/>
                </a:cubicBezTo>
                <a:cubicBezTo>
                  <a:pt x="4143183" y="14285"/>
                  <a:pt x="4400266" y="10630"/>
                  <a:pt x="4757569" y="0"/>
                </a:cubicBezTo>
                <a:cubicBezTo>
                  <a:pt x="5114872" y="-10630"/>
                  <a:pt x="5069141" y="2312"/>
                  <a:pt x="5228098" y="0"/>
                </a:cubicBezTo>
                <a:cubicBezTo>
                  <a:pt x="5387055" y="-2312"/>
                  <a:pt x="5464796" y="-5985"/>
                  <a:pt x="5698627" y="0"/>
                </a:cubicBezTo>
                <a:cubicBezTo>
                  <a:pt x="5932458" y="5985"/>
                  <a:pt x="6168688" y="-21201"/>
                  <a:pt x="6535122" y="0"/>
                </a:cubicBezTo>
                <a:cubicBezTo>
                  <a:pt x="6901557" y="21201"/>
                  <a:pt x="7048274" y="2489"/>
                  <a:pt x="7188634" y="0"/>
                </a:cubicBezTo>
                <a:cubicBezTo>
                  <a:pt x="7328994" y="-2489"/>
                  <a:pt x="7681279" y="40002"/>
                  <a:pt x="8025130" y="0"/>
                </a:cubicBezTo>
                <a:cubicBezTo>
                  <a:pt x="8368981" y="-40002"/>
                  <a:pt x="8647101" y="23429"/>
                  <a:pt x="9149171" y="0"/>
                </a:cubicBezTo>
                <a:cubicBezTo>
                  <a:pt x="9130240" y="154337"/>
                  <a:pt x="9162678" y="347072"/>
                  <a:pt x="9149171" y="439672"/>
                </a:cubicBezTo>
                <a:cubicBezTo>
                  <a:pt x="9135664" y="532272"/>
                  <a:pt x="9133755" y="813372"/>
                  <a:pt x="9149171" y="915984"/>
                </a:cubicBezTo>
                <a:cubicBezTo>
                  <a:pt x="8860588" y="954611"/>
                  <a:pt x="8726443" y="927647"/>
                  <a:pt x="8312675" y="915984"/>
                </a:cubicBezTo>
                <a:cubicBezTo>
                  <a:pt x="7898907" y="904321"/>
                  <a:pt x="7850053" y="935230"/>
                  <a:pt x="7567671" y="915984"/>
                </a:cubicBezTo>
                <a:cubicBezTo>
                  <a:pt x="7285289" y="896738"/>
                  <a:pt x="7150105" y="935493"/>
                  <a:pt x="7005651" y="915984"/>
                </a:cubicBezTo>
                <a:cubicBezTo>
                  <a:pt x="6861197" y="896475"/>
                  <a:pt x="6751854" y="924914"/>
                  <a:pt x="6626614" y="915984"/>
                </a:cubicBezTo>
                <a:cubicBezTo>
                  <a:pt x="6501374" y="907054"/>
                  <a:pt x="6104996" y="936783"/>
                  <a:pt x="5881610" y="915984"/>
                </a:cubicBezTo>
                <a:cubicBezTo>
                  <a:pt x="5658224" y="895185"/>
                  <a:pt x="5277778" y="917696"/>
                  <a:pt x="5045114" y="915984"/>
                </a:cubicBezTo>
                <a:cubicBezTo>
                  <a:pt x="4812450" y="914272"/>
                  <a:pt x="4686163" y="898077"/>
                  <a:pt x="4483094" y="915984"/>
                </a:cubicBezTo>
                <a:cubicBezTo>
                  <a:pt x="4280025" y="933891"/>
                  <a:pt x="4022605" y="948352"/>
                  <a:pt x="3738090" y="915984"/>
                </a:cubicBezTo>
                <a:cubicBezTo>
                  <a:pt x="3453575" y="883616"/>
                  <a:pt x="3450598" y="931735"/>
                  <a:pt x="3359053" y="915984"/>
                </a:cubicBezTo>
                <a:cubicBezTo>
                  <a:pt x="3267508" y="900233"/>
                  <a:pt x="2878757" y="931196"/>
                  <a:pt x="2614049" y="915984"/>
                </a:cubicBezTo>
                <a:cubicBezTo>
                  <a:pt x="2349341" y="900772"/>
                  <a:pt x="2225555" y="910211"/>
                  <a:pt x="1960537" y="915984"/>
                </a:cubicBezTo>
                <a:cubicBezTo>
                  <a:pt x="1695519" y="921757"/>
                  <a:pt x="1571593" y="906102"/>
                  <a:pt x="1398516" y="915984"/>
                </a:cubicBezTo>
                <a:cubicBezTo>
                  <a:pt x="1225439" y="925866"/>
                  <a:pt x="1024700" y="899881"/>
                  <a:pt x="927987" y="915984"/>
                </a:cubicBezTo>
                <a:cubicBezTo>
                  <a:pt x="831274" y="932087"/>
                  <a:pt x="209584" y="870400"/>
                  <a:pt x="0" y="915984"/>
                </a:cubicBezTo>
                <a:cubicBezTo>
                  <a:pt x="-11625" y="723549"/>
                  <a:pt x="-19283" y="584633"/>
                  <a:pt x="0" y="476312"/>
                </a:cubicBezTo>
                <a:cubicBezTo>
                  <a:pt x="19283" y="367991"/>
                  <a:pt x="-19169" y="135067"/>
                  <a:pt x="0" y="0"/>
                </a:cubicBezTo>
                <a:close/>
              </a:path>
            </a:pathLst>
          </a:custGeom>
          <a:noFill/>
          <a:ln w="28575">
            <a:solidFill>
              <a:schemeClr val="accent3"/>
            </a:solidFill>
            <a:extLst>
              <a:ext uri="{C807C97D-BFC1-408E-A445-0C87EB9F89A2}">
                <ask:lineSketchStyleProps xmlns:ask="http://schemas.microsoft.com/office/drawing/2018/sketchyshapes" sd="1077043750">
                  <a:prstGeom prst="rect">
                    <a:avLst/>
                  </a:prstGeom>
                  <ask:type>
                    <ask:lineSketchFreehand/>
                  </ask:type>
                </ask:lineSketchStyleProps>
              </a:ext>
            </a:extLst>
          </a:ln>
        </p:spPr>
        <p:style>
          <a:lnRef idx="2">
            <a:schemeClr val="accent5"/>
          </a:lnRef>
          <a:fillRef idx="1">
            <a:schemeClr val="lt1"/>
          </a:fillRef>
          <a:effectRef idx="0">
            <a:schemeClr val="accent5"/>
          </a:effectRef>
          <a:fontRef idx="minor">
            <a:schemeClr val="dk1"/>
          </a:fontRef>
        </p:style>
        <p:txBody>
          <a:bodyPr wrap="square" lIns="0" tIns="0" rIns="0" bIns="0" rtlCol="0" anchor="ctr">
            <a:noAutofit/>
          </a:bodyPr>
          <a:lstStyle/>
          <a:p>
            <a:pPr algn="ctr"/>
            <a:r>
              <a:rPr lang="da-DK" sz="1600" b="1" dirty="0">
                <a:solidFill>
                  <a:schemeClr val="tx1"/>
                </a:solidFill>
                <a:latin typeface="Quicksand" panose="020B0604020202020204"/>
                <a:cs typeface="Amatic SC" panose="00000500000000000000" pitchFamily="2" charset="-79"/>
              </a:rPr>
              <a:t>Organiseringen på skolerne har betydning for, </a:t>
            </a:r>
            <a:br>
              <a:rPr lang="da-DK" sz="1600" b="1" dirty="0">
                <a:solidFill>
                  <a:schemeClr val="tx1"/>
                </a:solidFill>
                <a:latin typeface="Quicksand" panose="020B0604020202020204"/>
                <a:cs typeface="Amatic SC" panose="00000500000000000000" pitchFamily="2" charset="-79"/>
              </a:rPr>
            </a:br>
            <a:r>
              <a:rPr lang="da-DK" sz="1600" b="1" dirty="0">
                <a:solidFill>
                  <a:schemeClr val="tx1"/>
                </a:solidFill>
                <a:latin typeface="Quicksand" panose="020B0604020202020204"/>
                <a:cs typeface="Amatic SC" panose="00000500000000000000" pitchFamily="2" charset="-79"/>
              </a:rPr>
              <a:t>om teams lykkes med at skabe forandringer i læringsmiljøet </a:t>
            </a:r>
          </a:p>
        </p:txBody>
      </p:sp>
      <p:sp>
        <p:nvSpPr>
          <p:cNvPr id="35" name="TextBox 34">
            <a:extLst>
              <a:ext uri="{FF2B5EF4-FFF2-40B4-BE49-F238E27FC236}">
                <a16:creationId xmlns:a16="http://schemas.microsoft.com/office/drawing/2014/main" id="{9326538A-3B26-836F-C128-6760F59D8119}"/>
              </a:ext>
            </a:extLst>
          </p:cNvPr>
          <p:cNvSpPr txBox="1"/>
          <p:nvPr/>
        </p:nvSpPr>
        <p:spPr>
          <a:xfrm>
            <a:off x="1325319" y="4014928"/>
            <a:ext cx="878306" cy="369332"/>
          </a:xfrm>
          <a:prstGeom prst="rect">
            <a:avLst/>
          </a:prstGeom>
          <a:noFill/>
        </p:spPr>
        <p:txBody>
          <a:bodyPr wrap="square" lIns="0" tIns="0" rIns="0" bIns="0" rtlCol="0">
            <a:spAutoFit/>
          </a:bodyPr>
          <a:lstStyle/>
          <a:p>
            <a:pPr algn="ctr"/>
            <a:r>
              <a:rPr lang="da-DK" sz="2400" b="1">
                <a:latin typeface="Quicksand" panose="020B0604020202020204"/>
                <a:cs typeface="Amatic SC" panose="00000500000000000000" pitchFamily="2" charset="-79"/>
              </a:rPr>
              <a:t>2</a:t>
            </a:r>
          </a:p>
        </p:txBody>
      </p:sp>
      <p:sp>
        <p:nvSpPr>
          <p:cNvPr id="2" name="Google Shape;846;p29">
            <a:extLst>
              <a:ext uri="{FF2B5EF4-FFF2-40B4-BE49-F238E27FC236}">
                <a16:creationId xmlns:a16="http://schemas.microsoft.com/office/drawing/2014/main" id="{AFF33D4F-CF7F-F3CB-58E9-BD5FDF464994}"/>
              </a:ext>
            </a:extLst>
          </p:cNvPr>
          <p:cNvSpPr/>
          <p:nvPr/>
        </p:nvSpPr>
        <p:spPr>
          <a:xfrm>
            <a:off x="11626143" y="335051"/>
            <a:ext cx="565857" cy="1012245"/>
          </a:xfrm>
          <a:prstGeom prst="rect">
            <a:avLst/>
          </a:prstGeom>
          <a:solidFill>
            <a:schemeClr val="accent3"/>
          </a:solidFill>
          <a:ln>
            <a:noFill/>
          </a:ln>
        </p:spPr>
        <p:txBody>
          <a:bodyPr spcFirstLastPara="1" wrap="square" lIns="396000" tIns="91425" rIns="91425" bIns="91425" anchor="ctr" anchorCtr="0">
            <a:noAutofit/>
          </a:bodyPr>
          <a:lstStyle/>
          <a:p>
            <a:pPr marL="0" lvl="0" indent="0">
              <a:spcBef>
                <a:spcPts val="0"/>
              </a:spcBef>
              <a:spcAft>
                <a:spcPts val="0"/>
              </a:spcAft>
              <a:buNone/>
            </a:pPr>
            <a:endParaRPr lang="da-DK" sz="3600">
              <a:latin typeface="Amatic SC"/>
              <a:ea typeface="Amatic SC"/>
              <a:cs typeface="Amatic SC"/>
              <a:sym typeface="Amatic SC"/>
            </a:endParaRPr>
          </a:p>
        </p:txBody>
      </p:sp>
      <p:sp>
        <p:nvSpPr>
          <p:cNvPr id="7" name="TextBox 2">
            <a:extLst>
              <a:ext uri="{FF2B5EF4-FFF2-40B4-BE49-F238E27FC236}">
                <a16:creationId xmlns:a16="http://schemas.microsoft.com/office/drawing/2014/main" id="{0C9384AB-2DFB-D790-1EAB-45CB1ECAB30A}"/>
              </a:ext>
            </a:extLst>
          </p:cNvPr>
          <p:cNvSpPr txBox="1"/>
          <p:nvPr/>
        </p:nvSpPr>
        <p:spPr>
          <a:xfrm>
            <a:off x="1414325" y="1616029"/>
            <a:ext cx="9149171" cy="553998"/>
          </a:xfrm>
          <a:prstGeom prst="rect">
            <a:avLst/>
          </a:prstGeom>
          <a:noFill/>
        </p:spPr>
        <p:txBody>
          <a:bodyPr wrap="square">
            <a:spAutoFit/>
          </a:bodyPr>
          <a:lstStyle/>
          <a:p>
            <a:pPr lvl="0" algn="ctr">
              <a:spcBef>
                <a:spcPts val="0"/>
              </a:spcBef>
              <a:spcAft>
                <a:spcPts val="0"/>
              </a:spcAft>
            </a:pPr>
            <a:r>
              <a:rPr lang="da-DK" sz="3000" b="1" dirty="0">
                <a:latin typeface="Amatic SC"/>
                <a:cs typeface="Amatic SC"/>
                <a:sym typeface="Quicksand"/>
              </a:rPr>
              <a:t>Evalueringen viser, at:</a:t>
            </a:r>
            <a:endParaRPr lang="da-DK" sz="3000" b="1" dirty="0">
              <a:latin typeface="Quicksand"/>
              <a:ea typeface="Quicksand"/>
              <a:cs typeface="Quicksand"/>
              <a:sym typeface="Quicksand"/>
            </a:endParaRPr>
          </a:p>
        </p:txBody>
      </p:sp>
    </p:spTree>
    <p:extLst>
      <p:ext uri="{BB962C8B-B14F-4D97-AF65-F5344CB8AC3E}">
        <p14:creationId xmlns:p14="http://schemas.microsoft.com/office/powerpoint/2010/main" val="34371385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9CA9FF-A7C4-BBBA-B976-CEC71C9FD6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Object 2" hidden="1">
                        <a:extLst>
                          <a:ext uri="{FF2B5EF4-FFF2-40B4-BE49-F238E27FC236}">
                            <a16:creationId xmlns:a16="http://schemas.microsoft.com/office/drawing/2014/main" id="{939CA9FF-A7C4-BBBA-B976-CEC71C9FD6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9A3FD9DB-99DB-A414-2D6F-511BDF58FD5C}"/>
              </a:ext>
            </a:extLst>
          </p:cNvPr>
          <p:cNvSpPr txBox="1"/>
          <p:nvPr/>
        </p:nvSpPr>
        <p:spPr>
          <a:xfrm>
            <a:off x="3799658" y="2676391"/>
            <a:ext cx="5448846" cy="2831544"/>
          </a:xfrm>
          <a:prstGeom prst="rect">
            <a:avLst/>
          </a:prstGeom>
          <a:noFill/>
        </p:spPr>
        <p:txBody>
          <a:bodyPr wrap="square" lIns="0" tIns="0" rIns="0" bIns="0" rtlCol="0">
            <a:spAutoFit/>
          </a:bodyPr>
          <a:lstStyle/>
          <a:p>
            <a:r>
              <a:rPr lang="da-DK" sz="2000" b="1" dirty="0">
                <a:solidFill>
                  <a:schemeClr val="accent3"/>
                </a:solidFill>
                <a:latin typeface="Quicksand" panose="020B0604020202020204" charset="0"/>
                <a:cs typeface="Quicksand" panose="020B0604020202020204" charset="0"/>
              </a:rPr>
              <a:t>I forhold til aktionslæring har vi prioriteret, at lederen sidder med. Det er mange ledelsestimer, men man får det ind under huden, så det er godt givet ud. Man sætter også sig selv i spil. Jeg vil gerne være en god rollemodel og selv forsøge</a:t>
            </a:r>
          </a:p>
          <a:p>
            <a:r>
              <a:rPr lang="da-DK" sz="2000" b="1" dirty="0">
                <a:solidFill>
                  <a:schemeClr val="accent3"/>
                </a:solidFill>
                <a:latin typeface="Quicksand" panose="020B0604020202020204" charset="0"/>
                <a:cs typeface="Quicksand" panose="020B0604020202020204" charset="0"/>
              </a:rPr>
              <a:t>mig frem. Det gør også, at opgaven ikke bliver </a:t>
            </a:r>
            <a:br>
              <a:rPr lang="da-DK" sz="2000" b="1" dirty="0">
                <a:solidFill>
                  <a:schemeClr val="accent3"/>
                </a:solidFill>
                <a:latin typeface="Quicksand" panose="020B0604020202020204" charset="0"/>
                <a:cs typeface="Quicksand" panose="020B0604020202020204" charset="0"/>
              </a:rPr>
            </a:br>
            <a:r>
              <a:rPr lang="da-DK" sz="2000" b="1" dirty="0">
                <a:solidFill>
                  <a:schemeClr val="accent3"/>
                </a:solidFill>
                <a:latin typeface="Quicksand" panose="020B0604020202020204" charset="0"/>
                <a:cs typeface="Quicksand" panose="020B0604020202020204" charset="0"/>
              </a:rPr>
              <a:t>farlig for dem [personalet].</a:t>
            </a:r>
          </a:p>
          <a:p>
            <a:r>
              <a:rPr lang="da-DK" sz="2400" b="1" dirty="0">
                <a:solidFill>
                  <a:schemeClr val="accent3"/>
                </a:solidFill>
                <a:latin typeface="Quicksand" panose="020B0604020202020204" charset="0"/>
                <a:cs typeface="Quicksand" panose="020B0604020202020204" charset="0"/>
              </a:rPr>
              <a:t> </a:t>
            </a:r>
          </a:p>
          <a:p>
            <a:r>
              <a:rPr lang="da-DK" sz="2000" i="1" dirty="0">
                <a:solidFill>
                  <a:schemeClr val="accent3"/>
                </a:solidFill>
                <a:latin typeface="Quicksand" panose="020B0604020202020204" charset="0"/>
                <a:cs typeface="Quicksand" panose="020B0604020202020204" charset="0"/>
              </a:rPr>
              <a:t>Leder</a:t>
            </a:r>
          </a:p>
        </p:txBody>
      </p:sp>
      <p:pic>
        <p:nvPicPr>
          <p:cNvPr id="6" name="Graphic 5" descr="Open quotation mark with solid fill">
            <a:extLst>
              <a:ext uri="{FF2B5EF4-FFF2-40B4-BE49-F238E27FC236}">
                <a16:creationId xmlns:a16="http://schemas.microsoft.com/office/drawing/2014/main" id="{C16DA224-2CD0-E46B-63A7-99D2E0ACACE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474126" y="1421170"/>
            <a:ext cx="1255221" cy="1255221"/>
          </a:xfrm>
          <a:prstGeom prst="rect">
            <a:avLst/>
          </a:prstGeom>
        </p:spPr>
      </p:pic>
    </p:spTree>
    <p:extLst>
      <p:ext uri="{BB962C8B-B14F-4D97-AF65-F5344CB8AC3E}">
        <p14:creationId xmlns:p14="http://schemas.microsoft.com/office/powerpoint/2010/main" val="9077299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da-DK" sz="700" b="0" i="0" u="none" strike="noStrike" kern="1200" cap="none" spc="0" normalizeH="0" baseline="0" noProof="0" smtClean="0">
                <a:ln>
                  <a:noFill/>
                </a:ln>
                <a:solidFill>
                  <a:srgbClr val="7085AA"/>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a-DK" sz="700" b="0" i="0" u="none" strike="noStrike" kern="1200" cap="none" spc="0" normalizeH="0" baseline="0" noProof="0">
              <a:ln>
                <a:noFill/>
              </a:ln>
              <a:solidFill>
                <a:srgbClr val="7085AA"/>
              </a:solidFill>
              <a:effectLst/>
              <a:uLnTx/>
              <a:uFillTx/>
              <a:latin typeface="Verdana"/>
              <a:ea typeface="+mn-ea"/>
              <a:cs typeface="+mn-cs"/>
            </a:endParaRPr>
          </a:p>
        </p:txBody>
      </p:sp>
      <p:sp>
        <p:nvSpPr>
          <p:cNvPr id="2" name="Slide Number Placeholder 3">
            <a:extLst>
              <a:ext uri="{FF2B5EF4-FFF2-40B4-BE49-F238E27FC236}">
                <a16:creationId xmlns:a16="http://schemas.microsoft.com/office/drawing/2014/main" id="{ED641A61-E366-695E-1407-D39F7C4A0DF4}"/>
              </a:ext>
            </a:extLst>
          </p:cNvPr>
          <p:cNvSpPr txBox="1">
            <a:spLocks/>
          </p:cNvSpPr>
          <p:nvPr/>
        </p:nvSpPr>
        <p:spPr>
          <a:xfrm>
            <a:off x="11206800" y="5242183"/>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0" i="0" u="none" strike="noStrike" kern="1200" cap="none" spc="0" normalizeH="0" baseline="0" noProof="0">
              <a:ln>
                <a:noFill/>
              </a:ln>
              <a:solidFill>
                <a:srgbClr val="7085AA"/>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2324759E-015A-7FA1-AC61-125833CE0294}"/>
              </a:ext>
            </a:extLst>
          </p:cNvPr>
          <p:cNvSpPr/>
          <p:nvPr/>
        </p:nvSpPr>
        <p:spPr>
          <a:xfrm>
            <a:off x="6525730" y="1724400"/>
            <a:ext cx="5065200" cy="4608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a:ln>
                  <a:noFill/>
                </a:ln>
                <a:solidFill>
                  <a:srgbClr val="273F68"/>
                </a:solidFill>
                <a:effectLst/>
                <a:uLnTx/>
                <a:uFillTx/>
                <a:latin typeface="Amatic SC" panose="00000500000000000000" pitchFamily="2" charset="-79"/>
                <a:ea typeface="+mn-ea"/>
                <a:cs typeface="Amatic SC" panose="00000500000000000000" pitchFamily="2" charset="-79"/>
              </a:rPr>
              <a:t>Fremadrettet kan det styrke praksis, at…</a:t>
            </a:r>
          </a:p>
        </p:txBody>
      </p:sp>
      <p:sp>
        <p:nvSpPr>
          <p:cNvPr id="8" name="Rectangle 7">
            <a:extLst>
              <a:ext uri="{FF2B5EF4-FFF2-40B4-BE49-F238E27FC236}">
                <a16:creationId xmlns:a16="http://schemas.microsoft.com/office/drawing/2014/main" id="{D85789E7-D242-334D-9C18-2E6F3AC43279}"/>
              </a:ext>
            </a:extLst>
          </p:cNvPr>
          <p:cNvSpPr/>
          <p:nvPr/>
        </p:nvSpPr>
        <p:spPr>
          <a:xfrm>
            <a:off x="6525730" y="2184184"/>
            <a:ext cx="5065906" cy="334799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08000" bIns="36000" rtlCol="0" anchor="t"/>
          <a:lstStyle/>
          <a:p>
            <a:pPr marL="21600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endParaRPr>
          </a:p>
          <a:p>
            <a:pPr marL="21600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 lederne går i dialog med pædagogiske personale om, </a:t>
            </a:r>
            <a:r>
              <a:rPr kumimoji="0" lang="da-DK" sz="1400" b="1" i="0" u="none" strike="noStrike" kern="1200" cap="none" spc="0" normalizeH="0" baseline="0" noProof="0" dirty="0">
                <a:ln>
                  <a:noFill/>
                </a:ln>
                <a:solidFill>
                  <a:srgbClr val="273F68"/>
                </a:solidFill>
                <a:effectLst/>
                <a:uLnTx/>
                <a:uFillTx/>
                <a:latin typeface="Quicksand" panose="020B0604020202020204" charset="0"/>
                <a:ea typeface="+mn-ea"/>
                <a:cs typeface="+mn-cs"/>
              </a:rPr>
              <a:t>hvordan de kan lede tæt på praksis </a:t>
            </a: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på en nærværende og faciliterende måde. </a:t>
            </a:r>
          </a:p>
          <a:p>
            <a:pPr marL="216000" marR="0" lvl="0" indent="0" algn="l" defTabSz="914400" rtl="0" eaLnBrk="1" fontAlgn="auto" latinLnBrk="0" hangingPunct="1">
              <a:lnSpc>
                <a:spcPct val="100000"/>
              </a:lnSpc>
              <a:spcBef>
                <a:spcPts val="0"/>
              </a:spcBef>
              <a:spcAft>
                <a:spcPts val="0"/>
              </a:spcAft>
              <a:buClrTx/>
              <a:buSzTx/>
              <a:buFontTx/>
              <a:buNone/>
              <a:tabLst/>
              <a:defRPr/>
            </a:pPr>
            <a:endParaRPr lang="da-DK" sz="1400" dirty="0">
              <a:solidFill>
                <a:srgbClr val="273F68"/>
              </a:solidFill>
              <a:latin typeface="Quicksand" panose="020B0604020202020204" charset="0"/>
            </a:endParaRPr>
          </a:p>
          <a:p>
            <a:pPr marL="21600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 lederne er rollemodel med egne prøvehandlinger og </a:t>
            </a:r>
            <a:r>
              <a:rPr kumimoji="0" lang="da-DK" sz="1400" b="1" i="0" u="none" strike="noStrike" kern="1200" cap="none" spc="0" normalizeH="0" baseline="0" noProof="0" dirty="0">
                <a:ln>
                  <a:noFill/>
                </a:ln>
                <a:solidFill>
                  <a:srgbClr val="273F68"/>
                </a:solidFill>
                <a:effectLst/>
                <a:uLnTx/>
                <a:uFillTx/>
                <a:latin typeface="Quicksand" panose="020B0604020202020204" charset="0"/>
                <a:ea typeface="+mn-ea"/>
                <a:cs typeface="+mn-cs"/>
              </a:rPr>
              <a:t>sætter sig selv i spil </a:t>
            </a: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i arbejdet med prøvehandlinger. </a:t>
            </a:r>
          </a:p>
          <a:p>
            <a:pPr marL="216000" marR="0" lvl="0" indent="0" algn="l" defTabSz="914400" rtl="0" eaLnBrk="1" fontAlgn="auto" latinLnBrk="0" hangingPunct="1">
              <a:lnSpc>
                <a:spcPct val="100000"/>
              </a:lnSpc>
              <a:spcBef>
                <a:spcPts val="0"/>
              </a:spcBef>
              <a:spcAft>
                <a:spcPts val="0"/>
              </a:spcAft>
              <a:buClrTx/>
              <a:buSzTx/>
              <a:buFontTx/>
              <a:buNone/>
              <a:tabLst/>
              <a:defRPr/>
            </a:pPr>
            <a:endParaRPr lang="da-DK" sz="1400" dirty="0">
              <a:solidFill>
                <a:srgbClr val="273F68"/>
              </a:solidFill>
              <a:latin typeface="Quicksand" panose="020B0604020202020204" charset="0"/>
            </a:endParaRPr>
          </a:p>
          <a:p>
            <a:pPr marL="21600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 lederne prioriterer at </a:t>
            </a:r>
            <a:r>
              <a:rPr kumimoji="0" lang="da-DK" sz="1400" b="1" i="0" u="none" strike="noStrike" kern="1200" cap="none" spc="0" normalizeH="0" baseline="0" noProof="0" dirty="0">
                <a:ln>
                  <a:noFill/>
                </a:ln>
                <a:solidFill>
                  <a:srgbClr val="273F68"/>
                </a:solidFill>
                <a:effectLst/>
                <a:uLnTx/>
                <a:uFillTx/>
                <a:latin typeface="Quicksand" panose="020B0604020202020204" charset="0"/>
                <a:ea typeface="+mn-ea"/>
                <a:cs typeface="+mn-cs"/>
              </a:rPr>
              <a:t>deltage i aktionslæring </a:t>
            </a: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for på den måde at få et bedre indblik i udviklingsprocessen på skolen.</a:t>
            </a:r>
          </a:p>
          <a:p>
            <a:pPr marL="216000" marR="0" lvl="0" indent="0" algn="l" defTabSz="914400" rtl="0" eaLnBrk="1" fontAlgn="auto" latinLnBrk="0" hangingPunct="1">
              <a:lnSpc>
                <a:spcPct val="100000"/>
              </a:lnSpc>
              <a:spcBef>
                <a:spcPts val="0"/>
              </a:spcBef>
              <a:spcAft>
                <a:spcPts val="0"/>
              </a:spcAft>
              <a:buClrTx/>
              <a:buSzTx/>
              <a:buFontTx/>
              <a:buNone/>
              <a:tabLst/>
              <a:defRPr/>
            </a:pPr>
            <a:endParaRPr lang="da-DK" sz="1400" dirty="0">
              <a:solidFill>
                <a:srgbClr val="273F68"/>
              </a:solidFill>
              <a:latin typeface="Quicksand" panose="020B0604020202020204" charset="0"/>
            </a:endParaRPr>
          </a:p>
          <a:p>
            <a:pPr marL="21600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 lederne skaber rammerne for, at alt pædagogisk personale kan opbygge ny viden og have </a:t>
            </a:r>
            <a:r>
              <a:rPr kumimoji="0" lang="da-DK" sz="1400" b="1" i="0" u="none" strike="noStrike" kern="1200" cap="none" spc="0" normalizeH="0" baseline="0" noProof="0" dirty="0">
                <a:ln>
                  <a:noFill/>
                </a:ln>
                <a:solidFill>
                  <a:srgbClr val="273F68"/>
                </a:solidFill>
                <a:effectLst/>
                <a:uLnTx/>
                <a:uFillTx/>
                <a:latin typeface="Quicksand" panose="020B0604020202020204" charset="0"/>
                <a:ea typeface="+mn-ea"/>
                <a:cs typeface="+mn-cs"/>
              </a:rPr>
              <a:t>fælles</a:t>
            </a: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 </a:t>
            </a:r>
            <a:r>
              <a:rPr kumimoji="0" lang="da-DK" sz="1400" b="1" i="0" u="none" strike="noStrike" kern="1200" cap="none" spc="0" normalizeH="0" baseline="0" noProof="0" dirty="0">
                <a:ln>
                  <a:noFill/>
                </a:ln>
                <a:solidFill>
                  <a:srgbClr val="273F68"/>
                </a:solidFill>
                <a:effectLst/>
                <a:uLnTx/>
                <a:uFillTx/>
                <a:latin typeface="Quicksand" panose="020B0604020202020204" charset="0"/>
                <a:ea typeface="+mn-ea"/>
                <a:cs typeface="+mn-cs"/>
              </a:rPr>
              <a:t>dialoger</a:t>
            </a: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 med ledelsen om, hvordan viden kan omsættes i praksis. </a:t>
            </a:r>
            <a:endParaRPr lang="da-DK" sz="1400" dirty="0">
              <a:solidFill>
                <a:srgbClr val="273F68"/>
              </a:solidFill>
              <a:latin typeface="Quicksand" panose="020B0604020202020204" charset="0"/>
            </a:endParaRPr>
          </a:p>
          <a:p>
            <a:pPr marL="216000" marR="0" lvl="0" indent="0" algn="l" defTabSz="914400" rtl="0" eaLnBrk="1" fontAlgn="auto" latinLnBrk="0" hangingPunct="1">
              <a:lnSpc>
                <a:spcPct val="100000"/>
              </a:lnSpc>
              <a:spcBef>
                <a:spcPts val="0"/>
              </a:spcBef>
              <a:spcAft>
                <a:spcPts val="0"/>
              </a:spcAft>
              <a:buClrTx/>
              <a:buSzTx/>
              <a:buFontTx/>
              <a:buNone/>
              <a:tabLst/>
              <a:defRPr/>
            </a:pPr>
            <a:endParaRPr kumimoji="0" lang="da-DK" sz="1500" b="0" i="0" u="none" strike="noStrike" kern="1200" cap="none" spc="0" normalizeH="0" baseline="0" noProof="0" dirty="0">
              <a:ln>
                <a:noFill/>
              </a:ln>
              <a:solidFill>
                <a:srgbClr val="273F68"/>
              </a:solidFill>
              <a:effectLst/>
              <a:uLnTx/>
              <a:uFillTx/>
              <a:latin typeface="Quicksand" panose="020B0604020202020204" charset="0"/>
              <a:ea typeface="+mn-ea"/>
              <a:cs typeface="+mn-cs"/>
            </a:endParaRPr>
          </a:p>
        </p:txBody>
      </p:sp>
      <p:sp>
        <p:nvSpPr>
          <p:cNvPr id="14" name="Google Shape;847;p29">
            <a:extLst>
              <a:ext uri="{FF2B5EF4-FFF2-40B4-BE49-F238E27FC236}">
                <a16:creationId xmlns:a16="http://schemas.microsoft.com/office/drawing/2014/main" id="{DE10ED59-7590-9F3C-1E67-C22B931F997B}"/>
              </a:ext>
            </a:extLst>
          </p:cNvPr>
          <p:cNvSpPr txBox="1"/>
          <p:nvPr/>
        </p:nvSpPr>
        <p:spPr>
          <a:xfrm>
            <a:off x="932401" y="2296800"/>
            <a:ext cx="4588834" cy="3626799"/>
          </a:xfrm>
          <a:prstGeom prst="rect">
            <a:avLst/>
          </a:prstGeom>
          <a:noFill/>
          <a:ln>
            <a:noFill/>
          </a:ln>
        </p:spPr>
        <p:txBody>
          <a:bodyPr spcFirstLastPara="1" wrap="square" lIns="0" tIns="0" rIns="0" bIns="0" anchor="t" anchorCtr="0">
            <a:noAutofit/>
          </a:bodyPr>
          <a:lstStyle/>
          <a:p>
            <a:pPr marR="0" lvl="0" algn="l" defTabSz="914400" rtl="0" eaLnBrk="1" fontAlgn="auto" latinLnBrk="0" hangingPunct="1">
              <a:lnSpc>
                <a:spcPct val="100000"/>
              </a:lnSpc>
              <a:spcBef>
                <a:spcPts val="0"/>
              </a:spcBef>
              <a:spcAft>
                <a:spcPts val="0"/>
              </a:spcAft>
              <a:buClrTx/>
              <a:buSzTx/>
              <a:tabLst/>
              <a:defRPr/>
            </a:pPr>
            <a:r>
              <a:rPr kumimoji="0" lang="da-DK" sz="1600" i="0" u="none" strike="noStrike" kern="1200" cap="none" spc="0" normalizeH="0" baseline="0" noProof="0" dirty="0">
                <a:ln>
                  <a:noFill/>
                </a:ln>
                <a:solidFill>
                  <a:srgbClr val="273F68"/>
                </a:solidFill>
                <a:effectLst/>
                <a:uLnTx/>
                <a:uFillTx/>
                <a:latin typeface="Quicksand" panose="020B0604020202020204"/>
                <a:ea typeface="Quicksand" panose="020B0604020202020204"/>
                <a:cs typeface="Quicksand" panose="020B0604020202020204"/>
                <a:sym typeface="Quicksand"/>
              </a:rPr>
              <a:t>Flere ledere er enige i, at de </a:t>
            </a:r>
            <a:r>
              <a:rPr kumimoji="0" lang="da-DK" sz="1600" b="1" i="0" u="none" strike="noStrike" kern="1200" cap="none" spc="0" normalizeH="0" baseline="0" noProof="0" dirty="0">
                <a:ln>
                  <a:noFill/>
                </a:ln>
                <a:solidFill>
                  <a:srgbClr val="273F68"/>
                </a:solidFill>
                <a:effectLst/>
                <a:uLnTx/>
                <a:uFillTx/>
                <a:latin typeface="Quicksand" panose="020B0604020202020204"/>
                <a:ea typeface="Quicksand" panose="020B0604020202020204"/>
                <a:cs typeface="Quicksand" panose="020B0604020202020204"/>
                <a:sym typeface="Quicksand"/>
              </a:rPr>
              <a:t>interesserer sig for og følger op på </a:t>
            </a:r>
            <a:r>
              <a:rPr kumimoji="0" lang="da-DK" sz="1600" i="0" u="none" strike="noStrike" kern="1200" cap="none" spc="0" normalizeH="0" baseline="0" noProof="0" dirty="0">
                <a:ln>
                  <a:noFill/>
                </a:ln>
                <a:solidFill>
                  <a:srgbClr val="273F68"/>
                </a:solidFill>
                <a:effectLst/>
                <a:uLnTx/>
                <a:uFillTx/>
                <a:latin typeface="Quicksand" panose="020B0604020202020204"/>
                <a:ea typeface="Quicksand" panose="020B0604020202020204"/>
                <a:cs typeface="Quicksand" panose="020B0604020202020204"/>
                <a:sym typeface="Quicksand"/>
              </a:rPr>
              <a:t>det arbejde, der sker i teamene.</a:t>
            </a:r>
          </a:p>
          <a:p>
            <a:pPr marR="0" lvl="0" algn="l" defTabSz="914400" rtl="0" eaLnBrk="1" fontAlgn="auto" latinLnBrk="0" hangingPunct="1">
              <a:lnSpc>
                <a:spcPct val="100000"/>
              </a:lnSpc>
              <a:spcBef>
                <a:spcPts val="0"/>
              </a:spcBef>
              <a:spcAft>
                <a:spcPts val="0"/>
              </a:spcAft>
              <a:buClrTx/>
              <a:buSzTx/>
              <a:tabLst/>
              <a:defRPr/>
            </a:pPr>
            <a:endParaRPr lang="da-DK" sz="1600" b="0" dirty="0">
              <a:solidFill>
                <a:srgbClr val="273F68"/>
              </a:solidFill>
              <a:latin typeface="Quicksand" panose="020B0604020202020204"/>
              <a:ea typeface="Quicksand" panose="020B0604020202020204"/>
              <a:cs typeface="Quicksand" panose="020B0604020202020204"/>
              <a:sym typeface="Quicksand"/>
            </a:endParaRPr>
          </a:p>
          <a:p>
            <a:pPr marR="0" lvl="0" algn="l" defTabSz="914400" rtl="0" eaLnBrk="1" fontAlgn="auto" latinLnBrk="0" hangingPunct="1">
              <a:lnSpc>
                <a:spcPct val="100000"/>
              </a:lnSpc>
              <a:spcBef>
                <a:spcPts val="0"/>
              </a:spcBef>
              <a:spcAft>
                <a:spcPts val="0"/>
              </a:spcAft>
              <a:buClrTx/>
              <a:buSzTx/>
              <a:tabLst/>
              <a:defRPr/>
            </a:pPr>
            <a:r>
              <a:rPr kumimoji="0" lang="da-DK" sz="1600" b="0" i="0" u="none" strike="noStrike" kern="1200" cap="none" spc="0" normalizeH="0" baseline="0" noProof="0" dirty="0">
                <a:ln>
                  <a:noFill/>
                </a:ln>
                <a:solidFill>
                  <a:srgbClr val="273F68"/>
                </a:solidFill>
                <a:effectLst/>
                <a:uLnTx/>
                <a:uFillTx/>
                <a:latin typeface="Quicksand"/>
                <a:ea typeface="Quicksand"/>
                <a:cs typeface="Quicksand"/>
                <a:sym typeface="Quicksand"/>
              </a:rPr>
              <a:t>Der er dog stadig stor variation i, </a:t>
            </a:r>
            <a:r>
              <a:rPr kumimoji="0" lang="da-DK" sz="1600" b="1" i="0" u="none" strike="noStrike" kern="1200" cap="none" spc="0" normalizeH="0" baseline="0" noProof="0" dirty="0">
                <a:ln>
                  <a:noFill/>
                </a:ln>
                <a:solidFill>
                  <a:srgbClr val="273F68"/>
                </a:solidFill>
                <a:effectLst/>
                <a:uLnTx/>
                <a:uFillTx/>
                <a:latin typeface="Quicksand"/>
                <a:ea typeface="Quicksand"/>
                <a:cs typeface="Quicksand"/>
                <a:sym typeface="Quicksand"/>
              </a:rPr>
              <a:t>hvor tæt lederne er på praksis.</a:t>
            </a:r>
          </a:p>
          <a:p>
            <a:pPr marR="0" lvl="0" algn="l" defTabSz="914400" rtl="0" eaLnBrk="1" fontAlgn="auto" latinLnBrk="0" hangingPunct="1">
              <a:lnSpc>
                <a:spcPct val="100000"/>
              </a:lnSpc>
              <a:spcBef>
                <a:spcPts val="0"/>
              </a:spcBef>
              <a:spcAft>
                <a:spcPts val="0"/>
              </a:spcAft>
              <a:buClrTx/>
              <a:buSzTx/>
              <a:tabLst/>
              <a:defRPr/>
            </a:pPr>
            <a:endParaRPr kumimoji="0" lang="da-DK" sz="1600" b="1" i="0" u="none" strike="noStrike" kern="1200" cap="none" spc="0" normalizeH="0" baseline="0" noProof="0" dirty="0">
              <a:ln>
                <a:noFill/>
              </a:ln>
              <a:solidFill>
                <a:srgbClr val="273F68"/>
              </a:solidFill>
              <a:effectLst/>
              <a:uLnTx/>
              <a:uFillTx/>
              <a:latin typeface="Quicksand"/>
              <a:ea typeface="Quicksand"/>
              <a:cs typeface="Quicksand"/>
              <a:sym typeface="Quicksand"/>
            </a:endParaRPr>
          </a:p>
          <a:p>
            <a:pPr marR="0" lvl="0" algn="l" defTabSz="914400" rtl="0" eaLnBrk="1" fontAlgn="auto" latinLnBrk="0" hangingPunct="1">
              <a:lnSpc>
                <a:spcPct val="100000"/>
              </a:lnSpc>
              <a:spcBef>
                <a:spcPts val="0"/>
              </a:spcBef>
              <a:spcAft>
                <a:spcPts val="0"/>
              </a:spcAft>
              <a:buClrTx/>
              <a:buSzTx/>
              <a:tabLst/>
              <a:defRPr/>
            </a:pPr>
            <a:r>
              <a:rPr kumimoji="0" lang="da-DK" sz="1600" b="0" i="0" u="none" strike="noStrike" kern="1200" cap="none" spc="0" normalizeH="0" baseline="0" noProof="0" dirty="0">
                <a:ln>
                  <a:noFill/>
                </a:ln>
                <a:solidFill>
                  <a:srgbClr val="273F68"/>
                </a:solidFill>
                <a:effectLst/>
                <a:uLnTx/>
                <a:uFillTx/>
                <a:latin typeface="Quicksand"/>
                <a:ea typeface="Quicksand"/>
                <a:cs typeface="Quicksand"/>
                <a:sym typeface="Quicksand"/>
              </a:rPr>
              <a:t>Ledere og pædagogisk personale </a:t>
            </a:r>
            <a:r>
              <a:rPr kumimoji="0" lang="da-DK" sz="1600" b="1" i="0" u="none" strike="noStrike" kern="1200" cap="none" spc="0" normalizeH="0" baseline="0" noProof="0" dirty="0">
                <a:ln>
                  <a:noFill/>
                </a:ln>
                <a:solidFill>
                  <a:srgbClr val="273F68"/>
                </a:solidFill>
                <a:effectLst/>
                <a:uLnTx/>
                <a:uFillTx/>
                <a:latin typeface="Quicksand"/>
                <a:ea typeface="Quicksand"/>
                <a:cs typeface="Quicksand"/>
                <a:sym typeface="Quicksand"/>
              </a:rPr>
              <a:t>oplever også forsat ledelsesunderstøttelsen meget forskelligt.</a:t>
            </a:r>
          </a:p>
          <a:p>
            <a:pPr marL="0" marR="0" lvl="0" indent="0" algn="l" defTabSz="914400" rtl="0" eaLnBrk="1" fontAlgn="auto" latinLnBrk="0" hangingPunct="1">
              <a:lnSpc>
                <a:spcPct val="100000"/>
              </a:lnSpc>
              <a:spcBef>
                <a:spcPts val="0"/>
              </a:spcBef>
              <a:spcAft>
                <a:spcPts val="0"/>
              </a:spcAft>
              <a:buClrTx/>
              <a:buSzTx/>
              <a:tabLst/>
              <a:defRPr/>
            </a:pPr>
            <a:endParaRPr kumimoji="0" lang="da-DK" sz="500" b="1" i="0" u="none" strike="noStrike" kern="1200" cap="none" spc="0" normalizeH="0" baseline="0" noProof="0" dirty="0">
              <a:ln>
                <a:noFill/>
              </a:ln>
              <a:solidFill>
                <a:srgbClr val="273F68"/>
              </a:solidFill>
              <a:effectLst/>
              <a:uLnTx/>
              <a:uFillTx/>
              <a:latin typeface="Quicksand"/>
              <a:ea typeface="Quicksand"/>
              <a:cs typeface="Quicksand"/>
              <a:sym typeface="Quicksand"/>
            </a:endParaRPr>
          </a:p>
          <a:p>
            <a:pPr marL="0" marR="0" lvl="0" indent="0" algn="l" defTabSz="914400" rtl="0" eaLnBrk="1" fontAlgn="auto" latinLnBrk="0" hangingPunct="1">
              <a:lnSpc>
                <a:spcPct val="100000"/>
              </a:lnSpc>
              <a:spcBef>
                <a:spcPts val="0"/>
              </a:spcBef>
              <a:spcAft>
                <a:spcPts val="0"/>
              </a:spcAft>
              <a:buClrTx/>
              <a:buSzTx/>
              <a:tabLst/>
              <a:defRPr/>
            </a:pPr>
            <a:endParaRPr kumimoji="0" lang="da-DK" sz="1600" b="1" i="0" u="none" strike="noStrike" kern="1200" cap="none" spc="0" normalizeH="0" baseline="0" noProof="0" dirty="0">
              <a:ln>
                <a:noFill/>
              </a:ln>
              <a:solidFill>
                <a:srgbClr val="273F68"/>
              </a:solidFill>
              <a:effectLst/>
              <a:uLnTx/>
              <a:uFillTx/>
              <a:latin typeface="Quicksand"/>
              <a:ea typeface="Quicksand"/>
              <a:cs typeface="Quicksand"/>
              <a:sym typeface="Quicksand"/>
            </a:endParaRPr>
          </a:p>
        </p:txBody>
      </p:sp>
      <p:sp>
        <p:nvSpPr>
          <p:cNvPr id="10" name="Google Shape;846;p29">
            <a:extLst>
              <a:ext uri="{FF2B5EF4-FFF2-40B4-BE49-F238E27FC236}">
                <a16:creationId xmlns:a16="http://schemas.microsoft.com/office/drawing/2014/main" id="{50228FE9-2C29-4994-F9DB-F65B9358102D}"/>
              </a:ext>
            </a:extLst>
          </p:cNvPr>
          <p:cNvSpPr/>
          <p:nvPr/>
        </p:nvSpPr>
        <p:spPr>
          <a:xfrm>
            <a:off x="-1" y="347862"/>
            <a:ext cx="901244" cy="1019120"/>
          </a:xfrm>
          <a:prstGeom prst="homePlate">
            <a:avLst>
              <a:gd name="adj" fmla="val 50000"/>
            </a:avLst>
          </a:prstGeom>
          <a:solidFill>
            <a:schemeClr val="accent3"/>
          </a:solidFill>
          <a:ln>
            <a:noFill/>
          </a:ln>
        </p:spPr>
        <p:txBody>
          <a:bodyPr spcFirstLastPara="1" wrap="square" lIns="396000"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3600" b="0" i="0" u="none" strike="noStrike" kern="1200" cap="none" spc="0" normalizeH="0" baseline="0" noProof="0">
              <a:ln>
                <a:noFill/>
              </a:ln>
              <a:solidFill>
                <a:srgbClr val="273F68"/>
              </a:solidFill>
              <a:effectLst/>
              <a:uLnTx/>
              <a:uFillTx/>
              <a:latin typeface="Amatic SC"/>
              <a:ea typeface="Amatic SC"/>
              <a:cs typeface="Amatic SC"/>
              <a:sym typeface="Amatic SC"/>
            </a:endParaRPr>
          </a:p>
        </p:txBody>
      </p:sp>
      <p:sp>
        <p:nvSpPr>
          <p:cNvPr id="12" name="Google Shape;843;p29">
            <a:extLst>
              <a:ext uri="{FF2B5EF4-FFF2-40B4-BE49-F238E27FC236}">
                <a16:creationId xmlns:a16="http://schemas.microsoft.com/office/drawing/2014/main" id="{017D1C16-919E-15D6-36C3-28DA1B401F7F}"/>
              </a:ext>
            </a:extLst>
          </p:cNvPr>
          <p:cNvSpPr/>
          <p:nvPr/>
        </p:nvSpPr>
        <p:spPr>
          <a:xfrm>
            <a:off x="-1" y="347492"/>
            <a:ext cx="12192000" cy="1019120"/>
          </a:xfrm>
          <a:prstGeom prst="chevron">
            <a:avLst>
              <a:gd name="adj" fmla="val 50000"/>
            </a:avLst>
          </a:prstGeom>
          <a:solidFill>
            <a:schemeClr val="accent3"/>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3200" b="1" i="0" u="none" strike="noStrike" kern="1200" cap="none" spc="0" normalizeH="0" baseline="0" noProof="0" dirty="0">
                <a:ln>
                  <a:noFill/>
                </a:ln>
                <a:solidFill>
                  <a:srgbClr val="FFFFFF"/>
                </a:solidFill>
                <a:effectLst/>
                <a:uLnTx/>
                <a:uFillTx/>
                <a:latin typeface="Amatic SC"/>
                <a:ea typeface="Amatic SC"/>
                <a:cs typeface="Amatic SC"/>
                <a:sym typeface="Amatic SC"/>
              </a:rPr>
              <a:t>Lederne oplever i stigende grad at støtte op om og involvere sig</a:t>
            </a:r>
            <a:br>
              <a:rPr kumimoji="0" lang="da-DK" sz="3200" b="1" i="0" u="none" strike="noStrike" kern="1200" cap="none" spc="0" normalizeH="0" baseline="0" noProof="0" dirty="0">
                <a:ln>
                  <a:noFill/>
                </a:ln>
                <a:solidFill>
                  <a:srgbClr val="FFFFFF"/>
                </a:solidFill>
                <a:effectLst/>
                <a:uLnTx/>
                <a:uFillTx/>
                <a:latin typeface="Amatic SC"/>
                <a:ea typeface="Amatic SC"/>
                <a:cs typeface="Amatic SC"/>
                <a:sym typeface="Amatic SC"/>
              </a:rPr>
            </a:br>
            <a:r>
              <a:rPr kumimoji="0" lang="da-DK" sz="3200" b="1" i="0" u="none" strike="noStrike" kern="1200" cap="none" spc="0" normalizeH="0" baseline="0" noProof="0" dirty="0">
                <a:ln>
                  <a:noFill/>
                </a:ln>
                <a:solidFill>
                  <a:srgbClr val="FFFFFF"/>
                </a:solidFill>
                <a:effectLst/>
                <a:uLnTx/>
                <a:uFillTx/>
                <a:latin typeface="Amatic SC"/>
                <a:ea typeface="Amatic SC"/>
                <a:cs typeface="Amatic SC"/>
                <a:sym typeface="Amatic SC"/>
              </a:rPr>
              <a:t>i udviklingen af læringsmiljøer </a:t>
            </a:r>
          </a:p>
        </p:txBody>
      </p:sp>
      <p:sp>
        <p:nvSpPr>
          <p:cNvPr id="15" name="Google Shape;843;p29">
            <a:extLst>
              <a:ext uri="{FF2B5EF4-FFF2-40B4-BE49-F238E27FC236}">
                <a16:creationId xmlns:a16="http://schemas.microsoft.com/office/drawing/2014/main" id="{485B8004-BD36-C2C3-1A99-7BEBEEF0A6E2}"/>
              </a:ext>
            </a:extLst>
          </p:cNvPr>
          <p:cNvSpPr/>
          <p:nvPr/>
        </p:nvSpPr>
        <p:spPr>
          <a:xfrm>
            <a:off x="11591636" y="347492"/>
            <a:ext cx="600363" cy="101912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400" b="0" i="0" u="none" strike="noStrike" kern="1200" cap="none" spc="0" normalizeH="0" baseline="0" noProof="0">
              <a:ln>
                <a:noFill/>
              </a:ln>
              <a:solidFill>
                <a:srgbClr val="273F68"/>
              </a:solidFill>
              <a:effectLst/>
              <a:uLnTx/>
              <a:uFillTx/>
              <a:latin typeface="Amatic SC"/>
              <a:ea typeface="Amatic SC"/>
              <a:cs typeface="Amatic SC"/>
              <a:sym typeface="Amatic SC"/>
            </a:endParaRPr>
          </a:p>
        </p:txBody>
      </p:sp>
      <p:sp>
        <p:nvSpPr>
          <p:cNvPr id="16" name="Google Shape;843;p29">
            <a:extLst>
              <a:ext uri="{FF2B5EF4-FFF2-40B4-BE49-F238E27FC236}">
                <a16:creationId xmlns:a16="http://schemas.microsoft.com/office/drawing/2014/main" id="{DE4068FB-1745-9AA5-9935-0DC296F34596}"/>
              </a:ext>
            </a:extLst>
          </p:cNvPr>
          <p:cNvSpPr/>
          <p:nvPr/>
        </p:nvSpPr>
        <p:spPr>
          <a:xfrm>
            <a:off x="11033835" y="347677"/>
            <a:ext cx="1067334" cy="1019120"/>
          </a:xfrm>
          <a:prstGeom prst="chevron">
            <a:avLst>
              <a:gd name="adj" fmla="val 50000"/>
            </a:avLst>
          </a:prstGeom>
          <a:solidFill>
            <a:schemeClr val="accent3"/>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400" b="0" i="0" u="none" strike="noStrike" kern="1200" cap="none" spc="0" normalizeH="0" baseline="0" noProof="0">
              <a:ln>
                <a:noFill/>
              </a:ln>
              <a:solidFill>
                <a:srgbClr val="273F68"/>
              </a:solidFill>
              <a:effectLst/>
              <a:uLnTx/>
              <a:uFillTx/>
              <a:latin typeface="Amatic SC"/>
              <a:ea typeface="Amatic SC"/>
              <a:cs typeface="Amatic SC"/>
              <a:sym typeface="Amatic SC"/>
            </a:endParaRPr>
          </a:p>
        </p:txBody>
      </p:sp>
      <p:sp>
        <p:nvSpPr>
          <p:cNvPr id="13" name="Google Shape;1217;p48">
            <a:extLst>
              <a:ext uri="{FF2B5EF4-FFF2-40B4-BE49-F238E27FC236}">
                <a16:creationId xmlns:a16="http://schemas.microsoft.com/office/drawing/2014/main" id="{31C4DCAB-FE21-D9F3-3B3F-DC4762213075}"/>
              </a:ext>
            </a:extLst>
          </p:cNvPr>
          <p:cNvSpPr/>
          <p:nvPr/>
        </p:nvSpPr>
        <p:spPr>
          <a:xfrm>
            <a:off x="7040617" y="1807031"/>
            <a:ext cx="321251" cy="269060"/>
          </a:xfrm>
          <a:custGeom>
            <a:avLst/>
            <a:gdLst/>
            <a:ahLst/>
            <a:cxnLst/>
            <a:rect l="l" t="t" r="r" b="b"/>
            <a:pathLst>
              <a:path w="18981" h="16766" extrusionOk="0">
                <a:moveTo>
                  <a:pt x="5451" y="5475"/>
                </a:moveTo>
                <a:lnTo>
                  <a:pt x="5257" y="5548"/>
                </a:lnTo>
                <a:lnTo>
                  <a:pt x="5159" y="5597"/>
                </a:lnTo>
                <a:lnTo>
                  <a:pt x="5062" y="5670"/>
                </a:lnTo>
                <a:lnTo>
                  <a:pt x="5013" y="5743"/>
                </a:lnTo>
                <a:lnTo>
                  <a:pt x="4965" y="5816"/>
                </a:lnTo>
                <a:lnTo>
                  <a:pt x="4940" y="5889"/>
                </a:lnTo>
                <a:lnTo>
                  <a:pt x="4965" y="5962"/>
                </a:lnTo>
                <a:lnTo>
                  <a:pt x="5013" y="6011"/>
                </a:lnTo>
                <a:lnTo>
                  <a:pt x="5086" y="6059"/>
                </a:lnTo>
                <a:lnTo>
                  <a:pt x="5208" y="6059"/>
                </a:lnTo>
                <a:lnTo>
                  <a:pt x="5354" y="6035"/>
                </a:lnTo>
                <a:lnTo>
                  <a:pt x="5476" y="6011"/>
                </a:lnTo>
                <a:lnTo>
                  <a:pt x="5695" y="6011"/>
                </a:lnTo>
                <a:lnTo>
                  <a:pt x="5792" y="5986"/>
                </a:lnTo>
                <a:lnTo>
                  <a:pt x="5865" y="5913"/>
                </a:lnTo>
                <a:lnTo>
                  <a:pt x="5914" y="5816"/>
                </a:lnTo>
                <a:lnTo>
                  <a:pt x="5938" y="5743"/>
                </a:lnTo>
                <a:lnTo>
                  <a:pt x="5938" y="5694"/>
                </a:lnTo>
                <a:lnTo>
                  <a:pt x="5889" y="5573"/>
                </a:lnTo>
                <a:lnTo>
                  <a:pt x="5792" y="5500"/>
                </a:lnTo>
                <a:lnTo>
                  <a:pt x="5670" y="5475"/>
                </a:lnTo>
                <a:close/>
                <a:moveTo>
                  <a:pt x="4575" y="5986"/>
                </a:moveTo>
                <a:lnTo>
                  <a:pt x="4454" y="6011"/>
                </a:lnTo>
                <a:lnTo>
                  <a:pt x="4356" y="6035"/>
                </a:lnTo>
                <a:lnTo>
                  <a:pt x="4259" y="6084"/>
                </a:lnTo>
                <a:lnTo>
                  <a:pt x="4113" y="6205"/>
                </a:lnTo>
                <a:lnTo>
                  <a:pt x="4040" y="6254"/>
                </a:lnTo>
                <a:lnTo>
                  <a:pt x="3991" y="6351"/>
                </a:lnTo>
                <a:lnTo>
                  <a:pt x="3967" y="6424"/>
                </a:lnTo>
                <a:lnTo>
                  <a:pt x="3991" y="6522"/>
                </a:lnTo>
                <a:lnTo>
                  <a:pt x="4064" y="6570"/>
                </a:lnTo>
                <a:lnTo>
                  <a:pt x="4162" y="6619"/>
                </a:lnTo>
                <a:lnTo>
                  <a:pt x="4283" y="6595"/>
                </a:lnTo>
                <a:lnTo>
                  <a:pt x="4429" y="6546"/>
                </a:lnTo>
                <a:lnTo>
                  <a:pt x="4527" y="6522"/>
                </a:lnTo>
                <a:lnTo>
                  <a:pt x="4551" y="6497"/>
                </a:lnTo>
                <a:lnTo>
                  <a:pt x="4648" y="6473"/>
                </a:lnTo>
                <a:lnTo>
                  <a:pt x="4721" y="6424"/>
                </a:lnTo>
                <a:lnTo>
                  <a:pt x="4794" y="6327"/>
                </a:lnTo>
                <a:lnTo>
                  <a:pt x="4794" y="6205"/>
                </a:lnTo>
                <a:lnTo>
                  <a:pt x="4770" y="6108"/>
                </a:lnTo>
                <a:lnTo>
                  <a:pt x="4673" y="6035"/>
                </a:lnTo>
                <a:lnTo>
                  <a:pt x="4575" y="5986"/>
                </a:lnTo>
                <a:close/>
                <a:moveTo>
                  <a:pt x="7593" y="5962"/>
                </a:moveTo>
                <a:lnTo>
                  <a:pt x="7495" y="6011"/>
                </a:lnTo>
                <a:lnTo>
                  <a:pt x="7447" y="6059"/>
                </a:lnTo>
                <a:lnTo>
                  <a:pt x="7398" y="6132"/>
                </a:lnTo>
                <a:lnTo>
                  <a:pt x="7398" y="6181"/>
                </a:lnTo>
                <a:lnTo>
                  <a:pt x="7422" y="6254"/>
                </a:lnTo>
                <a:lnTo>
                  <a:pt x="7520" y="6351"/>
                </a:lnTo>
                <a:lnTo>
                  <a:pt x="7593" y="6424"/>
                </a:lnTo>
                <a:lnTo>
                  <a:pt x="7641" y="6449"/>
                </a:lnTo>
                <a:lnTo>
                  <a:pt x="7666" y="6473"/>
                </a:lnTo>
                <a:lnTo>
                  <a:pt x="7690" y="6497"/>
                </a:lnTo>
                <a:lnTo>
                  <a:pt x="7714" y="6546"/>
                </a:lnTo>
                <a:lnTo>
                  <a:pt x="7763" y="6619"/>
                </a:lnTo>
                <a:lnTo>
                  <a:pt x="7787" y="6668"/>
                </a:lnTo>
                <a:lnTo>
                  <a:pt x="7812" y="6692"/>
                </a:lnTo>
                <a:lnTo>
                  <a:pt x="7909" y="6741"/>
                </a:lnTo>
                <a:lnTo>
                  <a:pt x="8031" y="6741"/>
                </a:lnTo>
                <a:lnTo>
                  <a:pt x="8128" y="6716"/>
                </a:lnTo>
                <a:lnTo>
                  <a:pt x="8201" y="6643"/>
                </a:lnTo>
                <a:lnTo>
                  <a:pt x="8250" y="6546"/>
                </a:lnTo>
                <a:lnTo>
                  <a:pt x="8250" y="6449"/>
                </a:lnTo>
                <a:lnTo>
                  <a:pt x="8225" y="6351"/>
                </a:lnTo>
                <a:lnTo>
                  <a:pt x="8177" y="6254"/>
                </a:lnTo>
                <a:lnTo>
                  <a:pt x="8104" y="6181"/>
                </a:lnTo>
                <a:lnTo>
                  <a:pt x="8006" y="6108"/>
                </a:lnTo>
                <a:lnTo>
                  <a:pt x="7909" y="6035"/>
                </a:lnTo>
                <a:lnTo>
                  <a:pt x="7812" y="5986"/>
                </a:lnTo>
                <a:lnTo>
                  <a:pt x="7690" y="5962"/>
                </a:lnTo>
                <a:close/>
                <a:moveTo>
                  <a:pt x="3578" y="6741"/>
                </a:moveTo>
                <a:lnTo>
                  <a:pt x="3456" y="6765"/>
                </a:lnTo>
                <a:lnTo>
                  <a:pt x="3359" y="6814"/>
                </a:lnTo>
                <a:lnTo>
                  <a:pt x="3286" y="6887"/>
                </a:lnTo>
                <a:lnTo>
                  <a:pt x="3189" y="6960"/>
                </a:lnTo>
                <a:lnTo>
                  <a:pt x="3140" y="7081"/>
                </a:lnTo>
                <a:lnTo>
                  <a:pt x="3091" y="7179"/>
                </a:lnTo>
                <a:lnTo>
                  <a:pt x="3067" y="7300"/>
                </a:lnTo>
                <a:lnTo>
                  <a:pt x="3067" y="7398"/>
                </a:lnTo>
                <a:lnTo>
                  <a:pt x="3091" y="7446"/>
                </a:lnTo>
                <a:lnTo>
                  <a:pt x="3116" y="7471"/>
                </a:lnTo>
                <a:lnTo>
                  <a:pt x="3189" y="7519"/>
                </a:lnTo>
                <a:lnTo>
                  <a:pt x="3286" y="7544"/>
                </a:lnTo>
                <a:lnTo>
                  <a:pt x="3359" y="7519"/>
                </a:lnTo>
                <a:lnTo>
                  <a:pt x="3481" y="7446"/>
                </a:lnTo>
                <a:lnTo>
                  <a:pt x="3554" y="7325"/>
                </a:lnTo>
                <a:lnTo>
                  <a:pt x="3627" y="7276"/>
                </a:lnTo>
                <a:lnTo>
                  <a:pt x="3651" y="7252"/>
                </a:lnTo>
                <a:lnTo>
                  <a:pt x="3700" y="7227"/>
                </a:lnTo>
                <a:lnTo>
                  <a:pt x="3773" y="7179"/>
                </a:lnTo>
                <a:lnTo>
                  <a:pt x="3821" y="7106"/>
                </a:lnTo>
                <a:lnTo>
                  <a:pt x="3821" y="7033"/>
                </a:lnTo>
                <a:lnTo>
                  <a:pt x="3821" y="6935"/>
                </a:lnTo>
                <a:lnTo>
                  <a:pt x="3797" y="6862"/>
                </a:lnTo>
                <a:lnTo>
                  <a:pt x="3724" y="6789"/>
                </a:lnTo>
                <a:lnTo>
                  <a:pt x="3651" y="6765"/>
                </a:lnTo>
                <a:lnTo>
                  <a:pt x="3578" y="6741"/>
                </a:lnTo>
                <a:close/>
                <a:moveTo>
                  <a:pt x="16863" y="4526"/>
                </a:moveTo>
                <a:lnTo>
                  <a:pt x="16766" y="4575"/>
                </a:lnTo>
                <a:lnTo>
                  <a:pt x="16693" y="4624"/>
                </a:lnTo>
                <a:lnTo>
                  <a:pt x="16620" y="4697"/>
                </a:lnTo>
                <a:lnTo>
                  <a:pt x="16498" y="4843"/>
                </a:lnTo>
                <a:lnTo>
                  <a:pt x="16401" y="5037"/>
                </a:lnTo>
                <a:lnTo>
                  <a:pt x="16158" y="5500"/>
                </a:lnTo>
                <a:lnTo>
                  <a:pt x="15914" y="5962"/>
                </a:lnTo>
                <a:lnTo>
                  <a:pt x="15647" y="5816"/>
                </a:lnTo>
                <a:lnTo>
                  <a:pt x="15501" y="5719"/>
                </a:lnTo>
                <a:lnTo>
                  <a:pt x="15355" y="5670"/>
                </a:lnTo>
                <a:lnTo>
                  <a:pt x="15233" y="5646"/>
                </a:lnTo>
                <a:lnTo>
                  <a:pt x="15087" y="5597"/>
                </a:lnTo>
                <a:lnTo>
                  <a:pt x="15038" y="5573"/>
                </a:lnTo>
                <a:lnTo>
                  <a:pt x="15014" y="5573"/>
                </a:lnTo>
                <a:lnTo>
                  <a:pt x="14917" y="5621"/>
                </a:lnTo>
                <a:lnTo>
                  <a:pt x="14892" y="5646"/>
                </a:lnTo>
                <a:lnTo>
                  <a:pt x="14844" y="5694"/>
                </a:lnTo>
                <a:lnTo>
                  <a:pt x="14844" y="5767"/>
                </a:lnTo>
                <a:lnTo>
                  <a:pt x="14868" y="5840"/>
                </a:lnTo>
                <a:lnTo>
                  <a:pt x="14892" y="5913"/>
                </a:lnTo>
                <a:lnTo>
                  <a:pt x="15087" y="6059"/>
                </a:lnTo>
                <a:lnTo>
                  <a:pt x="15282" y="6181"/>
                </a:lnTo>
                <a:lnTo>
                  <a:pt x="15671" y="6424"/>
                </a:lnTo>
                <a:lnTo>
                  <a:pt x="15355" y="6984"/>
                </a:lnTo>
                <a:lnTo>
                  <a:pt x="15160" y="7252"/>
                </a:lnTo>
                <a:lnTo>
                  <a:pt x="14965" y="7519"/>
                </a:lnTo>
                <a:lnTo>
                  <a:pt x="14941" y="7592"/>
                </a:lnTo>
                <a:lnTo>
                  <a:pt x="14941" y="7641"/>
                </a:lnTo>
                <a:lnTo>
                  <a:pt x="14941" y="7714"/>
                </a:lnTo>
                <a:lnTo>
                  <a:pt x="14965" y="7763"/>
                </a:lnTo>
                <a:lnTo>
                  <a:pt x="15014" y="7836"/>
                </a:lnTo>
                <a:lnTo>
                  <a:pt x="15063" y="7860"/>
                </a:lnTo>
                <a:lnTo>
                  <a:pt x="15111" y="7884"/>
                </a:lnTo>
                <a:lnTo>
                  <a:pt x="15184" y="7909"/>
                </a:lnTo>
                <a:lnTo>
                  <a:pt x="15257" y="7884"/>
                </a:lnTo>
                <a:lnTo>
                  <a:pt x="15355" y="7860"/>
                </a:lnTo>
                <a:lnTo>
                  <a:pt x="15501" y="7763"/>
                </a:lnTo>
                <a:lnTo>
                  <a:pt x="15622" y="7641"/>
                </a:lnTo>
                <a:lnTo>
                  <a:pt x="15744" y="7471"/>
                </a:lnTo>
                <a:lnTo>
                  <a:pt x="15866" y="7276"/>
                </a:lnTo>
                <a:lnTo>
                  <a:pt x="15963" y="7081"/>
                </a:lnTo>
                <a:lnTo>
                  <a:pt x="16133" y="6716"/>
                </a:lnTo>
                <a:lnTo>
                  <a:pt x="16328" y="6862"/>
                </a:lnTo>
                <a:lnTo>
                  <a:pt x="16523" y="7008"/>
                </a:lnTo>
                <a:lnTo>
                  <a:pt x="16742" y="7106"/>
                </a:lnTo>
                <a:lnTo>
                  <a:pt x="16839" y="7130"/>
                </a:lnTo>
                <a:lnTo>
                  <a:pt x="16961" y="7154"/>
                </a:lnTo>
                <a:lnTo>
                  <a:pt x="17034" y="7130"/>
                </a:lnTo>
                <a:lnTo>
                  <a:pt x="17082" y="7106"/>
                </a:lnTo>
                <a:lnTo>
                  <a:pt x="17131" y="7057"/>
                </a:lnTo>
                <a:lnTo>
                  <a:pt x="17155" y="7008"/>
                </a:lnTo>
                <a:lnTo>
                  <a:pt x="17180" y="6960"/>
                </a:lnTo>
                <a:lnTo>
                  <a:pt x="17180" y="6887"/>
                </a:lnTo>
                <a:lnTo>
                  <a:pt x="17155" y="6814"/>
                </a:lnTo>
                <a:lnTo>
                  <a:pt x="17131" y="6765"/>
                </a:lnTo>
                <a:lnTo>
                  <a:pt x="16961" y="6619"/>
                </a:lnTo>
                <a:lnTo>
                  <a:pt x="16766" y="6497"/>
                </a:lnTo>
                <a:lnTo>
                  <a:pt x="16377" y="6254"/>
                </a:lnTo>
                <a:lnTo>
                  <a:pt x="16644" y="5670"/>
                </a:lnTo>
                <a:lnTo>
                  <a:pt x="16766" y="5427"/>
                </a:lnTo>
                <a:lnTo>
                  <a:pt x="16912" y="5183"/>
                </a:lnTo>
                <a:lnTo>
                  <a:pt x="17034" y="4916"/>
                </a:lnTo>
                <a:lnTo>
                  <a:pt x="17082" y="4770"/>
                </a:lnTo>
                <a:lnTo>
                  <a:pt x="17082" y="4648"/>
                </a:lnTo>
                <a:lnTo>
                  <a:pt x="17082" y="4599"/>
                </a:lnTo>
                <a:lnTo>
                  <a:pt x="17058" y="4551"/>
                </a:lnTo>
                <a:lnTo>
                  <a:pt x="17009" y="4526"/>
                </a:lnTo>
                <a:close/>
                <a:moveTo>
                  <a:pt x="8420" y="6838"/>
                </a:moveTo>
                <a:lnTo>
                  <a:pt x="8371" y="6862"/>
                </a:lnTo>
                <a:lnTo>
                  <a:pt x="8298" y="6911"/>
                </a:lnTo>
                <a:lnTo>
                  <a:pt x="8274" y="6984"/>
                </a:lnTo>
                <a:lnTo>
                  <a:pt x="8250" y="7081"/>
                </a:lnTo>
                <a:lnTo>
                  <a:pt x="8274" y="7179"/>
                </a:lnTo>
                <a:lnTo>
                  <a:pt x="8298" y="7276"/>
                </a:lnTo>
                <a:lnTo>
                  <a:pt x="8347" y="7373"/>
                </a:lnTo>
                <a:lnTo>
                  <a:pt x="8420" y="7519"/>
                </a:lnTo>
                <a:lnTo>
                  <a:pt x="8444" y="7665"/>
                </a:lnTo>
                <a:lnTo>
                  <a:pt x="8444" y="7763"/>
                </a:lnTo>
                <a:lnTo>
                  <a:pt x="8493" y="7836"/>
                </a:lnTo>
                <a:lnTo>
                  <a:pt x="8566" y="7909"/>
                </a:lnTo>
                <a:lnTo>
                  <a:pt x="8663" y="7933"/>
                </a:lnTo>
                <a:lnTo>
                  <a:pt x="8761" y="7957"/>
                </a:lnTo>
                <a:lnTo>
                  <a:pt x="8882" y="7909"/>
                </a:lnTo>
                <a:lnTo>
                  <a:pt x="8980" y="7836"/>
                </a:lnTo>
                <a:lnTo>
                  <a:pt x="9004" y="7787"/>
                </a:lnTo>
                <a:lnTo>
                  <a:pt x="9028" y="7738"/>
                </a:lnTo>
                <a:lnTo>
                  <a:pt x="9028" y="7592"/>
                </a:lnTo>
                <a:lnTo>
                  <a:pt x="9004" y="7446"/>
                </a:lnTo>
                <a:lnTo>
                  <a:pt x="8955" y="7325"/>
                </a:lnTo>
                <a:lnTo>
                  <a:pt x="8882" y="7179"/>
                </a:lnTo>
                <a:lnTo>
                  <a:pt x="8809" y="7057"/>
                </a:lnTo>
                <a:lnTo>
                  <a:pt x="8712" y="6960"/>
                </a:lnTo>
                <a:lnTo>
                  <a:pt x="8663" y="6911"/>
                </a:lnTo>
                <a:lnTo>
                  <a:pt x="8615" y="6862"/>
                </a:lnTo>
                <a:lnTo>
                  <a:pt x="8542" y="6838"/>
                </a:lnTo>
                <a:close/>
                <a:moveTo>
                  <a:pt x="16255" y="7495"/>
                </a:moveTo>
                <a:lnTo>
                  <a:pt x="16206" y="7544"/>
                </a:lnTo>
                <a:lnTo>
                  <a:pt x="16158" y="7592"/>
                </a:lnTo>
                <a:lnTo>
                  <a:pt x="16158" y="7714"/>
                </a:lnTo>
                <a:lnTo>
                  <a:pt x="16158" y="7836"/>
                </a:lnTo>
                <a:lnTo>
                  <a:pt x="16206" y="7982"/>
                </a:lnTo>
                <a:lnTo>
                  <a:pt x="16231" y="8030"/>
                </a:lnTo>
                <a:lnTo>
                  <a:pt x="16279" y="8079"/>
                </a:lnTo>
                <a:lnTo>
                  <a:pt x="16304" y="8103"/>
                </a:lnTo>
                <a:lnTo>
                  <a:pt x="16377" y="8128"/>
                </a:lnTo>
                <a:lnTo>
                  <a:pt x="16474" y="8128"/>
                </a:lnTo>
                <a:lnTo>
                  <a:pt x="16523" y="8103"/>
                </a:lnTo>
                <a:lnTo>
                  <a:pt x="16547" y="8055"/>
                </a:lnTo>
                <a:lnTo>
                  <a:pt x="16571" y="8006"/>
                </a:lnTo>
                <a:lnTo>
                  <a:pt x="16571" y="7957"/>
                </a:lnTo>
                <a:lnTo>
                  <a:pt x="16547" y="7836"/>
                </a:lnTo>
                <a:lnTo>
                  <a:pt x="16523" y="7738"/>
                </a:lnTo>
                <a:lnTo>
                  <a:pt x="16474" y="7641"/>
                </a:lnTo>
                <a:lnTo>
                  <a:pt x="16401" y="7544"/>
                </a:lnTo>
                <a:lnTo>
                  <a:pt x="16328" y="7495"/>
                </a:lnTo>
                <a:close/>
                <a:moveTo>
                  <a:pt x="2897" y="7836"/>
                </a:moveTo>
                <a:lnTo>
                  <a:pt x="2799" y="7860"/>
                </a:lnTo>
                <a:lnTo>
                  <a:pt x="2702" y="7909"/>
                </a:lnTo>
                <a:lnTo>
                  <a:pt x="2629" y="7982"/>
                </a:lnTo>
                <a:lnTo>
                  <a:pt x="2556" y="8079"/>
                </a:lnTo>
                <a:lnTo>
                  <a:pt x="2507" y="8201"/>
                </a:lnTo>
                <a:lnTo>
                  <a:pt x="2507" y="8347"/>
                </a:lnTo>
                <a:lnTo>
                  <a:pt x="2507" y="8468"/>
                </a:lnTo>
                <a:lnTo>
                  <a:pt x="2556" y="8517"/>
                </a:lnTo>
                <a:lnTo>
                  <a:pt x="2580" y="8566"/>
                </a:lnTo>
                <a:lnTo>
                  <a:pt x="2678" y="8614"/>
                </a:lnTo>
                <a:lnTo>
                  <a:pt x="2799" y="8614"/>
                </a:lnTo>
                <a:lnTo>
                  <a:pt x="2848" y="8590"/>
                </a:lnTo>
                <a:lnTo>
                  <a:pt x="2897" y="8566"/>
                </a:lnTo>
                <a:lnTo>
                  <a:pt x="2970" y="8493"/>
                </a:lnTo>
                <a:lnTo>
                  <a:pt x="3018" y="8420"/>
                </a:lnTo>
                <a:lnTo>
                  <a:pt x="3116" y="8274"/>
                </a:lnTo>
                <a:lnTo>
                  <a:pt x="3140" y="8152"/>
                </a:lnTo>
                <a:lnTo>
                  <a:pt x="3140" y="8055"/>
                </a:lnTo>
                <a:lnTo>
                  <a:pt x="3091" y="7957"/>
                </a:lnTo>
                <a:lnTo>
                  <a:pt x="3018" y="7884"/>
                </a:lnTo>
                <a:lnTo>
                  <a:pt x="2897" y="7836"/>
                </a:lnTo>
                <a:close/>
                <a:moveTo>
                  <a:pt x="8955" y="8152"/>
                </a:moveTo>
                <a:lnTo>
                  <a:pt x="8882" y="8201"/>
                </a:lnTo>
                <a:lnTo>
                  <a:pt x="8858" y="8274"/>
                </a:lnTo>
                <a:lnTo>
                  <a:pt x="8858" y="8371"/>
                </a:lnTo>
                <a:lnTo>
                  <a:pt x="8858" y="8468"/>
                </a:lnTo>
                <a:lnTo>
                  <a:pt x="8907" y="8639"/>
                </a:lnTo>
                <a:lnTo>
                  <a:pt x="8955" y="8760"/>
                </a:lnTo>
                <a:lnTo>
                  <a:pt x="8980" y="8858"/>
                </a:lnTo>
                <a:lnTo>
                  <a:pt x="9053" y="8955"/>
                </a:lnTo>
                <a:lnTo>
                  <a:pt x="9101" y="9004"/>
                </a:lnTo>
                <a:lnTo>
                  <a:pt x="9150" y="9028"/>
                </a:lnTo>
                <a:lnTo>
                  <a:pt x="9296" y="9028"/>
                </a:lnTo>
                <a:lnTo>
                  <a:pt x="9369" y="8979"/>
                </a:lnTo>
                <a:lnTo>
                  <a:pt x="9393" y="8931"/>
                </a:lnTo>
                <a:lnTo>
                  <a:pt x="9418" y="8858"/>
                </a:lnTo>
                <a:lnTo>
                  <a:pt x="9418" y="8785"/>
                </a:lnTo>
                <a:lnTo>
                  <a:pt x="9393" y="8639"/>
                </a:lnTo>
                <a:lnTo>
                  <a:pt x="9369" y="8614"/>
                </a:lnTo>
                <a:lnTo>
                  <a:pt x="9345" y="8517"/>
                </a:lnTo>
                <a:lnTo>
                  <a:pt x="9247" y="8322"/>
                </a:lnTo>
                <a:lnTo>
                  <a:pt x="9199" y="8225"/>
                </a:lnTo>
                <a:lnTo>
                  <a:pt x="9101" y="8176"/>
                </a:lnTo>
                <a:lnTo>
                  <a:pt x="9028" y="8152"/>
                </a:lnTo>
                <a:close/>
                <a:moveTo>
                  <a:pt x="16352" y="8541"/>
                </a:moveTo>
                <a:lnTo>
                  <a:pt x="16279" y="8566"/>
                </a:lnTo>
                <a:lnTo>
                  <a:pt x="16231" y="8614"/>
                </a:lnTo>
                <a:lnTo>
                  <a:pt x="16206" y="8663"/>
                </a:lnTo>
                <a:lnTo>
                  <a:pt x="16182" y="8736"/>
                </a:lnTo>
                <a:lnTo>
                  <a:pt x="16182" y="8858"/>
                </a:lnTo>
                <a:lnTo>
                  <a:pt x="16206" y="8979"/>
                </a:lnTo>
                <a:lnTo>
                  <a:pt x="16231" y="9174"/>
                </a:lnTo>
                <a:lnTo>
                  <a:pt x="16255" y="9296"/>
                </a:lnTo>
                <a:lnTo>
                  <a:pt x="16304" y="9369"/>
                </a:lnTo>
                <a:lnTo>
                  <a:pt x="16401" y="9417"/>
                </a:lnTo>
                <a:lnTo>
                  <a:pt x="16498" y="9417"/>
                </a:lnTo>
                <a:lnTo>
                  <a:pt x="16596" y="9393"/>
                </a:lnTo>
                <a:lnTo>
                  <a:pt x="16669" y="9320"/>
                </a:lnTo>
                <a:lnTo>
                  <a:pt x="16693" y="9223"/>
                </a:lnTo>
                <a:lnTo>
                  <a:pt x="16693" y="9101"/>
                </a:lnTo>
                <a:lnTo>
                  <a:pt x="16644" y="8882"/>
                </a:lnTo>
                <a:lnTo>
                  <a:pt x="16596" y="8760"/>
                </a:lnTo>
                <a:lnTo>
                  <a:pt x="16547" y="8639"/>
                </a:lnTo>
                <a:lnTo>
                  <a:pt x="16523" y="8590"/>
                </a:lnTo>
                <a:lnTo>
                  <a:pt x="16474" y="8541"/>
                </a:lnTo>
                <a:close/>
                <a:moveTo>
                  <a:pt x="2434" y="9077"/>
                </a:moveTo>
                <a:lnTo>
                  <a:pt x="2337" y="9101"/>
                </a:lnTo>
                <a:lnTo>
                  <a:pt x="2264" y="9125"/>
                </a:lnTo>
                <a:lnTo>
                  <a:pt x="2191" y="9198"/>
                </a:lnTo>
                <a:lnTo>
                  <a:pt x="2142" y="9271"/>
                </a:lnTo>
                <a:lnTo>
                  <a:pt x="2118" y="9369"/>
                </a:lnTo>
                <a:lnTo>
                  <a:pt x="2094" y="9515"/>
                </a:lnTo>
                <a:lnTo>
                  <a:pt x="2094" y="9612"/>
                </a:lnTo>
                <a:lnTo>
                  <a:pt x="2094" y="9685"/>
                </a:lnTo>
                <a:lnTo>
                  <a:pt x="2118" y="9782"/>
                </a:lnTo>
                <a:lnTo>
                  <a:pt x="2191" y="9831"/>
                </a:lnTo>
                <a:lnTo>
                  <a:pt x="2240" y="9879"/>
                </a:lnTo>
                <a:lnTo>
                  <a:pt x="2337" y="9904"/>
                </a:lnTo>
                <a:lnTo>
                  <a:pt x="2410" y="9879"/>
                </a:lnTo>
                <a:lnTo>
                  <a:pt x="2483" y="9831"/>
                </a:lnTo>
                <a:lnTo>
                  <a:pt x="2556" y="9733"/>
                </a:lnTo>
                <a:lnTo>
                  <a:pt x="2580" y="9612"/>
                </a:lnTo>
                <a:lnTo>
                  <a:pt x="2653" y="9417"/>
                </a:lnTo>
                <a:lnTo>
                  <a:pt x="2653" y="9320"/>
                </a:lnTo>
                <a:lnTo>
                  <a:pt x="2653" y="9247"/>
                </a:lnTo>
                <a:lnTo>
                  <a:pt x="2605" y="9174"/>
                </a:lnTo>
                <a:lnTo>
                  <a:pt x="2532" y="9125"/>
                </a:lnTo>
                <a:lnTo>
                  <a:pt x="2434" y="9077"/>
                </a:lnTo>
                <a:close/>
                <a:moveTo>
                  <a:pt x="9272" y="9296"/>
                </a:moveTo>
                <a:lnTo>
                  <a:pt x="9199" y="9344"/>
                </a:lnTo>
                <a:lnTo>
                  <a:pt x="9101" y="9417"/>
                </a:lnTo>
                <a:lnTo>
                  <a:pt x="9077" y="9539"/>
                </a:lnTo>
                <a:lnTo>
                  <a:pt x="9053" y="9661"/>
                </a:lnTo>
                <a:lnTo>
                  <a:pt x="9077" y="9782"/>
                </a:lnTo>
                <a:lnTo>
                  <a:pt x="9126" y="9904"/>
                </a:lnTo>
                <a:lnTo>
                  <a:pt x="9174" y="10001"/>
                </a:lnTo>
                <a:lnTo>
                  <a:pt x="9247" y="10123"/>
                </a:lnTo>
                <a:lnTo>
                  <a:pt x="9320" y="10196"/>
                </a:lnTo>
                <a:lnTo>
                  <a:pt x="9393" y="10220"/>
                </a:lnTo>
                <a:lnTo>
                  <a:pt x="9442" y="10220"/>
                </a:lnTo>
                <a:lnTo>
                  <a:pt x="9564" y="10196"/>
                </a:lnTo>
                <a:lnTo>
                  <a:pt x="9612" y="10147"/>
                </a:lnTo>
                <a:lnTo>
                  <a:pt x="9661" y="10123"/>
                </a:lnTo>
                <a:lnTo>
                  <a:pt x="9685" y="10050"/>
                </a:lnTo>
                <a:lnTo>
                  <a:pt x="9685" y="10001"/>
                </a:lnTo>
                <a:lnTo>
                  <a:pt x="9685" y="9904"/>
                </a:lnTo>
                <a:lnTo>
                  <a:pt x="9637" y="9806"/>
                </a:lnTo>
                <a:lnTo>
                  <a:pt x="9539" y="9636"/>
                </a:lnTo>
                <a:lnTo>
                  <a:pt x="9515" y="9515"/>
                </a:lnTo>
                <a:lnTo>
                  <a:pt x="9442" y="9393"/>
                </a:lnTo>
                <a:lnTo>
                  <a:pt x="9393" y="9344"/>
                </a:lnTo>
                <a:lnTo>
                  <a:pt x="9345" y="9320"/>
                </a:lnTo>
                <a:lnTo>
                  <a:pt x="9272" y="9296"/>
                </a:lnTo>
                <a:close/>
                <a:moveTo>
                  <a:pt x="16231" y="9855"/>
                </a:moveTo>
                <a:lnTo>
                  <a:pt x="16231" y="9879"/>
                </a:lnTo>
                <a:lnTo>
                  <a:pt x="16182" y="9904"/>
                </a:lnTo>
                <a:lnTo>
                  <a:pt x="16133" y="9952"/>
                </a:lnTo>
                <a:lnTo>
                  <a:pt x="16060" y="10098"/>
                </a:lnTo>
                <a:lnTo>
                  <a:pt x="16012" y="10293"/>
                </a:lnTo>
                <a:lnTo>
                  <a:pt x="16012" y="10390"/>
                </a:lnTo>
                <a:lnTo>
                  <a:pt x="16012" y="10463"/>
                </a:lnTo>
                <a:lnTo>
                  <a:pt x="16085" y="10561"/>
                </a:lnTo>
                <a:lnTo>
                  <a:pt x="16182" y="10634"/>
                </a:lnTo>
                <a:lnTo>
                  <a:pt x="16304" y="10634"/>
                </a:lnTo>
                <a:lnTo>
                  <a:pt x="16352" y="10609"/>
                </a:lnTo>
                <a:lnTo>
                  <a:pt x="16401" y="10561"/>
                </a:lnTo>
                <a:lnTo>
                  <a:pt x="16450" y="10488"/>
                </a:lnTo>
                <a:lnTo>
                  <a:pt x="16474" y="10415"/>
                </a:lnTo>
                <a:lnTo>
                  <a:pt x="16498" y="10244"/>
                </a:lnTo>
                <a:lnTo>
                  <a:pt x="16498" y="10147"/>
                </a:lnTo>
                <a:lnTo>
                  <a:pt x="16498" y="10050"/>
                </a:lnTo>
                <a:lnTo>
                  <a:pt x="16474" y="9952"/>
                </a:lnTo>
                <a:lnTo>
                  <a:pt x="16425" y="9879"/>
                </a:lnTo>
                <a:lnTo>
                  <a:pt x="16328" y="9855"/>
                </a:lnTo>
                <a:close/>
                <a:moveTo>
                  <a:pt x="2167" y="10244"/>
                </a:moveTo>
                <a:lnTo>
                  <a:pt x="2045" y="10269"/>
                </a:lnTo>
                <a:lnTo>
                  <a:pt x="1972" y="10317"/>
                </a:lnTo>
                <a:lnTo>
                  <a:pt x="1875" y="10463"/>
                </a:lnTo>
                <a:lnTo>
                  <a:pt x="1826" y="10634"/>
                </a:lnTo>
                <a:lnTo>
                  <a:pt x="1802" y="10804"/>
                </a:lnTo>
                <a:lnTo>
                  <a:pt x="1850" y="10926"/>
                </a:lnTo>
                <a:lnTo>
                  <a:pt x="1923" y="11023"/>
                </a:lnTo>
                <a:lnTo>
                  <a:pt x="1948" y="11072"/>
                </a:lnTo>
                <a:lnTo>
                  <a:pt x="2021" y="11096"/>
                </a:lnTo>
                <a:lnTo>
                  <a:pt x="2118" y="11096"/>
                </a:lnTo>
                <a:lnTo>
                  <a:pt x="2191" y="11072"/>
                </a:lnTo>
                <a:lnTo>
                  <a:pt x="2215" y="11023"/>
                </a:lnTo>
                <a:lnTo>
                  <a:pt x="2288" y="10950"/>
                </a:lnTo>
                <a:lnTo>
                  <a:pt x="2313" y="10877"/>
                </a:lnTo>
                <a:lnTo>
                  <a:pt x="2337" y="10780"/>
                </a:lnTo>
                <a:lnTo>
                  <a:pt x="2337" y="10755"/>
                </a:lnTo>
                <a:lnTo>
                  <a:pt x="2337" y="10731"/>
                </a:lnTo>
                <a:lnTo>
                  <a:pt x="2386" y="10658"/>
                </a:lnTo>
                <a:lnTo>
                  <a:pt x="2410" y="10561"/>
                </a:lnTo>
                <a:lnTo>
                  <a:pt x="2434" y="10488"/>
                </a:lnTo>
                <a:lnTo>
                  <a:pt x="2410" y="10390"/>
                </a:lnTo>
                <a:lnTo>
                  <a:pt x="2337" y="10317"/>
                </a:lnTo>
                <a:lnTo>
                  <a:pt x="2264" y="10269"/>
                </a:lnTo>
                <a:lnTo>
                  <a:pt x="2167" y="10244"/>
                </a:lnTo>
                <a:close/>
                <a:moveTo>
                  <a:pt x="9661" y="10512"/>
                </a:moveTo>
                <a:lnTo>
                  <a:pt x="9612" y="10536"/>
                </a:lnTo>
                <a:lnTo>
                  <a:pt x="9539" y="10609"/>
                </a:lnTo>
                <a:lnTo>
                  <a:pt x="9491" y="10658"/>
                </a:lnTo>
                <a:lnTo>
                  <a:pt x="9491" y="10731"/>
                </a:lnTo>
                <a:lnTo>
                  <a:pt x="9491" y="10877"/>
                </a:lnTo>
                <a:lnTo>
                  <a:pt x="9539" y="11023"/>
                </a:lnTo>
                <a:lnTo>
                  <a:pt x="9588" y="11169"/>
                </a:lnTo>
                <a:lnTo>
                  <a:pt x="9637" y="11242"/>
                </a:lnTo>
                <a:lnTo>
                  <a:pt x="9710" y="11315"/>
                </a:lnTo>
                <a:lnTo>
                  <a:pt x="9783" y="11339"/>
                </a:lnTo>
                <a:lnTo>
                  <a:pt x="9880" y="11339"/>
                </a:lnTo>
                <a:lnTo>
                  <a:pt x="9977" y="11291"/>
                </a:lnTo>
                <a:lnTo>
                  <a:pt x="10026" y="11218"/>
                </a:lnTo>
                <a:lnTo>
                  <a:pt x="10075" y="11120"/>
                </a:lnTo>
                <a:lnTo>
                  <a:pt x="10050" y="11023"/>
                </a:lnTo>
                <a:lnTo>
                  <a:pt x="10002" y="10877"/>
                </a:lnTo>
                <a:lnTo>
                  <a:pt x="9929" y="10731"/>
                </a:lnTo>
                <a:lnTo>
                  <a:pt x="9831" y="10609"/>
                </a:lnTo>
                <a:lnTo>
                  <a:pt x="9783" y="10561"/>
                </a:lnTo>
                <a:lnTo>
                  <a:pt x="9710" y="10536"/>
                </a:lnTo>
                <a:lnTo>
                  <a:pt x="9661" y="10512"/>
                </a:lnTo>
                <a:close/>
                <a:moveTo>
                  <a:pt x="15987" y="10999"/>
                </a:moveTo>
                <a:lnTo>
                  <a:pt x="15890" y="11047"/>
                </a:lnTo>
                <a:lnTo>
                  <a:pt x="15817" y="11120"/>
                </a:lnTo>
                <a:lnTo>
                  <a:pt x="15720" y="11291"/>
                </a:lnTo>
                <a:lnTo>
                  <a:pt x="15598" y="11461"/>
                </a:lnTo>
                <a:lnTo>
                  <a:pt x="15525" y="11631"/>
                </a:lnTo>
                <a:lnTo>
                  <a:pt x="15525" y="11729"/>
                </a:lnTo>
                <a:lnTo>
                  <a:pt x="15549" y="11802"/>
                </a:lnTo>
                <a:lnTo>
                  <a:pt x="15598" y="11850"/>
                </a:lnTo>
                <a:lnTo>
                  <a:pt x="15647" y="11899"/>
                </a:lnTo>
                <a:lnTo>
                  <a:pt x="15720" y="11948"/>
                </a:lnTo>
                <a:lnTo>
                  <a:pt x="15793" y="11948"/>
                </a:lnTo>
                <a:lnTo>
                  <a:pt x="15866" y="11923"/>
                </a:lnTo>
                <a:lnTo>
                  <a:pt x="15939" y="11875"/>
                </a:lnTo>
                <a:lnTo>
                  <a:pt x="16036" y="11704"/>
                </a:lnTo>
                <a:lnTo>
                  <a:pt x="16109" y="11510"/>
                </a:lnTo>
                <a:lnTo>
                  <a:pt x="16182" y="11315"/>
                </a:lnTo>
                <a:lnTo>
                  <a:pt x="16206" y="11218"/>
                </a:lnTo>
                <a:lnTo>
                  <a:pt x="16206" y="11120"/>
                </a:lnTo>
                <a:lnTo>
                  <a:pt x="16182" y="11047"/>
                </a:lnTo>
                <a:lnTo>
                  <a:pt x="16133" y="11023"/>
                </a:lnTo>
                <a:lnTo>
                  <a:pt x="16060" y="10999"/>
                </a:lnTo>
                <a:close/>
                <a:moveTo>
                  <a:pt x="1996" y="11437"/>
                </a:moveTo>
                <a:lnTo>
                  <a:pt x="1948" y="11461"/>
                </a:lnTo>
                <a:lnTo>
                  <a:pt x="1875" y="11485"/>
                </a:lnTo>
                <a:lnTo>
                  <a:pt x="1826" y="11558"/>
                </a:lnTo>
                <a:lnTo>
                  <a:pt x="1802" y="11607"/>
                </a:lnTo>
                <a:lnTo>
                  <a:pt x="1777" y="11680"/>
                </a:lnTo>
                <a:lnTo>
                  <a:pt x="1777" y="11826"/>
                </a:lnTo>
                <a:lnTo>
                  <a:pt x="1777" y="11899"/>
                </a:lnTo>
                <a:lnTo>
                  <a:pt x="1802" y="12021"/>
                </a:lnTo>
                <a:lnTo>
                  <a:pt x="1850" y="12094"/>
                </a:lnTo>
                <a:lnTo>
                  <a:pt x="1899" y="12142"/>
                </a:lnTo>
                <a:lnTo>
                  <a:pt x="1972" y="12167"/>
                </a:lnTo>
                <a:lnTo>
                  <a:pt x="2069" y="12167"/>
                </a:lnTo>
                <a:lnTo>
                  <a:pt x="2118" y="12142"/>
                </a:lnTo>
                <a:lnTo>
                  <a:pt x="2191" y="12094"/>
                </a:lnTo>
                <a:lnTo>
                  <a:pt x="2215" y="12021"/>
                </a:lnTo>
                <a:lnTo>
                  <a:pt x="2264" y="11875"/>
                </a:lnTo>
                <a:lnTo>
                  <a:pt x="2288" y="11753"/>
                </a:lnTo>
                <a:lnTo>
                  <a:pt x="2288" y="11680"/>
                </a:lnTo>
                <a:lnTo>
                  <a:pt x="2288" y="11607"/>
                </a:lnTo>
                <a:lnTo>
                  <a:pt x="2264" y="11534"/>
                </a:lnTo>
                <a:lnTo>
                  <a:pt x="2215" y="11485"/>
                </a:lnTo>
                <a:lnTo>
                  <a:pt x="2142" y="11437"/>
                </a:lnTo>
                <a:close/>
                <a:moveTo>
                  <a:pt x="10221" y="11753"/>
                </a:moveTo>
                <a:lnTo>
                  <a:pt x="10123" y="11802"/>
                </a:lnTo>
                <a:lnTo>
                  <a:pt x="10075" y="11875"/>
                </a:lnTo>
                <a:lnTo>
                  <a:pt x="10075" y="11996"/>
                </a:lnTo>
                <a:lnTo>
                  <a:pt x="10123" y="12094"/>
                </a:lnTo>
                <a:lnTo>
                  <a:pt x="10172" y="12191"/>
                </a:lnTo>
                <a:lnTo>
                  <a:pt x="10342" y="12337"/>
                </a:lnTo>
                <a:lnTo>
                  <a:pt x="10440" y="12410"/>
                </a:lnTo>
                <a:lnTo>
                  <a:pt x="10561" y="12483"/>
                </a:lnTo>
                <a:lnTo>
                  <a:pt x="10683" y="12532"/>
                </a:lnTo>
                <a:lnTo>
                  <a:pt x="10829" y="12532"/>
                </a:lnTo>
                <a:lnTo>
                  <a:pt x="10926" y="12507"/>
                </a:lnTo>
                <a:lnTo>
                  <a:pt x="10999" y="12459"/>
                </a:lnTo>
                <a:lnTo>
                  <a:pt x="11048" y="12386"/>
                </a:lnTo>
                <a:lnTo>
                  <a:pt x="11072" y="12313"/>
                </a:lnTo>
                <a:lnTo>
                  <a:pt x="11072" y="12240"/>
                </a:lnTo>
                <a:lnTo>
                  <a:pt x="11048" y="12167"/>
                </a:lnTo>
                <a:lnTo>
                  <a:pt x="10975" y="12094"/>
                </a:lnTo>
                <a:lnTo>
                  <a:pt x="10902" y="12045"/>
                </a:lnTo>
                <a:lnTo>
                  <a:pt x="10756" y="12021"/>
                </a:lnTo>
                <a:lnTo>
                  <a:pt x="10634" y="11948"/>
                </a:lnTo>
                <a:lnTo>
                  <a:pt x="10488" y="11826"/>
                </a:lnTo>
                <a:lnTo>
                  <a:pt x="10415" y="11777"/>
                </a:lnTo>
                <a:lnTo>
                  <a:pt x="10318" y="11753"/>
                </a:lnTo>
                <a:close/>
                <a:moveTo>
                  <a:pt x="15306" y="11996"/>
                </a:moveTo>
                <a:lnTo>
                  <a:pt x="15257" y="12045"/>
                </a:lnTo>
                <a:lnTo>
                  <a:pt x="15136" y="12167"/>
                </a:lnTo>
                <a:lnTo>
                  <a:pt x="15014" y="12288"/>
                </a:lnTo>
                <a:lnTo>
                  <a:pt x="14868" y="12386"/>
                </a:lnTo>
                <a:lnTo>
                  <a:pt x="14795" y="12434"/>
                </a:lnTo>
                <a:lnTo>
                  <a:pt x="14722" y="12483"/>
                </a:lnTo>
                <a:lnTo>
                  <a:pt x="14698" y="12532"/>
                </a:lnTo>
                <a:lnTo>
                  <a:pt x="14698" y="12605"/>
                </a:lnTo>
                <a:lnTo>
                  <a:pt x="14722" y="12653"/>
                </a:lnTo>
                <a:lnTo>
                  <a:pt x="14746" y="12678"/>
                </a:lnTo>
                <a:lnTo>
                  <a:pt x="14868" y="12726"/>
                </a:lnTo>
                <a:lnTo>
                  <a:pt x="14990" y="12726"/>
                </a:lnTo>
                <a:lnTo>
                  <a:pt x="15111" y="12702"/>
                </a:lnTo>
                <a:lnTo>
                  <a:pt x="15209" y="12629"/>
                </a:lnTo>
                <a:lnTo>
                  <a:pt x="15330" y="12556"/>
                </a:lnTo>
                <a:lnTo>
                  <a:pt x="15428" y="12483"/>
                </a:lnTo>
                <a:lnTo>
                  <a:pt x="15501" y="12386"/>
                </a:lnTo>
                <a:lnTo>
                  <a:pt x="15574" y="12288"/>
                </a:lnTo>
                <a:lnTo>
                  <a:pt x="15598" y="12215"/>
                </a:lnTo>
                <a:lnTo>
                  <a:pt x="15598" y="12142"/>
                </a:lnTo>
                <a:lnTo>
                  <a:pt x="15574" y="12094"/>
                </a:lnTo>
                <a:lnTo>
                  <a:pt x="15525" y="12045"/>
                </a:lnTo>
                <a:lnTo>
                  <a:pt x="15452" y="11996"/>
                </a:lnTo>
                <a:close/>
                <a:moveTo>
                  <a:pt x="14114" y="12605"/>
                </a:moveTo>
                <a:lnTo>
                  <a:pt x="14041" y="12629"/>
                </a:lnTo>
                <a:lnTo>
                  <a:pt x="13968" y="12678"/>
                </a:lnTo>
                <a:lnTo>
                  <a:pt x="13895" y="12726"/>
                </a:lnTo>
                <a:lnTo>
                  <a:pt x="13797" y="12751"/>
                </a:lnTo>
                <a:lnTo>
                  <a:pt x="13700" y="12751"/>
                </a:lnTo>
                <a:lnTo>
                  <a:pt x="13578" y="12775"/>
                </a:lnTo>
                <a:lnTo>
                  <a:pt x="13481" y="12848"/>
                </a:lnTo>
                <a:lnTo>
                  <a:pt x="13432" y="12872"/>
                </a:lnTo>
                <a:lnTo>
                  <a:pt x="13408" y="12921"/>
                </a:lnTo>
                <a:lnTo>
                  <a:pt x="13408" y="12970"/>
                </a:lnTo>
                <a:lnTo>
                  <a:pt x="13432" y="13018"/>
                </a:lnTo>
                <a:lnTo>
                  <a:pt x="13457" y="13091"/>
                </a:lnTo>
                <a:lnTo>
                  <a:pt x="13505" y="13116"/>
                </a:lnTo>
                <a:lnTo>
                  <a:pt x="13603" y="13164"/>
                </a:lnTo>
                <a:lnTo>
                  <a:pt x="13724" y="13189"/>
                </a:lnTo>
                <a:lnTo>
                  <a:pt x="13870" y="13189"/>
                </a:lnTo>
                <a:lnTo>
                  <a:pt x="14016" y="13164"/>
                </a:lnTo>
                <a:lnTo>
                  <a:pt x="14162" y="13091"/>
                </a:lnTo>
                <a:lnTo>
                  <a:pt x="14284" y="12994"/>
                </a:lnTo>
                <a:lnTo>
                  <a:pt x="14333" y="12945"/>
                </a:lnTo>
                <a:lnTo>
                  <a:pt x="14357" y="12872"/>
                </a:lnTo>
                <a:lnTo>
                  <a:pt x="14357" y="12799"/>
                </a:lnTo>
                <a:lnTo>
                  <a:pt x="14357" y="12726"/>
                </a:lnTo>
                <a:lnTo>
                  <a:pt x="14333" y="12678"/>
                </a:lnTo>
                <a:lnTo>
                  <a:pt x="14284" y="12653"/>
                </a:lnTo>
                <a:lnTo>
                  <a:pt x="14235" y="12605"/>
                </a:lnTo>
                <a:close/>
                <a:moveTo>
                  <a:pt x="6668" y="512"/>
                </a:moveTo>
                <a:lnTo>
                  <a:pt x="6887" y="755"/>
                </a:lnTo>
                <a:lnTo>
                  <a:pt x="7130" y="950"/>
                </a:lnTo>
                <a:lnTo>
                  <a:pt x="7398" y="1120"/>
                </a:lnTo>
                <a:lnTo>
                  <a:pt x="7666" y="1290"/>
                </a:lnTo>
                <a:lnTo>
                  <a:pt x="8250" y="1558"/>
                </a:lnTo>
                <a:lnTo>
                  <a:pt x="8834" y="1801"/>
                </a:lnTo>
                <a:lnTo>
                  <a:pt x="9320" y="2020"/>
                </a:lnTo>
                <a:lnTo>
                  <a:pt x="9807" y="2215"/>
                </a:lnTo>
                <a:lnTo>
                  <a:pt x="10780" y="2604"/>
                </a:lnTo>
                <a:lnTo>
                  <a:pt x="11194" y="2799"/>
                </a:lnTo>
                <a:lnTo>
                  <a:pt x="11559" y="3018"/>
                </a:lnTo>
                <a:lnTo>
                  <a:pt x="11729" y="3115"/>
                </a:lnTo>
                <a:lnTo>
                  <a:pt x="11924" y="3188"/>
                </a:lnTo>
                <a:lnTo>
                  <a:pt x="12094" y="3261"/>
                </a:lnTo>
                <a:lnTo>
                  <a:pt x="12240" y="3358"/>
                </a:lnTo>
                <a:lnTo>
                  <a:pt x="12264" y="3407"/>
                </a:lnTo>
                <a:lnTo>
                  <a:pt x="12313" y="3456"/>
                </a:lnTo>
                <a:lnTo>
                  <a:pt x="12410" y="3480"/>
                </a:lnTo>
                <a:lnTo>
                  <a:pt x="12435" y="3942"/>
                </a:lnTo>
                <a:lnTo>
                  <a:pt x="11851" y="3650"/>
                </a:lnTo>
                <a:lnTo>
                  <a:pt x="11389" y="3407"/>
                </a:lnTo>
                <a:lnTo>
                  <a:pt x="11170" y="3310"/>
                </a:lnTo>
                <a:lnTo>
                  <a:pt x="10926" y="3237"/>
                </a:lnTo>
                <a:lnTo>
                  <a:pt x="10878" y="3237"/>
                </a:lnTo>
                <a:lnTo>
                  <a:pt x="10853" y="3261"/>
                </a:lnTo>
                <a:lnTo>
                  <a:pt x="10853" y="3285"/>
                </a:lnTo>
                <a:lnTo>
                  <a:pt x="10853" y="3310"/>
                </a:lnTo>
                <a:lnTo>
                  <a:pt x="11024" y="3480"/>
                </a:lnTo>
                <a:lnTo>
                  <a:pt x="11218" y="3626"/>
                </a:lnTo>
                <a:lnTo>
                  <a:pt x="11608" y="3869"/>
                </a:lnTo>
                <a:lnTo>
                  <a:pt x="12045" y="4113"/>
                </a:lnTo>
                <a:lnTo>
                  <a:pt x="12459" y="4307"/>
                </a:lnTo>
                <a:lnTo>
                  <a:pt x="12483" y="4818"/>
                </a:lnTo>
                <a:lnTo>
                  <a:pt x="12337" y="4770"/>
                </a:lnTo>
                <a:lnTo>
                  <a:pt x="12216" y="4721"/>
                </a:lnTo>
                <a:lnTo>
                  <a:pt x="12021" y="4672"/>
                </a:lnTo>
                <a:lnTo>
                  <a:pt x="11729" y="4526"/>
                </a:lnTo>
                <a:lnTo>
                  <a:pt x="11413" y="4380"/>
                </a:lnTo>
                <a:lnTo>
                  <a:pt x="11218" y="4259"/>
                </a:lnTo>
                <a:lnTo>
                  <a:pt x="11121" y="4234"/>
                </a:lnTo>
                <a:lnTo>
                  <a:pt x="11024" y="4210"/>
                </a:lnTo>
                <a:lnTo>
                  <a:pt x="10975" y="4210"/>
                </a:lnTo>
                <a:lnTo>
                  <a:pt x="10951" y="4259"/>
                </a:lnTo>
                <a:lnTo>
                  <a:pt x="10951" y="4283"/>
                </a:lnTo>
                <a:lnTo>
                  <a:pt x="10951" y="4332"/>
                </a:lnTo>
                <a:lnTo>
                  <a:pt x="11024" y="4429"/>
                </a:lnTo>
                <a:lnTo>
                  <a:pt x="11121" y="4526"/>
                </a:lnTo>
                <a:lnTo>
                  <a:pt x="11218" y="4599"/>
                </a:lnTo>
                <a:lnTo>
                  <a:pt x="11340" y="4672"/>
                </a:lnTo>
                <a:lnTo>
                  <a:pt x="11608" y="4818"/>
                </a:lnTo>
                <a:lnTo>
                  <a:pt x="11826" y="4916"/>
                </a:lnTo>
                <a:lnTo>
                  <a:pt x="12143" y="5037"/>
                </a:lnTo>
                <a:lnTo>
                  <a:pt x="12313" y="5086"/>
                </a:lnTo>
                <a:lnTo>
                  <a:pt x="12410" y="5086"/>
                </a:lnTo>
                <a:lnTo>
                  <a:pt x="12483" y="5062"/>
                </a:lnTo>
                <a:lnTo>
                  <a:pt x="12483" y="5743"/>
                </a:lnTo>
                <a:lnTo>
                  <a:pt x="12289" y="5621"/>
                </a:lnTo>
                <a:lnTo>
                  <a:pt x="12094" y="5475"/>
                </a:lnTo>
                <a:lnTo>
                  <a:pt x="11608" y="5256"/>
                </a:lnTo>
                <a:lnTo>
                  <a:pt x="11194" y="5110"/>
                </a:lnTo>
                <a:lnTo>
                  <a:pt x="11024" y="5062"/>
                </a:lnTo>
                <a:lnTo>
                  <a:pt x="10926" y="5062"/>
                </a:lnTo>
                <a:lnTo>
                  <a:pt x="10902" y="5086"/>
                </a:lnTo>
                <a:lnTo>
                  <a:pt x="10878" y="5110"/>
                </a:lnTo>
                <a:lnTo>
                  <a:pt x="10951" y="5232"/>
                </a:lnTo>
                <a:lnTo>
                  <a:pt x="11024" y="5305"/>
                </a:lnTo>
                <a:lnTo>
                  <a:pt x="11121" y="5378"/>
                </a:lnTo>
                <a:lnTo>
                  <a:pt x="11267" y="5451"/>
                </a:lnTo>
                <a:lnTo>
                  <a:pt x="11535" y="5548"/>
                </a:lnTo>
                <a:lnTo>
                  <a:pt x="11754" y="5646"/>
                </a:lnTo>
                <a:lnTo>
                  <a:pt x="12094" y="5792"/>
                </a:lnTo>
                <a:lnTo>
                  <a:pt x="12240" y="5889"/>
                </a:lnTo>
                <a:lnTo>
                  <a:pt x="12386" y="6011"/>
                </a:lnTo>
                <a:lnTo>
                  <a:pt x="12483" y="6108"/>
                </a:lnTo>
                <a:lnTo>
                  <a:pt x="12483" y="6254"/>
                </a:lnTo>
                <a:lnTo>
                  <a:pt x="12337" y="6157"/>
                </a:lnTo>
                <a:lnTo>
                  <a:pt x="12191" y="6084"/>
                </a:lnTo>
                <a:lnTo>
                  <a:pt x="11899" y="5938"/>
                </a:lnTo>
                <a:lnTo>
                  <a:pt x="11705" y="5816"/>
                </a:lnTo>
                <a:lnTo>
                  <a:pt x="11510" y="5743"/>
                </a:lnTo>
                <a:lnTo>
                  <a:pt x="11291" y="5670"/>
                </a:lnTo>
                <a:lnTo>
                  <a:pt x="11194" y="5670"/>
                </a:lnTo>
                <a:lnTo>
                  <a:pt x="11097" y="5694"/>
                </a:lnTo>
                <a:lnTo>
                  <a:pt x="11072" y="5694"/>
                </a:lnTo>
                <a:lnTo>
                  <a:pt x="11072" y="5719"/>
                </a:lnTo>
                <a:lnTo>
                  <a:pt x="11145" y="5816"/>
                </a:lnTo>
                <a:lnTo>
                  <a:pt x="11218" y="5889"/>
                </a:lnTo>
                <a:lnTo>
                  <a:pt x="11413" y="6035"/>
                </a:lnTo>
                <a:lnTo>
                  <a:pt x="11826" y="6254"/>
                </a:lnTo>
                <a:lnTo>
                  <a:pt x="12143" y="6449"/>
                </a:lnTo>
                <a:lnTo>
                  <a:pt x="12289" y="6522"/>
                </a:lnTo>
                <a:lnTo>
                  <a:pt x="12459" y="6570"/>
                </a:lnTo>
                <a:lnTo>
                  <a:pt x="12459" y="6838"/>
                </a:lnTo>
                <a:lnTo>
                  <a:pt x="12459" y="6862"/>
                </a:lnTo>
                <a:lnTo>
                  <a:pt x="12337" y="6765"/>
                </a:lnTo>
                <a:lnTo>
                  <a:pt x="12216" y="6668"/>
                </a:lnTo>
                <a:lnTo>
                  <a:pt x="12094" y="6619"/>
                </a:lnTo>
                <a:lnTo>
                  <a:pt x="11924" y="6546"/>
                </a:lnTo>
                <a:lnTo>
                  <a:pt x="11729" y="6473"/>
                </a:lnTo>
                <a:lnTo>
                  <a:pt x="11486" y="6424"/>
                </a:lnTo>
                <a:lnTo>
                  <a:pt x="11267" y="6376"/>
                </a:lnTo>
                <a:lnTo>
                  <a:pt x="11072" y="6303"/>
                </a:lnTo>
                <a:lnTo>
                  <a:pt x="11048" y="6303"/>
                </a:lnTo>
                <a:lnTo>
                  <a:pt x="11048" y="6327"/>
                </a:lnTo>
                <a:lnTo>
                  <a:pt x="11145" y="6449"/>
                </a:lnTo>
                <a:lnTo>
                  <a:pt x="11267" y="6546"/>
                </a:lnTo>
                <a:lnTo>
                  <a:pt x="11389" y="6619"/>
                </a:lnTo>
                <a:lnTo>
                  <a:pt x="11535" y="6692"/>
                </a:lnTo>
                <a:lnTo>
                  <a:pt x="11948" y="6862"/>
                </a:lnTo>
                <a:lnTo>
                  <a:pt x="12143" y="6960"/>
                </a:lnTo>
                <a:lnTo>
                  <a:pt x="12216" y="7033"/>
                </a:lnTo>
                <a:lnTo>
                  <a:pt x="12289" y="7106"/>
                </a:lnTo>
                <a:lnTo>
                  <a:pt x="12362" y="7179"/>
                </a:lnTo>
                <a:lnTo>
                  <a:pt x="12459" y="7179"/>
                </a:lnTo>
                <a:lnTo>
                  <a:pt x="12459" y="7592"/>
                </a:lnTo>
                <a:lnTo>
                  <a:pt x="12264" y="7495"/>
                </a:lnTo>
                <a:lnTo>
                  <a:pt x="12070" y="7422"/>
                </a:lnTo>
                <a:lnTo>
                  <a:pt x="11802" y="7349"/>
                </a:lnTo>
                <a:lnTo>
                  <a:pt x="11389" y="7106"/>
                </a:lnTo>
                <a:lnTo>
                  <a:pt x="11121" y="7008"/>
                </a:lnTo>
                <a:lnTo>
                  <a:pt x="11024" y="6984"/>
                </a:lnTo>
                <a:lnTo>
                  <a:pt x="10999" y="6984"/>
                </a:lnTo>
                <a:lnTo>
                  <a:pt x="10975" y="7008"/>
                </a:lnTo>
                <a:lnTo>
                  <a:pt x="10975" y="7057"/>
                </a:lnTo>
                <a:lnTo>
                  <a:pt x="10975" y="7106"/>
                </a:lnTo>
                <a:lnTo>
                  <a:pt x="10999" y="7227"/>
                </a:lnTo>
                <a:lnTo>
                  <a:pt x="11097" y="7325"/>
                </a:lnTo>
                <a:lnTo>
                  <a:pt x="11194" y="7398"/>
                </a:lnTo>
                <a:lnTo>
                  <a:pt x="11437" y="7544"/>
                </a:lnTo>
                <a:lnTo>
                  <a:pt x="11632" y="7641"/>
                </a:lnTo>
                <a:lnTo>
                  <a:pt x="11997" y="7836"/>
                </a:lnTo>
                <a:lnTo>
                  <a:pt x="12240" y="7909"/>
                </a:lnTo>
                <a:lnTo>
                  <a:pt x="12362" y="7933"/>
                </a:lnTo>
                <a:lnTo>
                  <a:pt x="12459" y="7957"/>
                </a:lnTo>
                <a:lnTo>
                  <a:pt x="12459" y="8298"/>
                </a:lnTo>
                <a:lnTo>
                  <a:pt x="12216" y="8176"/>
                </a:lnTo>
                <a:lnTo>
                  <a:pt x="11972" y="8055"/>
                </a:lnTo>
                <a:lnTo>
                  <a:pt x="11754" y="7909"/>
                </a:lnTo>
                <a:lnTo>
                  <a:pt x="11535" y="7738"/>
                </a:lnTo>
                <a:lnTo>
                  <a:pt x="11413" y="7665"/>
                </a:lnTo>
                <a:lnTo>
                  <a:pt x="11291" y="7617"/>
                </a:lnTo>
                <a:lnTo>
                  <a:pt x="11170" y="7592"/>
                </a:lnTo>
                <a:lnTo>
                  <a:pt x="11048" y="7568"/>
                </a:lnTo>
                <a:lnTo>
                  <a:pt x="11048" y="7592"/>
                </a:lnTo>
                <a:lnTo>
                  <a:pt x="11024" y="7617"/>
                </a:lnTo>
                <a:lnTo>
                  <a:pt x="11072" y="7714"/>
                </a:lnTo>
                <a:lnTo>
                  <a:pt x="11145" y="7836"/>
                </a:lnTo>
                <a:lnTo>
                  <a:pt x="11243" y="7933"/>
                </a:lnTo>
                <a:lnTo>
                  <a:pt x="11364" y="8006"/>
                </a:lnTo>
                <a:lnTo>
                  <a:pt x="11583" y="8176"/>
                </a:lnTo>
                <a:lnTo>
                  <a:pt x="11802" y="8322"/>
                </a:lnTo>
                <a:lnTo>
                  <a:pt x="12118" y="8493"/>
                </a:lnTo>
                <a:lnTo>
                  <a:pt x="12289" y="8590"/>
                </a:lnTo>
                <a:lnTo>
                  <a:pt x="12459" y="8663"/>
                </a:lnTo>
                <a:lnTo>
                  <a:pt x="12483" y="9101"/>
                </a:lnTo>
                <a:lnTo>
                  <a:pt x="12435" y="9028"/>
                </a:lnTo>
                <a:lnTo>
                  <a:pt x="12386" y="8979"/>
                </a:lnTo>
                <a:lnTo>
                  <a:pt x="12216" y="8882"/>
                </a:lnTo>
                <a:lnTo>
                  <a:pt x="11899" y="8736"/>
                </a:lnTo>
                <a:lnTo>
                  <a:pt x="11559" y="8517"/>
                </a:lnTo>
                <a:lnTo>
                  <a:pt x="11364" y="8420"/>
                </a:lnTo>
                <a:lnTo>
                  <a:pt x="11291" y="8395"/>
                </a:lnTo>
                <a:lnTo>
                  <a:pt x="11194" y="8371"/>
                </a:lnTo>
                <a:lnTo>
                  <a:pt x="11170" y="8371"/>
                </a:lnTo>
                <a:lnTo>
                  <a:pt x="11170" y="8395"/>
                </a:lnTo>
                <a:lnTo>
                  <a:pt x="11194" y="8493"/>
                </a:lnTo>
                <a:lnTo>
                  <a:pt x="11218" y="8566"/>
                </a:lnTo>
                <a:lnTo>
                  <a:pt x="11364" y="8712"/>
                </a:lnTo>
                <a:lnTo>
                  <a:pt x="11535" y="8858"/>
                </a:lnTo>
                <a:lnTo>
                  <a:pt x="11681" y="8955"/>
                </a:lnTo>
                <a:lnTo>
                  <a:pt x="11851" y="9052"/>
                </a:lnTo>
                <a:lnTo>
                  <a:pt x="12070" y="9174"/>
                </a:lnTo>
                <a:lnTo>
                  <a:pt x="12167" y="9223"/>
                </a:lnTo>
                <a:lnTo>
                  <a:pt x="12264" y="9247"/>
                </a:lnTo>
                <a:lnTo>
                  <a:pt x="12362" y="9247"/>
                </a:lnTo>
                <a:lnTo>
                  <a:pt x="12459" y="9223"/>
                </a:lnTo>
                <a:lnTo>
                  <a:pt x="12483" y="9198"/>
                </a:lnTo>
                <a:lnTo>
                  <a:pt x="12508" y="10025"/>
                </a:lnTo>
                <a:lnTo>
                  <a:pt x="12386" y="9879"/>
                </a:lnTo>
                <a:lnTo>
                  <a:pt x="12240" y="9758"/>
                </a:lnTo>
                <a:lnTo>
                  <a:pt x="11924" y="9515"/>
                </a:lnTo>
                <a:lnTo>
                  <a:pt x="11608" y="9296"/>
                </a:lnTo>
                <a:lnTo>
                  <a:pt x="11267" y="9101"/>
                </a:lnTo>
                <a:lnTo>
                  <a:pt x="11243" y="9077"/>
                </a:lnTo>
                <a:lnTo>
                  <a:pt x="11218" y="9101"/>
                </a:lnTo>
                <a:lnTo>
                  <a:pt x="11218" y="9125"/>
                </a:lnTo>
                <a:lnTo>
                  <a:pt x="11218" y="9150"/>
                </a:lnTo>
                <a:lnTo>
                  <a:pt x="11340" y="9296"/>
                </a:lnTo>
                <a:lnTo>
                  <a:pt x="11462" y="9466"/>
                </a:lnTo>
                <a:lnTo>
                  <a:pt x="11608" y="9612"/>
                </a:lnTo>
                <a:lnTo>
                  <a:pt x="11754" y="9733"/>
                </a:lnTo>
                <a:lnTo>
                  <a:pt x="11924" y="9855"/>
                </a:lnTo>
                <a:lnTo>
                  <a:pt x="12094" y="9952"/>
                </a:lnTo>
                <a:lnTo>
                  <a:pt x="12289" y="10050"/>
                </a:lnTo>
                <a:lnTo>
                  <a:pt x="12459" y="10098"/>
                </a:lnTo>
                <a:lnTo>
                  <a:pt x="12508" y="10098"/>
                </a:lnTo>
                <a:lnTo>
                  <a:pt x="12508" y="10488"/>
                </a:lnTo>
                <a:lnTo>
                  <a:pt x="12289" y="10317"/>
                </a:lnTo>
                <a:lnTo>
                  <a:pt x="11802" y="10001"/>
                </a:lnTo>
                <a:lnTo>
                  <a:pt x="11608" y="9855"/>
                </a:lnTo>
                <a:lnTo>
                  <a:pt x="11486" y="9782"/>
                </a:lnTo>
                <a:lnTo>
                  <a:pt x="11389" y="9733"/>
                </a:lnTo>
                <a:lnTo>
                  <a:pt x="11364" y="9758"/>
                </a:lnTo>
                <a:lnTo>
                  <a:pt x="11364" y="9855"/>
                </a:lnTo>
                <a:lnTo>
                  <a:pt x="11389" y="9952"/>
                </a:lnTo>
                <a:lnTo>
                  <a:pt x="11437" y="10050"/>
                </a:lnTo>
                <a:lnTo>
                  <a:pt x="11510" y="10147"/>
                </a:lnTo>
                <a:lnTo>
                  <a:pt x="11681" y="10317"/>
                </a:lnTo>
                <a:lnTo>
                  <a:pt x="11851" y="10439"/>
                </a:lnTo>
                <a:lnTo>
                  <a:pt x="12094" y="10585"/>
                </a:lnTo>
                <a:lnTo>
                  <a:pt x="12313" y="10780"/>
                </a:lnTo>
                <a:lnTo>
                  <a:pt x="12410" y="10877"/>
                </a:lnTo>
                <a:lnTo>
                  <a:pt x="12508" y="10999"/>
                </a:lnTo>
                <a:lnTo>
                  <a:pt x="12483" y="11291"/>
                </a:lnTo>
                <a:lnTo>
                  <a:pt x="11875" y="10901"/>
                </a:lnTo>
                <a:lnTo>
                  <a:pt x="11705" y="10780"/>
                </a:lnTo>
                <a:lnTo>
                  <a:pt x="11535" y="10658"/>
                </a:lnTo>
                <a:lnTo>
                  <a:pt x="11462" y="10609"/>
                </a:lnTo>
                <a:lnTo>
                  <a:pt x="11364" y="10585"/>
                </a:lnTo>
                <a:lnTo>
                  <a:pt x="11267" y="10561"/>
                </a:lnTo>
                <a:lnTo>
                  <a:pt x="11145" y="10585"/>
                </a:lnTo>
                <a:lnTo>
                  <a:pt x="11121" y="10609"/>
                </a:lnTo>
                <a:lnTo>
                  <a:pt x="11145" y="10634"/>
                </a:lnTo>
                <a:lnTo>
                  <a:pt x="11291" y="10780"/>
                </a:lnTo>
                <a:lnTo>
                  <a:pt x="11413" y="10926"/>
                </a:lnTo>
                <a:lnTo>
                  <a:pt x="11535" y="11072"/>
                </a:lnTo>
                <a:lnTo>
                  <a:pt x="11705" y="11218"/>
                </a:lnTo>
                <a:lnTo>
                  <a:pt x="12070" y="11485"/>
                </a:lnTo>
                <a:lnTo>
                  <a:pt x="12483" y="11729"/>
                </a:lnTo>
                <a:lnTo>
                  <a:pt x="12459" y="12094"/>
                </a:lnTo>
                <a:lnTo>
                  <a:pt x="12191" y="11923"/>
                </a:lnTo>
                <a:lnTo>
                  <a:pt x="11948" y="11777"/>
                </a:lnTo>
                <a:lnTo>
                  <a:pt x="11559" y="11558"/>
                </a:lnTo>
                <a:lnTo>
                  <a:pt x="11170" y="11388"/>
                </a:lnTo>
                <a:lnTo>
                  <a:pt x="11145" y="11388"/>
                </a:lnTo>
                <a:lnTo>
                  <a:pt x="11145" y="11485"/>
                </a:lnTo>
                <a:lnTo>
                  <a:pt x="11170" y="11558"/>
                </a:lnTo>
                <a:lnTo>
                  <a:pt x="11243" y="11704"/>
                </a:lnTo>
                <a:lnTo>
                  <a:pt x="11364" y="11850"/>
                </a:lnTo>
                <a:lnTo>
                  <a:pt x="11510" y="11948"/>
                </a:lnTo>
                <a:lnTo>
                  <a:pt x="11754" y="12118"/>
                </a:lnTo>
                <a:lnTo>
                  <a:pt x="12021" y="12288"/>
                </a:lnTo>
                <a:lnTo>
                  <a:pt x="12216" y="12434"/>
                </a:lnTo>
                <a:lnTo>
                  <a:pt x="12435" y="12556"/>
                </a:lnTo>
                <a:lnTo>
                  <a:pt x="12435" y="12799"/>
                </a:lnTo>
                <a:lnTo>
                  <a:pt x="12337" y="12824"/>
                </a:lnTo>
                <a:lnTo>
                  <a:pt x="12264" y="12848"/>
                </a:lnTo>
                <a:lnTo>
                  <a:pt x="12143" y="12775"/>
                </a:lnTo>
                <a:lnTo>
                  <a:pt x="11972" y="12629"/>
                </a:lnTo>
                <a:lnTo>
                  <a:pt x="11802" y="12507"/>
                </a:lnTo>
                <a:lnTo>
                  <a:pt x="11632" y="12361"/>
                </a:lnTo>
                <a:lnTo>
                  <a:pt x="11462" y="12240"/>
                </a:lnTo>
                <a:lnTo>
                  <a:pt x="11413" y="12240"/>
                </a:lnTo>
                <a:lnTo>
                  <a:pt x="11413" y="12288"/>
                </a:lnTo>
                <a:lnTo>
                  <a:pt x="11413" y="12361"/>
                </a:lnTo>
                <a:lnTo>
                  <a:pt x="11413" y="12434"/>
                </a:lnTo>
                <a:lnTo>
                  <a:pt x="11486" y="12605"/>
                </a:lnTo>
                <a:lnTo>
                  <a:pt x="11389" y="12605"/>
                </a:lnTo>
                <a:lnTo>
                  <a:pt x="11267" y="12653"/>
                </a:lnTo>
                <a:lnTo>
                  <a:pt x="11243" y="12678"/>
                </a:lnTo>
                <a:lnTo>
                  <a:pt x="11218" y="12726"/>
                </a:lnTo>
                <a:lnTo>
                  <a:pt x="11218" y="12775"/>
                </a:lnTo>
                <a:lnTo>
                  <a:pt x="11218" y="12848"/>
                </a:lnTo>
                <a:lnTo>
                  <a:pt x="11291" y="12921"/>
                </a:lnTo>
                <a:lnTo>
                  <a:pt x="11364" y="12994"/>
                </a:lnTo>
                <a:lnTo>
                  <a:pt x="11486" y="13043"/>
                </a:lnTo>
                <a:lnTo>
                  <a:pt x="11583" y="13091"/>
                </a:lnTo>
                <a:lnTo>
                  <a:pt x="11705" y="13140"/>
                </a:lnTo>
                <a:lnTo>
                  <a:pt x="11802" y="13140"/>
                </a:lnTo>
                <a:lnTo>
                  <a:pt x="11924" y="13116"/>
                </a:lnTo>
                <a:lnTo>
                  <a:pt x="12021" y="13067"/>
                </a:lnTo>
                <a:lnTo>
                  <a:pt x="12240" y="13189"/>
                </a:lnTo>
                <a:lnTo>
                  <a:pt x="12410" y="13335"/>
                </a:lnTo>
                <a:lnTo>
                  <a:pt x="12386" y="13602"/>
                </a:lnTo>
                <a:lnTo>
                  <a:pt x="11802" y="13286"/>
                </a:lnTo>
                <a:lnTo>
                  <a:pt x="11510" y="13140"/>
                </a:lnTo>
                <a:lnTo>
                  <a:pt x="11194" y="13018"/>
                </a:lnTo>
                <a:lnTo>
                  <a:pt x="11170" y="13018"/>
                </a:lnTo>
                <a:lnTo>
                  <a:pt x="11145" y="13116"/>
                </a:lnTo>
                <a:lnTo>
                  <a:pt x="11170" y="13213"/>
                </a:lnTo>
                <a:lnTo>
                  <a:pt x="11218" y="13286"/>
                </a:lnTo>
                <a:lnTo>
                  <a:pt x="11291" y="13359"/>
                </a:lnTo>
                <a:lnTo>
                  <a:pt x="11437" y="13456"/>
                </a:lnTo>
                <a:lnTo>
                  <a:pt x="11608" y="13529"/>
                </a:lnTo>
                <a:lnTo>
                  <a:pt x="11802" y="13651"/>
                </a:lnTo>
                <a:lnTo>
                  <a:pt x="11997" y="13773"/>
                </a:lnTo>
                <a:lnTo>
                  <a:pt x="12191" y="13894"/>
                </a:lnTo>
                <a:lnTo>
                  <a:pt x="12386" y="14016"/>
                </a:lnTo>
                <a:lnTo>
                  <a:pt x="12386" y="14332"/>
                </a:lnTo>
                <a:lnTo>
                  <a:pt x="11851" y="13943"/>
                </a:lnTo>
                <a:lnTo>
                  <a:pt x="11705" y="13846"/>
                </a:lnTo>
                <a:lnTo>
                  <a:pt x="11510" y="13724"/>
                </a:lnTo>
                <a:lnTo>
                  <a:pt x="11413" y="13700"/>
                </a:lnTo>
                <a:lnTo>
                  <a:pt x="11316" y="13675"/>
                </a:lnTo>
                <a:lnTo>
                  <a:pt x="11218" y="13675"/>
                </a:lnTo>
                <a:lnTo>
                  <a:pt x="11121" y="13700"/>
                </a:lnTo>
                <a:lnTo>
                  <a:pt x="11121" y="13724"/>
                </a:lnTo>
                <a:lnTo>
                  <a:pt x="11121" y="13748"/>
                </a:lnTo>
                <a:lnTo>
                  <a:pt x="11145" y="13821"/>
                </a:lnTo>
                <a:lnTo>
                  <a:pt x="11218" y="13919"/>
                </a:lnTo>
                <a:lnTo>
                  <a:pt x="11364" y="14040"/>
                </a:lnTo>
                <a:lnTo>
                  <a:pt x="11729" y="14284"/>
                </a:lnTo>
                <a:lnTo>
                  <a:pt x="12045" y="14551"/>
                </a:lnTo>
                <a:lnTo>
                  <a:pt x="12191" y="14673"/>
                </a:lnTo>
                <a:lnTo>
                  <a:pt x="12386" y="14795"/>
                </a:lnTo>
                <a:lnTo>
                  <a:pt x="12386" y="15281"/>
                </a:lnTo>
                <a:lnTo>
                  <a:pt x="12289" y="15184"/>
                </a:lnTo>
                <a:lnTo>
                  <a:pt x="12167" y="15087"/>
                </a:lnTo>
                <a:lnTo>
                  <a:pt x="12021" y="14916"/>
                </a:lnTo>
                <a:lnTo>
                  <a:pt x="11851" y="14746"/>
                </a:lnTo>
                <a:lnTo>
                  <a:pt x="11656" y="14600"/>
                </a:lnTo>
                <a:lnTo>
                  <a:pt x="11413" y="14503"/>
                </a:lnTo>
                <a:lnTo>
                  <a:pt x="11170" y="14430"/>
                </a:lnTo>
                <a:lnTo>
                  <a:pt x="10926" y="14430"/>
                </a:lnTo>
                <a:lnTo>
                  <a:pt x="10902" y="14454"/>
                </a:lnTo>
                <a:lnTo>
                  <a:pt x="10902" y="14478"/>
                </a:lnTo>
                <a:lnTo>
                  <a:pt x="10975" y="14551"/>
                </a:lnTo>
                <a:lnTo>
                  <a:pt x="11024" y="14600"/>
                </a:lnTo>
                <a:lnTo>
                  <a:pt x="11194" y="14697"/>
                </a:lnTo>
                <a:lnTo>
                  <a:pt x="11462" y="14892"/>
                </a:lnTo>
                <a:lnTo>
                  <a:pt x="11608" y="14989"/>
                </a:lnTo>
                <a:lnTo>
                  <a:pt x="11729" y="15111"/>
                </a:lnTo>
                <a:lnTo>
                  <a:pt x="11875" y="15281"/>
                </a:lnTo>
                <a:lnTo>
                  <a:pt x="12021" y="15452"/>
                </a:lnTo>
                <a:lnTo>
                  <a:pt x="12118" y="15525"/>
                </a:lnTo>
                <a:lnTo>
                  <a:pt x="12191" y="15573"/>
                </a:lnTo>
                <a:lnTo>
                  <a:pt x="12313" y="15622"/>
                </a:lnTo>
                <a:lnTo>
                  <a:pt x="12410" y="15646"/>
                </a:lnTo>
                <a:lnTo>
                  <a:pt x="12435" y="16133"/>
                </a:lnTo>
                <a:lnTo>
                  <a:pt x="12386" y="16133"/>
                </a:lnTo>
                <a:lnTo>
                  <a:pt x="12362" y="16084"/>
                </a:lnTo>
                <a:lnTo>
                  <a:pt x="12240" y="15963"/>
                </a:lnTo>
                <a:lnTo>
                  <a:pt x="12070" y="15841"/>
                </a:lnTo>
                <a:lnTo>
                  <a:pt x="11754" y="15622"/>
                </a:lnTo>
                <a:lnTo>
                  <a:pt x="11413" y="15354"/>
                </a:lnTo>
                <a:lnTo>
                  <a:pt x="11243" y="15233"/>
                </a:lnTo>
                <a:lnTo>
                  <a:pt x="11072" y="15160"/>
                </a:lnTo>
                <a:lnTo>
                  <a:pt x="11048" y="15160"/>
                </a:lnTo>
                <a:lnTo>
                  <a:pt x="11024" y="15184"/>
                </a:lnTo>
                <a:lnTo>
                  <a:pt x="11048" y="15281"/>
                </a:lnTo>
                <a:lnTo>
                  <a:pt x="11072" y="15354"/>
                </a:lnTo>
                <a:lnTo>
                  <a:pt x="11170" y="15500"/>
                </a:lnTo>
                <a:lnTo>
                  <a:pt x="11291" y="15622"/>
                </a:lnTo>
                <a:lnTo>
                  <a:pt x="11437" y="15744"/>
                </a:lnTo>
                <a:lnTo>
                  <a:pt x="11218" y="15646"/>
                </a:lnTo>
                <a:lnTo>
                  <a:pt x="9564" y="14916"/>
                </a:lnTo>
                <a:lnTo>
                  <a:pt x="8055" y="14259"/>
                </a:lnTo>
                <a:lnTo>
                  <a:pt x="7301" y="13894"/>
                </a:lnTo>
                <a:lnTo>
                  <a:pt x="7130" y="13797"/>
                </a:lnTo>
                <a:lnTo>
                  <a:pt x="6863" y="13675"/>
                </a:lnTo>
                <a:lnTo>
                  <a:pt x="6863" y="13602"/>
                </a:lnTo>
                <a:lnTo>
                  <a:pt x="6814" y="12775"/>
                </a:lnTo>
                <a:lnTo>
                  <a:pt x="6765" y="11972"/>
                </a:lnTo>
                <a:lnTo>
                  <a:pt x="6692" y="11145"/>
                </a:lnTo>
                <a:lnTo>
                  <a:pt x="6668" y="10317"/>
                </a:lnTo>
                <a:lnTo>
                  <a:pt x="6668" y="9393"/>
                </a:lnTo>
                <a:lnTo>
                  <a:pt x="6692" y="8493"/>
                </a:lnTo>
                <a:lnTo>
                  <a:pt x="6717" y="7568"/>
                </a:lnTo>
                <a:lnTo>
                  <a:pt x="6717" y="6643"/>
                </a:lnTo>
                <a:lnTo>
                  <a:pt x="6717" y="5889"/>
                </a:lnTo>
                <a:lnTo>
                  <a:pt x="6863" y="5913"/>
                </a:lnTo>
                <a:lnTo>
                  <a:pt x="6936" y="5938"/>
                </a:lnTo>
                <a:lnTo>
                  <a:pt x="7033" y="5962"/>
                </a:lnTo>
                <a:lnTo>
                  <a:pt x="7130" y="5938"/>
                </a:lnTo>
                <a:lnTo>
                  <a:pt x="7228" y="5865"/>
                </a:lnTo>
                <a:lnTo>
                  <a:pt x="7252" y="5816"/>
                </a:lnTo>
                <a:lnTo>
                  <a:pt x="7276" y="5767"/>
                </a:lnTo>
                <a:lnTo>
                  <a:pt x="7276" y="5670"/>
                </a:lnTo>
                <a:lnTo>
                  <a:pt x="7252" y="5573"/>
                </a:lnTo>
                <a:lnTo>
                  <a:pt x="7179" y="5500"/>
                </a:lnTo>
                <a:lnTo>
                  <a:pt x="7082" y="5451"/>
                </a:lnTo>
                <a:lnTo>
                  <a:pt x="7033" y="5427"/>
                </a:lnTo>
                <a:lnTo>
                  <a:pt x="6960" y="5402"/>
                </a:lnTo>
                <a:lnTo>
                  <a:pt x="6887" y="5427"/>
                </a:lnTo>
                <a:lnTo>
                  <a:pt x="6814" y="5451"/>
                </a:lnTo>
                <a:lnTo>
                  <a:pt x="6790" y="5451"/>
                </a:lnTo>
                <a:lnTo>
                  <a:pt x="6692" y="5500"/>
                </a:lnTo>
                <a:lnTo>
                  <a:pt x="6644" y="3018"/>
                </a:lnTo>
                <a:lnTo>
                  <a:pt x="6644" y="1752"/>
                </a:lnTo>
                <a:lnTo>
                  <a:pt x="6668" y="512"/>
                </a:lnTo>
                <a:close/>
                <a:moveTo>
                  <a:pt x="6206" y="585"/>
                </a:moveTo>
                <a:lnTo>
                  <a:pt x="6181" y="852"/>
                </a:lnTo>
                <a:lnTo>
                  <a:pt x="6181" y="1096"/>
                </a:lnTo>
                <a:lnTo>
                  <a:pt x="6181" y="1874"/>
                </a:lnTo>
                <a:lnTo>
                  <a:pt x="6181" y="2653"/>
                </a:lnTo>
                <a:lnTo>
                  <a:pt x="6181" y="3602"/>
                </a:lnTo>
                <a:lnTo>
                  <a:pt x="6181" y="4551"/>
                </a:lnTo>
                <a:lnTo>
                  <a:pt x="6230" y="6449"/>
                </a:lnTo>
                <a:lnTo>
                  <a:pt x="6230" y="7373"/>
                </a:lnTo>
                <a:lnTo>
                  <a:pt x="6206" y="8298"/>
                </a:lnTo>
                <a:lnTo>
                  <a:pt x="6181" y="9198"/>
                </a:lnTo>
                <a:lnTo>
                  <a:pt x="6133" y="10123"/>
                </a:lnTo>
                <a:lnTo>
                  <a:pt x="6157" y="10926"/>
                </a:lnTo>
                <a:lnTo>
                  <a:pt x="6206" y="11729"/>
                </a:lnTo>
                <a:lnTo>
                  <a:pt x="6254" y="12532"/>
                </a:lnTo>
                <a:lnTo>
                  <a:pt x="6279" y="13335"/>
                </a:lnTo>
                <a:lnTo>
                  <a:pt x="6206" y="13359"/>
                </a:lnTo>
                <a:lnTo>
                  <a:pt x="5451" y="13748"/>
                </a:lnTo>
                <a:lnTo>
                  <a:pt x="4721" y="14186"/>
                </a:lnTo>
                <a:lnTo>
                  <a:pt x="3262" y="15087"/>
                </a:lnTo>
                <a:lnTo>
                  <a:pt x="2897" y="15281"/>
                </a:lnTo>
                <a:lnTo>
                  <a:pt x="2532" y="15476"/>
                </a:lnTo>
                <a:lnTo>
                  <a:pt x="2142" y="15671"/>
                </a:lnTo>
                <a:lnTo>
                  <a:pt x="1753" y="15841"/>
                </a:lnTo>
                <a:lnTo>
                  <a:pt x="950" y="16133"/>
                </a:lnTo>
                <a:lnTo>
                  <a:pt x="634" y="16255"/>
                </a:lnTo>
                <a:lnTo>
                  <a:pt x="634" y="16279"/>
                </a:lnTo>
                <a:lnTo>
                  <a:pt x="585" y="15938"/>
                </a:lnTo>
                <a:lnTo>
                  <a:pt x="561" y="15573"/>
                </a:lnTo>
                <a:lnTo>
                  <a:pt x="536" y="15208"/>
                </a:lnTo>
                <a:lnTo>
                  <a:pt x="512" y="14868"/>
                </a:lnTo>
                <a:lnTo>
                  <a:pt x="439" y="14430"/>
                </a:lnTo>
                <a:lnTo>
                  <a:pt x="415" y="13992"/>
                </a:lnTo>
                <a:lnTo>
                  <a:pt x="415" y="13578"/>
                </a:lnTo>
                <a:lnTo>
                  <a:pt x="439" y="13140"/>
                </a:lnTo>
                <a:lnTo>
                  <a:pt x="512" y="11461"/>
                </a:lnTo>
                <a:lnTo>
                  <a:pt x="561" y="10634"/>
                </a:lnTo>
                <a:lnTo>
                  <a:pt x="585" y="9782"/>
                </a:lnTo>
                <a:lnTo>
                  <a:pt x="609" y="8225"/>
                </a:lnTo>
                <a:lnTo>
                  <a:pt x="609" y="6668"/>
                </a:lnTo>
                <a:lnTo>
                  <a:pt x="561" y="5110"/>
                </a:lnTo>
                <a:lnTo>
                  <a:pt x="536" y="4356"/>
                </a:lnTo>
                <a:lnTo>
                  <a:pt x="488" y="3577"/>
                </a:lnTo>
                <a:lnTo>
                  <a:pt x="609" y="3504"/>
                </a:lnTo>
                <a:lnTo>
                  <a:pt x="755" y="3407"/>
                </a:lnTo>
                <a:lnTo>
                  <a:pt x="1145" y="3164"/>
                </a:lnTo>
                <a:lnTo>
                  <a:pt x="1558" y="2920"/>
                </a:lnTo>
                <a:lnTo>
                  <a:pt x="2337" y="2507"/>
                </a:lnTo>
                <a:lnTo>
                  <a:pt x="3116" y="2093"/>
                </a:lnTo>
                <a:lnTo>
                  <a:pt x="3529" y="1850"/>
                </a:lnTo>
                <a:lnTo>
                  <a:pt x="3967" y="1655"/>
                </a:lnTo>
                <a:lnTo>
                  <a:pt x="4405" y="1461"/>
                </a:lnTo>
                <a:lnTo>
                  <a:pt x="4843" y="1290"/>
                </a:lnTo>
                <a:lnTo>
                  <a:pt x="5208" y="1144"/>
                </a:lnTo>
                <a:lnTo>
                  <a:pt x="5549" y="974"/>
                </a:lnTo>
                <a:lnTo>
                  <a:pt x="6206" y="585"/>
                </a:lnTo>
                <a:close/>
                <a:moveTo>
                  <a:pt x="18542" y="804"/>
                </a:moveTo>
                <a:lnTo>
                  <a:pt x="18518" y="1023"/>
                </a:lnTo>
                <a:lnTo>
                  <a:pt x="18518" y="1266"/>
                </a:lnTo>
                <a:lnTo>
                  <a:pt x="18518" y="1752"/>
                </a:lnTo>
                <a:lnTo>
                  <a:pt x="18567" y="2263"/>
                </a:lnTo>
                <a:lnTo>
                  <a:pt x="18567" y="2726"/>
                </a:lnTo>
                <a:lnTo>
                  <a:pt x="18542" y="4648"/>
                </a:lnTo>
                <a:lnTo>
                  <a:pt x="18494" y="6546"/>
                </a:lnTo>
                <a:lnTo>
                  <a:pt x="18469" y="8249"/>
                </a:lnTo>
                <a:lnTo>
                  <a:pt x="18494" y="9952"/>
                </a:lnTo>
                <a:lnTo>
                  <a:pt x="18567" y="13359"/>
                </a:lnTo>
                <a:lnTo>
                  <a:pt x="18542" y="13359"/>
                </a:lnTo>
                <a:lnTo>
                  <a:pt x="18396" y="13505"/>
                </a:lnTo>
                <a:lnTo>
                  <a:pt x="18226" y="13651"/>
                </a:lnTo>
                <a:lnTo>
                  <a:pt x="18031" y="13748"/>
                </a:lnTo>
                <a:lnTo>
                  <a:pt x="17837" y="13846"/>
                </a:lnTo>
                <a:lnTo>
                  <a:pt x="17423" y="14016"/>
                </a:lnTo>
                <a:lnTo>
                  <a:pt x="17009" y="14186"/>
                </a:lnTo>
                <a:lnTo>
                  <a:pt x="16474" y="14454"/>
                </a:lnTo>
                <a:lnTo>
                  <a:pt x="15963" y="14746"/>
                </a:lnTo>
                <a:lnTo>
                  <a:pt x="15452" y="15038"/>
                </a:lnTo>
                <a:lnTo>
                  <a:pt x="14941" y="15330"/>
                </a:lnTo>
                <a:lnTo>
                  <a:pt x="14479" y="15598"/>
                </a:lnTo>
                <a:lnTo>
                  <a:pt x="14016" y="15865"/>
                </a:lnTo>
                <a:lnTo>
                  <a:pt x="13773" y="15987"/>
                </a:lnTo>
                <a:lnTo>
                  <a:pt x="13530" y="16109"/>
                </a:lnTo>
                <a:lnTo>
                  <a:pt x="13286" y="16182"/>
                </a:lnTo>
                <a:lnTo>
                  <a:pt x="13043" y="16255"/>
                </a:lnTo>
                <a:lnTo>
                  <a:pt x="12921" y="16303"/>
                </a:lnTo>
                <a:lnTo>
                  <a:pt x="12921" y="15987"/>
                </a:lnTo>
                <a:lnTo>
                  <a:pt x="12897" y="15671"/>
                </a:lnTo>
                <a:lnTo>
                  <a:pt x="12873" y="15379"/>
                </a:lnTo>
                <a:lnTo>
                  <a:pt x="12848" y="15062"/>
                </a:lnTo>
                <a:lnTo>
                  <a:pt x="12824" y="14770"/>
                </a:lnTo>
                <a:lnTo>
                  <a:pt x="12824" y="14016"/>
                </a:lnTo>
                <a:lnTo>
                  <a:pt x="12848" y="13943"/>
                </a:lnTo>
                <a:lnTo>
                  <a:pt x="12848" y="13894"/>
                </a:lnTo>
                <a:lnTo>
                  <a:pt x="12848" y="13359"/>
                </a:lnTo>
                <a:lnTo>
                  <a:pt x="12946" y="13335"/>
                </a:lnTo>
                <a:lnTo>
                  <a:pt x="13019" y="13310"/>
                </a:lnTo>
                <a:lnTo>
                  <a:pt x="13092" y="13262"/>
                </a:lnTo>
                <a:lnTo>
                  <a:pt x="13140" y="13213"/>
                </a:lnTo>
                <a:lnTo>
                  <a:pt x="13165" y="13116"/>
                </a:lnTo>
                <a:lnTo>
                  <a:pt x="13165" y="13018"/>
                </a:lnTo>
                <a:lnTo>
                  <a:pt x="13116" y="12921"/>
                </a:lnTo>
                <a:lnTo>
                  <a:pt x="13043" y="12872"/>
                </a:lnTo>
                <a:lnTo>
                  <a:pt x="12970" y="12848"/>
                </a:lnTo>
                <a:lnTo>
                  <a:pt x="12873" y="12848"/>
                </a:lnTo>
                <a:lnTo>
                  <a:pt x="12921" y="11826"/>
                </a:lnTo>
                <a:lnTo>
                  <a:pt x="12970" y="10804"/>
                </a:lnTo>
                <a:lnTo>
                  <a:pt x="12970" y="9806"/>
                </a:lnTo>
                <a:lnTo>
                  <a:pt x="12946" y="8809"/>
                </a:lnTo>
                <a:lnTo>
                  <a:pt x="12897" y="7836"/>
                </a:lnTo>
                <a:lnTo>
                  <a:pt x="12897" y="6838"/>
                </a:lnTo>
                <a:lnTo>
                  <a:pt x="12946" y="5986"/>
                </a:lnTo>
                <a:lnTo>
                  <a:pt x="12970" y="5110"/>
                </a:lnTo>
                <a:lnTo>
                  <a:pt x="12970" y="4672"/>
                </a:lnTo>
                <a:lnTo>
                  <a:pt x="12946" y="4234"/>
                </a:lnTo>
                <a:lnTo>
                  <a:pt x="12897" y="3821"/>
                </a:lnTo>
                <a:lnTo>
                  <a:pt x="12800" y="3383"/>
                </a:lnTo>
                <a:lnTo>
                  <a:pt x="13067" y="3285"/>
                </a:lnTo>
                <a:lnTo>
                  <a:pt x="13335" y="3164"/>
                </a:lnTo>
                <a:lnTo>
                  <a:pt x="13603" y="3042"/>
                </a:lnTo>
                <a:lnTo>
                  <a:pt x="13870" y="2920"/>
                </a:lnTo>
                <a:lnTo>
                  <a:pt x="14235" y="2750"/>
                </a:lnTo>
                <a:lnTo>
                  <a:pt x="14600" y="2555"/>
                </a:lnTo>
                <a:lnTo>
                  <a:pt x="15306" y="2142"/>
                </a:lnTo>
                <a:lnTo>
                  <a:pt x="15963" y="1752"/>
                </a:lnTo>
                <a:lnTo>
                  <a:pt x="16304" y="1558"/>
                </a:lnTo>
                <a:lnTo>
                  <a:pt x="16644" y="1388"/>
                </a:lnTo>
                <a:lnTo>
                  <a:pt x="17009" y="1242"/>
                </a:lnTo>
                <a:lnTo>
                  <a:pt x="17350" y="1096"/>
                </a:lnTo>
                <a:lnTo>
                  <a:pt x="17715" y="974"/>
                </a:lnTo>
                <a:lnTo>
                  <a:pt x="18104" y="877"/>
                </a:lnTo>
                <a:lnTo>
                  <a:pt x="18153" y="877"/>
                </a:lnTo>
                <a:lnTo>
                  <a:pt x="18202" y="828"/>
                </a:lnTo>
                <a:lnTo>
                  <a:pt x="18372" y="828"/>
                </a:lnTo>
                <a:lnTo>
                  <a:pt x="18542" y="804"/>
                </a:lnTo>
                <a:close/>
                <a:moveTo>
                  <a:pt x="6279" y="1"/>
                </a:moveTo>
                <a:lnTo>
                  <a:pt x="6206" y="25"/>
                </a:lnTo>
                <a:lnTo>
                  <a:pt x="5403" y="487"/>
                </a:lnTo>
                <a:lnTo>
                  <a:pt x="4989" y="682"/>
                </a:lnTo>
                <a:lnTo>
                  <a:pt x="4551" y="852"/>
                </a:lnTo>
                <a:lnTo>
                  <a:pt x="4113" y="1023"/>
                </a:lnTo>
                <a:lnTo>
                  <a:pt x="3700" y="1217"/>
                </a:lnTo>
                <a:lnTo>
                  <a:pt x="3286" y="1436"/>
                </a:lnTo>
                <a:lnTo>
                  <a:pt x="2872" y="1679"/>
                </a:lnTo>
                <a:lnTo>
                  <a:pt x="2021" y="2117"/>
                </a:lnTo>
                <a:lnTo>
                  <a:pt x="1607" y="2361"/>
                </a:lnTo>
                <a:lnTo>
                  <a:pt x="1193" y="2604"/>
                </a:lnTo>
                <a:lnTo>
                  <a:pt x="974" y="2726"/>
                </a:lnTo>
                <a:lnTo>
                  <a:pt x="731" y="2896"/>
                </a:lnTo>
                <a:lnTo>
                  <a:pt x="488" y="3066"/>
                </a:lnTo>
                <a:lnTo>
                  <a:pt x="390" y="3188"/>
                </a:lnTo>
                <a:lnTo>
                  <a:pt x="317" y="3285"/>
                </a:lnTo>
                <a:lnTo>
                  <a:pt x="269" y="3310"/>
                </a:lnTo>
                <a:lnTo>
                  <a:pt x="220" y="3358"/>
                </a:lnTo>
                <a:lnTo>
                  <a:pt x="171" y="3480"/>
                </a:lnTo>
                <a:lnTo>
                  <a:pt x="123" y="3626"/>
                </a:lnTo>
                <a:lnTo>
                  <a:pt x="98" y="3894"/>
                </a:lnTo>
                <a:lnTo>
                  <a:pt x="98" y="4186"/>
                </a:lnTo>
                <a:lnTo>
                  <a:pt x="123" y="4453"/>
                </a:lnTo>
                <a:lnTo>
                  <a:pt x="147" y="5329"/>
                </a:lnTo>
                <a:lnTo>
                  <a:pt x="171" y="6205"/>
                </a:lnTo>
                <a:lnTo>
                  <a:pt x="171" y="8006"/>
                </a:lnTo>
                <a:lnTo>
                  <a:pt x="147" y="9782"/>
                </a:lnTo>
                <a:lnTo>
                  <a:pt x="123" y="10658"/>
                </a:lnTo>
                <a:lnTo>
                  <a:pt x="98" y="11558"/>
                </a:lnTo>
                <a:lnTo>
                  <a:pt x="1" y="13335"/>
                </a:lnTo>
                <a:lnTo>
                  <a:pt x="1" y="13700"/>
                </a:lnTo>
                <a:lnTo>
                  <a:pt x="1" y="14065"/>
                </a:lnTo>
                <a:lnTo>
                  <a:pt x="25" y="14454"/>
                </a:lnTo>
                <a:lnTo>
                  <a:pt x="50" y="14819"/>
                </a:lnTo>
                <a:lnTo>
                  <a:pt x="98" y="15233"/>
                </a:lnTo>
                <a:lnTo>
                  <a:pt x="123" y="15646"/>
                </a:lnTo>
                <a:lnTo>
                  <a:pt x="147" y="16060"/>
                </a:lnTo>
                <a:lnTo>
                  <a:pt x="171" y="16255"/>
                </a:lnTo>
                <a:lnTo>
                  <a:pt x="220" y="16474"/>
                </a:lnTo>
                <a:lnTo>
                  <a:pt x="244" y="16547"/>
                </a:lnTo>
                <a:lnTo>
                  <a:pt x="317" y="16595"/>
                </a:lnTo>
                <a:lnTo>
                  <a:pt x="390" y="16620"/>
                </a:lnTo>
                <a:lnTo>
                  <a:pt x="463" y="16620"/>
                </a:lnTo>
                <a:lnTo>
                  <a:pt x="536" y="16644"/>
                </a:lnTo>
                <a:lnTo>
                  <a:pt x="707" y="16620"/>
                </a:lnTo>
                <a:lnTo>
                  <a:pt x="877" y="16595"/>
                </a:lnTo>
                <a:lnTo>
                  <a:pt x="1218" y="16474"/>
                </a:lnTo>
                <a:lnTo>
                  <a:pt x="1850" y="16230"/>
                </a:lnTo>
                <a:lnTo>
                  <a:pt x="2240" y="16060"/>
                </a:lnTo>
                <a:lnTo>
                  <a:pt x="2605" y="15890"/>
                </a:lnTo>
                <a:lnTo>
                  <a:pt x="2970" y="15719"/>
                </a:lnTo>
                <a:lnTo>
                  <a:pt x="3310" y="15525"/>
                </a:lnTo>
                <a:lnTo>
                  <a:pt x="4064" y="15062"/>
                </a:lnTo>
                <a:lnTo>
                  <a:pt x="4819" y="14624"/>
                </a:lnTo>
                <a:lnTo>
                  <a:pt x="5549" y="14162"/>
                </a:lnTo>
                <a:lnTo>
                  <a:pt x="5938" y="13967"/>
                </a:lnTo>
                <a:lnTo>
                  <a:pt x="6327" y="13748"/>
                </a:lnTo>
                <a:lnTo>
                  <a:pt x="6400" y="13821"/>
                </a:lnTo>
                <a:lnTo>
                  <a:pt x="6473" y="13870"/>
                </a:lnTo>
                <a:lnTo>
                  <a:pt x="6546" y="13894"/>
                </a:lnTo>
                <a:lnTo>
                  <a:pt x="6644" y="13870"/>
                </a:lnTo>
                <a:lnTo>
                  <a:pt x="6741" y="13992"/>
                </a:lnTo>
                <a:lnTo>
                  <a:pt x="6863" y="14089"/>
                </a:lnTo>
                <a:lnTo>
                  <a:pt x="7130" y="14259"/>
                </a:lnTo>
                <a:lnTo>
                  <a:pt x="7422" y="14405"/>
                </a:lnTo>
                <a:lnTo>
                  <a:pt x="7690" y="14551"/>
                </a:lnTo>
                <a:lnTo>
                  <a:pt x="8517" y="14916"/>
                </a:lnTo>
                <a:lnTo>
                  <a:pt x="9345" y="15306"/>
                </a:lnTo>
                <a:lnTo>
                  <a:pt x="10878" y="16011"/>
                </a:lnTo>
                <a:lnTo>
                  <a:pt x="11656" y="16352"/>
                </a:lnTo>
                <a:lnTo>
                  <a:pt x="12435" y="16644"/>
                </a:lnTo>
                <a:lnTo>
                  <a:pt x="12459" y="16668"/>
                </a:lnTo>
                <a:lnTo>
                  <a:pt x="12508" y="16741"/>
                </a:lnTo>
                <a:lnTo>
                  <a:pt x="12581" y="16766"/>
                </a:lnTo>
                <a:lnTo>
                  <a:pt x="12678" y="16766"/>
                </a:lnTo>
                <a:lnTo>
                  <a:pt x="12751" y="16741"/>
                </a:lnTo>
                <a:lnTo>
                  <a:pt x="12800" y="16693"/>
                </a:lnTo>
                <a:lnTo>
                  <a:pt x="12897" y="16717"/>
                </a:lnTo>
                <a:lnTo>
                  <a:pt x="13019" y="16717"/>
                </a:lnTo>
                <a:lnTo>
                  <a:pt x="13286" y="16668"/>
                </a:lnTo>
                <a:lnTo>
                  <a:pt x="13530" y="16595"/>
                </a:lnTo>
                <a:lnTo>
                  <a:pt x="13724" y="16522"/>
                </a:lnTo>
                <a:lnTo>
                  <a:pt x="14211" y="16279"/>
                </a:lnTo>
                <a:lnTo>
                  <a:pt x="14698" y="16036"/>
                </a:lnTo>
                <a:lnTo>
                  <a:pt x="15647" y="15500"/>
                </a:lnTo>
                <a:lnTo>
                  <a:pt x="16596" y="14965"/>
                </a:lnTo>
                <a:lnTo>
                  <a:pt x="17058" y="14697"/>
                </a:lnTo>
                <a:lnTo>
                  <a:pt x="17545" y="14478"/>
                </a:lnTo>
                <a:lnTo>
                  <a:pt x="17885" y="14332"/>
                </a:lnTo>
                <a:lnTo>
                  <a:pt x="18226" y="14186"/>
                </a:lnTo>
                <a:lnTo>
                  <a:pt x="18542" y="14016"/>
                </a:lnTo>
                <a:lnTo>
                  <a:pt x="18688" y="13894"/>
                </a:lnTo>
                <a:lnTo>
                  <a:pt x="18834" y="13773"/>
                </a:lnTo>
                <a:lnTo>
                  <a:pt x="18883" y="13748"/>
                </a:lnTo>
                <a:lnTo>
                  <a:pt x="18932" y="13724"/>
                </a:lnTo>
                <a:lnTo>
                  <a:pt x="18980" y="13651"/>
                </a:lnTo>
                <a:lnTo>
                  <a:pt x="18980" y="13578"/>
                </a:lnTo>
                <a:lnTo>
                  <a:pt x="18980" y="12726"/>
                </a:lnTo>
                <a:lnTo>
                  <a:pt x="18956" y="11875"/>
                </a:lnTo>
                <a:lnTo>
                  <a:pt x="18883" y="10171"/>
                </a:lnTo>
                <a:lnTo>
                  <a:pt x="18859" y="9271"/>
                </a:lnTo>
                <a:lnTo>
                  <a:pt x="18859" y="8347"/>
                </a:lnTo>
                <a:lnTo>
                  <a:pt x="18883" y="6546"/>
                </a:lnTo>
                <a:lnTo>
                  <a:pt x="18932" y="4648"/>
                </a:lnTo>
                <a:lnTo>
                  <a:pt x="18956" y="2726"/>
                </a:lnTo>
                <a:lnTo>
                  <a:pt x="18980" y="2215"/>
                </a:lnTo>
                <a:lnTo>
                  <a:pt x="18980" y="1679"/>
                </a:lnTo>
                <a:lnTo>
                  <a:pt x="18932" y="1144"/>
                </a:lnTo>
                <a:lnTo>
                  <a:pt x="18883" y="901"/>
                </a:lnTo>
                <a:lnTo>
                  <a:pt x="18834" y="633"/>
                </a:lnTo>
                <a:lnTo>
                  <a:pt x="18883" y="585"/>
                </a:lnTo>
                <a:lnTo>
                  <a:pt x="18883" y="512"/>
                </a:lnTo>
                <a:lnTo>
                  <a:pt x="18883" y="439"/>
                </a:lnTo>
                <a:lnTo>
                  <a:pt x="18834" y="366"/>
                </a:lnTo>
                <a:lnTo>
                  <a:pt x="18761" y="293"/>
                </a:lnTo>
                <a:lnTo>
                  <a:pt x="18664" y="244"/>
                </a:lnTo>
                <a:lnTo>
                  <a:pt x="18421" y="244"/>
                </a:lnTo>
                <a:lnTo>
                  <a:pt x="18177" y="317"/>
                </a:lnTo>
                <a:lnTo>
                  <a:pt x="17958" y="414"/>
                </a:lnTo>
                <a:lnTo>
                  <a:pt x="17715" y="487"/>
                </a:lnTo>
                <a:lnTo>
                  <a:pt x="17374" y="585"/>
                </a:lnTo>
                <a:lnTo>
                  <a:pt x="17058" y="706"/>
                </a:lnTo>
                <a:lnTo>
                  <a:pt x="16742" y="828"/>
                </a:lnTo>
                <a:lnTo>
                  <a:pt x="16425" y="974"/>
                </a:lnTo>
                <a:lnTo>
                  <a:pt x="15817" y="1290"/>
                </a:lnTo>
                <a:lnTo>
                  <a:pt x="15209" y="1655"/>
                </a:lnTo>
                <a:lnTo>
                  <a:pt x="14479" y="2117"/>
                </a:lnTo>
                <a:lnTo>
                  <a:pt x="14089" y="2312"/>
                </a:lnTo>
                <a:lnTo>
                  <a:pt x="13700" y="2507"/>
                </a:lnTo>
                <a:lnTo>
                  <a:pt x="13432" y="2628"/>
                </a:lnTo>
                <a:lnTo>
                  <a:pt x="13165" y="2750"/>
                </a:lnTo>
                <a:lnTo>
                  <a:pt x="12897" y="2920"/>
                </a:lnTo>
                <a:lnTo>
                  <a:pt x="12654" y="3091"/>
                </a:lnTo>
                <a:lnTo>
                  <a:pt x="12532" y="2969"/>
                </a:lnTo>
                <a:lnTo>
                  <a:pt x="12386" y="2896"/>
                </a:lnTo>
                <a:lnTo>
                  <a:pt x="12070" y="2750"/>
                </a:lnTo>
                <a:lnTo>
                  <a:pt x="11875" y="2653"/>
                </a:lnTo>
                <a:lnTo>
                  <a:pt x="11705" y="2555"/>
                </a:lnTo>
                <a:lnTo>
                  <a:pt x="11316" y="2336"/>
                </a:lnTo>
                <a:lnTo>
                  <a:pt x="11072" y="2190"/>
                </a:lnTo>
                <a:lnTo>
                  <a:pt x="10805" y="2093"/>
                </a:lnTo>
                <a:lnTo>
                  <a:pt x="10294" y="1874"/>
                </a:lnTo>
                <a:lnTo>
                  <a:pt x="9758" y="1679"/>
                </a:lnTo>
                <a:lnTo>
                  <a:pt x="9223" y="1485"/>
                </a:lnTo>
                <a:lnTo>
                  <a:pt x="8298" y="1071"/>
                </a:lnTo>
                <a:lnTo>
                  <a:pt x="7836" y="852"/>
                </a:lnTo>
                <a:lnTo>
                  <a:pt x="7398" y="609"/>
                </a:lnTo>
                <a:lnTo>
                  <a:pt x="7325" y="536"/>
                </a:lnTo>
                <a:lnTo>
                  <a:pt x="7228" y="439"/>
                </a:lnTo>
                <a:lnTo>
                  <a:pt x="7057" y="244"/>
                </a:lnTo>
                <a:lnTo>
                  <a:pt x="6936" y="147"/>
                </a:lnTo>
                <a:lnTo>
                  <a:pt x="6838" y="74"/>
                </a:lnTo>
                <a:lnTo>
                  <a:pt x="6741" y="25"/>
                </a:lnTo>
                <a:lnTo>
                  <a:pt x="6619" y="25"/>
                </a:lnTo>
                <a:lnTo>
                  <a:pt x="6571" y="1"/>
                </a:lnTo>
                <a:lnTo>
                  <a:pt x="6498" y="1"/>
                </a:lnTo>
                <a:lnTo>
                  <a:pt x="6449" y="25"/>
                </a:lnTo>
                <a:lnTo>
                  <a:pt x="6400" y="1"/>
                </a:lnTo>
                <a:close/>
              </a:path>
            </a:pathLst>
          </a:custGeom>
          <a:solidFill>
            <a:schemeClr val="dk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73F68"/>
              </a:solidFill>
              <a:effectLst/>
              <a:uLnTx/>
              <a:uFillTx/>
              <a:latin typeface="Verdana"/>
              <a:ea typeface="+mn-ea"/>
              <a:cs typeface="+mn-cs"/>
            </a:endParaRPr>
          </a:p>
        </p:txBody>
      </p:sp>
      <p:sp>
        <p:nvSpPr>
          <p:cNvPr id="3" name="TextBox 2">
            <a:extLst>
              <a:ext uri="{FF2B5EF4-FFF2-40B4-BE49-F238E27FC236}">
                <a16:creationId xmlns:a16="http://schemas.microsoft.com/office/drawing/2014/main" id="{E0EB74C9-72AA-7835-573C-6146F2E50E09}"/>
              </a:ext>
            </a:extLst>
          </p:cNvPr>
          <p:cNvSpPr txBox="1"/>
          <p:nvPr/>
        </p:nvSpPr>
        <p:spPr>
          <a:xfrm>
            <a:off x="278658" y="1616029"/>
            <a:ext cx="7131792" cy="430887"/>
          </a:xfrm>
          <a:prstGeom prst="rect">
            <a:avLst/>
          </a:prstGeom>
          <a:noFill/>
        </p:spPr>
        <p:txBody>
          <a:bodyPr wrap="square">
            <a:spAutoFit/>
          </a:bodyPr>
          <a:lstStyle/>
          <a:p>
            <a:pPr lvl="0" algn="l">
              <a:spcBef>
                <a:spcPts val="0"/>
              </a:spcBef>
              <a:spcAft>
                <a:spcPts val="0"/>
              </a:spcAft>
            </a:pPr>
            <a:r>
              <a:rPr lang="da-DK" sz="2200" b="1" dirty="0">
                <a:latin typeface="Amatic SC"/>
                <a:cs typeface="Amatic SC"/>
                <a:sym typeface="Quicksand"/>
              </a:rPr>
              <a:t>Evalueringen viser, at:</a:t>
            </a:r>
            <a:endParaRPr lang="da-DK" sz="2200" b="1" dirty="0">
              <a:latin typeface="Quicksand"/>
              <a:ea typeface="Quicksand"/>
              <a:cs typeface="Quicksand"/>
              <a:sym typeface="Quicksand"/>
            </a:endParaRPr>
          </a:p>
        </p:txBody>
      </p:sp>
      <p:sp>
        <p:nvSpPr>
          <p:cNvPr id="6" name="Oval 5">
            <a:extLst>
              <a:ext uri="{FF2B5EF4-FFF2-40B4-BE49-F238E27FC236}">
                <a16:creationId xmlns:a16="http://schemas.microsoft.com/office/drawing/2014/main" id="{576F7AE2-EA44-8694-8990-C50BE52460BF}"/>
              </a:ext>
            </a:extLst>
          </p:cNvPr>
          <p:cNvSpPr/>
          <p:nvPr/>
        </p:nvSpPr>
        <p:spPr>
          <a:xfrm>
            <a:off x="346519" y="2326640"/>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1</a:t>
            </a:r>
            <a:endParaRPr lang="da-DK" sz="2000" noProof="0" dirty="0">
              <a:latin typeface="Quicksand" panose="020B0604020202020204" charset="0"/>
              <a:cs typeface="Quicksand" panose="020B0604020202020204" charset="0"/>
            </a:endParaRPr>
          </a:p>
        </p:txBody>
      </p:sp>
      <p:sp>
        <p:nvSpPr>
          <p:cNvPr id="9" name="Oval 6">
            <a:extLst>
              <a:ext uri="{FF2B5EF4-FFF2-40B4-BE49-F238E27FC236}">
                <a16:creationId xmlns:a16="http://schemas.microsoft.com/office/drawing/2014/main" id="{7C2CDBB2-F538-B329-D40C-92C6C0F864EA}"/>
              </a:ext>
            </a:extLst>
          </p:cNvPr>
          <p:cNvSpPr/>
          <p:nvPr/>
        </p:nvSpPr>
        <p:spPr>
          <a:xfrm>
            <a:off x="346519" y="3031877"/>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11" name="Oval 7">
            <a:extLst>
              <a:ext uri="{FF2B5EF4-FFF2-40B4-BE49-F238E27FC236}">
                <a16:creationId xmlns:a16="http://schemas.microsoft.com/office/drawing/2014/main" id="{D2E0DE07-8B71-F3CD-F567-01C93FD2D5A3}"/>
              </a:ext>
            </a:extLst>
          </p:cNvPr>
          <p:cNvSpPr/>
          <p:nvPr/>
        </p:nvSpPr>
        <p:spPr>
          <a:xfrm>
            <a:off x="346519" y="3781929"/>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spTree>
    <p:extLst>
      <p:ext uri="{BB962C8B-B14F-4D97-AF65-F5344CB8AC3E}">
        <p14:creationId xmlns:p14="http://schemas.microsoft.com/office/powerpoint/2010/main" val="25296437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da-DK" sz="700" b="0" i="0" u="none" strike="noStrike" kern="1200" cap="none" spc="0" normalizeH="0" baseline="0" noProof="0" smtClean="0">
                <a:ln>
                  <a:noFill/>
                </a:ln>
                <a:solidFill>
                  <a:srgbClr val="7085AA"/>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a-DK" sz="700" b="0" i="0" u="none" strike="noStrike" kern="1200" cap="none" spc="0" normalizeH="0" baseline="0" noProof="0">
              <a:ln>
                <a:noFill/>
              </a:ln>
              <a:solidFill>
                <a:srgbClr val="7085AA"/>
              </a:solidFill>
              <a:effectLst/>
              <a:uLnTx/>
              <a:uFillTx/>
              <a:latin typeface="Verdana"/>
              <a:ea typeface="+mn-ea"/>
              <a:cs typeface="+mn-cs"/>
            </a:endParaRPr>
          </a:p>
        </p:txBody>
      </p:sp>
      <p:sp>
        <p:nvSpPr>
          <p:cNvPr id="2" name="Slide Number Placeholder 3">
            <a:extLst>
              <a:ext uri="{FF2B5EF4-FFF2-40B4-BE49-F238E27FC236}">
                <a16:creationId xmlns:a16="http://schemas.microsoft.com/office/drawing/2014/main" id="{ED641A61-E366-695E-1407-D39F7C4A0DF4}"/>
              </a:ext>
            </a:extLst>
          </p:cNvPr>
          <p:cNvSpPr txBox="1">
            <a:spLocks/>
          </p:cNvSpPr>
          <p:nvPr/>
        </p:nvSpPr>
        <p:spPr>
          <a:xfrm>
            <a:off x="11206800" y="5242183"/>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700" b="0" i="0" u="none" strike="noStrike" kern="1200" cap="none" spc="0" normalizeH="0" baseline="0" noProof="0">
              <a:ln>
                <a:noFill/>
              </a:ln>
              <a:solidFill>
                <a:srgbClr val="7085AA"/>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2324759E-015A-7FA1-AC61-125833CE0294}"/>
              </a:ext>
            </a:extLst>
          </p:cNvPr>
          <p:cNvSpPr/>
          <p:nvPr/>
        </p:nvSpPr>
        <p:spPr>
          <a:xfrm>
            <a:off x="6525730" y="1723384"/>
            <a:ext cx="5065906" cy="49225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a:ln>
                  <a:noFill/>
                </a:ln>
                <a:solidFill>
                  <a:srgbClr val="273F68"/>
                </a:solidFill>
                <a:effectLst/>
                <a:uLnTx/>
                <a:uFillTx/>
                <a:latin typeface="Amatic SC" panose="00000500000000000000" pitchFamily="2" charset="-79"/>
                <a:ea typeface="+mn-ea"/>
                <a:cs typeface="Amatic SC" panose="00000500000000000000" pitchFamily="2" charset="-79"/>
              </a:rPr>
              <a:t>Fremadrettet kan det styrke praksis, at…</a:t>
            </a:r>
          </a:p>
        </p:txBody>
      </p:sp>
      <p:sp>
        <p:nvSpPr>
          <p:cNvPr id="8" name="Rectangle 7">
            <a:extLst>
              <a:ext uri="{FF2B5EF4-FFF2-40B4-BE49-F238E27FC236}">
                <a16:creationId xmlns:a16="http://schemas.microsoft.com/office/drawing/2014/main" id="{D85789E7-D242-334D-9C18-2E6F3AC43279}"/>
              </a:ext>
            </a:extLst>
          </p:cNvPr>
          <p:cNvSpPr/>
          <p:nvPr/>
        </p:nvSpPr>
        <p:spPr>
          <a:xfrm>
            <a:off x="6525730" y="2215635"/>
            <a:ext cx="5065906" cy="273860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08000" bIns="36000" rtlCol="0" anchor="t"/>
          <a:lstStyle/>
          <a:p>
            <a:pPr marL="21600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endParaRPr>
          </a:p>
          <a:p>
            <a:pPr marL="21600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 lederne forholder sig til, </a:t>
            </a:r>
            <a:r>
              <a:rPr kumimoji="0" lang="da-DK" sz="1400" b="1" i="0" u="none" strike="noStrike" kern="1200" cap="none" spc="0" normalizeH="0" baseline="0" noProof="0" dirty="0">
                <a:ln>
                  <a:noFill/>
                </a:ln>
                <a:solidFill>
                  <a:srgbClr val="273F68"/>
                </a:solidFill>
                <a:effectLst/>
                <a:uLnTx/>
                <a:uFillTx/>
                <a:latin typeface="Quicksand" panose="020B0604020202020204" charset="0"/>
                <a:ea typeface="+mn-ea"/>
                <a:cs typeface="+mn-cs"/>
              </a:rPr>
              <a:t>hvordan kompetenceudvikling (fx møder med UCN om aktionslæring) kan integreres i hverdagen</a:t>
            </a: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 så det ikke opleves som </a:t>
            </a:r>
            <a:r>
              <a:rPr lang="da-DK" sz="1400" dirty="0">
                <a:solidFill>
                  <a:srgbClr val="273F68"/>
                </a:solidFill>
                <a:latin typeface="Quicksand" panose="020B0604020202020204" charset="0"/>
              </a:rPr>
              <a:t>‘</a:t>
            </a: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noget ekstra’. </a:t>
            </a:r>
          </a:p>
          <a:p>
            <a:pPr marL="216000" marR="0" lvl="0" indent="0" algn="l" defTabSz="914400" rtl="0" eaLnBrk="1" fontAlgn="auto" latinLnBrk="0" hangingPunct="1">
              <a:lnSpc>
                <a:spcPct val="100000"/>
              </a:lnSpc>
              <a:spcBef>
                <a:spcPts val="0"/>
              </a:spcBef>
              <a:spcAft>
                <a:spcPts val="0"/>
              </a:spcAft>
              <a:buClrTx/>
              <a:buSzTx/>
              <a:buFontTx/>
              <a:buNone/>
              <a:tabLst/>
              <a:defRPr/>
            </a:pPr>
            <a:endParaRPr lang="da-DK" sz="1400" dirty="0">
              <a:solidFill>
                <a:srgbClr val="273F68"/>
              </a:solidFill>
              <a:latin typeface="Quicksand" panose="020B0604020202020204" charset="0"/>
            </a:endParaRPr>
          </a:p>
          <a:p>
            <a:pPr marL="21600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srgbClr val="273F68"/>
                </a:solidFill>
                <a:effectLst/>
                <a:uLnTx/>
                <a:uFillTx/>
                <a:latin typeface="Quicksand" panose="020B0604020202020204" charset="0"/>
                <a:ea typeface="+mn-ea"/>
                <a:cs typeface="+mn-cs"/>
              </a:rPr>
              <a:t>… lederne tydeliggør over for pædagogisk personale, </a:t>
            </a:r>
            <a:r>
              <a:rPr kumimoji="0" lang="da-DK" sz="1400" b="1" i="0" u="none" strike="noStrike" kern="1200" cap="none" spc="0" normalizeH="0" baseline="0" noProof="0" dirty="0">
                <a:ln>
                  <a:noFill/>
                </a:ln>
                <a:solidFill>
                  <a:srgbClr val="273F68"/>
                </a:solidFill>
                <a:effectLst/>
                <a:uLnTx/>
                <a:uFillTx/>
                <a:latin typeface="Quicksand" panose="020B0604020202020204" charset="0"/>
                <a:ea typeface="+mn-ea"/>
                <a:cs typeface="+mn-cs"/>
              </a:rPr>
              <a:t>hvordan og i hvilket omfang de forventes at arbejde med prøvehandlinger. </a:t>
            </a:r>
          </a:p>
          <a:p>
            <a:pPr marL="216000" marR="0" lvl="0" indent="0" algn="l" defTabSz="914400" rtl="0" eaLnBrk="1" fontAlgn="auto" latinLnBrk="0" hangingPunct="1">
              <a:lnSpc>
                <a:spcPct val="100000"/>
              </a:lnSpc>
              <a:spcBef>
                <a:spcPts val="0"/>
              </a:spcBef>
              <a:spcAft>
                <a:spcPts val="0"/>
              </a:spcAft>
              <a:buClrTx/>
              <a:buSzTx/>
              <a:buFontTx/>
              <a:buNone/>
              <a:tabLst/>
              <a:defRPr/>
            </a:pPr>
            <a:endParaRPr lang="da-DK" sz="1400" b="1" dirty="0">
              <a:solidFill>
                <a:srgbClr val="273F68"/>
              </a:solidFill>
              <a:latin typeface="Quicksand" panose="020B0604020202020204" charset="0"/>
            </a:endParaRPr>
          </a:p>
          <a:p>
            <a:pPr marL="216000" marR="0" lvl="0" indent="0" algn="l" defTabSz="914400" rtl="0" eaLnBrk="1" fontAlgn="auto" latinLnBrk="0" hangingPunct="1">
              <a:lnSpc>
                <a:spcPct val="100000"/>
              </a:lnSpc>
              <a:spcBef>
                <a:spcPts val="0"/>
              </a:spcBef>
              <a:spcAft>
                <a:spcPts val="0"/>
              </a:spcAft>
              <a:buClrTx/>
              <a:buSzTx/>
              <a:buFontTx/>
              <a:buNone/>
              <a:tabLst/>
              <a:defRPr/>
            </a:pPr>
            <a:r>
              <a:rPr lang="da-DK" sz="1400" dirty="0">
                <a:solidFill>
                  <a:srgbClr val="273F68"/>
                </a:solidFill>
                <a:latin typeface="Quicksand" panose="020B0604020202020204" charset="0"/>
              </a:rPr>
              <a:t>…</a:t>
            </a:r>
            <a:r>
              <a:rPr lang="da-DK" sz="1400" b="1" dirty="0">
                <a:solidFill>
                  <a:srgbClr val="273F68"/>
                </a:solidFill>
                <a:latin typeface="Quicksand" panose="020B0604020202020204" charset="0"/>
              </a:rPr>
              <a:t> </a:t>
            </a:r>
            <a:r>
              <a:rPr lang="da-DK" sz="1400" dirty="0">
                <a:solidFill>
                  <a:srgbClr val="273F68"/>
                </a:solidFill>
                <a:latin typeface="Quicksand" panose="020B0604020202020204" charset="0"/>
              </a:rPr>
              <a:t>drøfte med </a:t>
            </a:r>
            <a:r>
              <a:rPr lang="da-DK" sz="1400" b="1" dirty="0">
                <a:solidFill>
                  <a:srgbClr val="273F68"/>
                </a:solidFill>
                <a:latin typeface="Quicksand" panose="020B0604020202020204" charset="0"/>
              </a:rPr>
              <a:t>skolens PLC eller vejlederteam</a:t>
            </a:r>
            <a:r>
              <a:rPr lang="da-DK" sz="1400" dirty="0">
                <a:solidFill>
                  <a:srgbClr val="273F68"/>
                </a:solidFill>
                <a:latin typeface="Quicksand" panose="020B0604020202020204" charset="0"/>
              </a:rPr>
              <a:t>, hvordan de i endnu højere grad kan spille en rolle i arbejdet med at skabe deltagelsesmuligheder for alle elever. </a:t>
            </a:r>
            <a:endParaRPr kumimoji="0" lang="da-DK" sz="1500" i="0" u="none" strike="noStrike" kern="1200" cap="none" spc="0" normalizeH="0" baseline="0" noProof="0" dirty="0">
              <a:ln>
                <a:noFill/>
              </a:ln>
              <a:solidFill>
                <a:srgbClr val="273F68"/>
              </a:solidFill>
              <a:effectLst/>
              <a:uLnTx/>
              <a:uFillTx/>
              <a:latin typeface="Quicksand" panose="020B0604020202020204" charset="0"/>
              <a:ea typeface="+mn-ea"/>
              <a:cs typeface="+mn-cs"/>
            </a:endParaRPr>
          </a:p>
        </p:txBody>
      </p:sp>
      <p:sp>
        <p:nvSpPr>
          <p:cNvPr id="10" name="Google Shape;846;p29">
            <a:extLst>
              <a:ext uri="{FF2B5EF4-FFF2-40B4-BE49-F238E27FC236}">
                <a16:creationId xmlns:a16="http://schemas.microsoft.com/office/drawing/2014/main" id="{50228FE9-2C29-4994-F9DB-F65B9358102D}"/>
              </a:ext>
            </a:extLst>
          </p:cNvPr>
          <p:cNvSpPr/>
          <p:nvPr/>
        </p:nvSpPr>
        <p:spPr>
          <a:xfrm>
            <a:off x="-1" y="347862"/>
            <a:ext cx="901244" cy="1019120"/>
          </a:xfrm>
          <a:prstGeom prst="homePlate">
            <a:avLst>
              <a:gd name="adj" fmla="val 50000"/>
            </a:avLst>
          </a:prstGeom>
          <a:solidFill>
            <a:schemeClr val="accent3"/>
          </a:solidFill>
          <a:ln>
            <a:noFill/>
          </a:ln>
        </p:spPr>
        <p:txBody>
          <a:bodyPr spcFirstLastPara="1" wrap="square" lIns="396000"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3600" b="0" i="0" u="none" strike="noStrike" kern="1200" cap="none" spc="0" normalizeH="0" baseline="0" noProof="0">
              <a:ln>
                <a:noFill/>
              </a:ln>
              <a:solidFill>
                <a:srgbClr val="273F68"/>
              </a:solidFill>
              <a:effectLst/>
              <a:uLnTx/>
              <a:uFillTx/>
              <a:latin typeface="Amatic SC"/>
              <a:ea typeface="Amatic SC"/>
              <a:cs typeface="Amatic SC"/>
              <a:sym typeface="Amatic SC"/>
            </a:endParaRPr>
          </a:p>
        </p:txBody>
      </p:sp>
      <p:sp>
        <p:nvSpPr>
          <p:cNvPr id="12" name="Google Shape;843;p29">
            <a:extLst>
              <a:ext uri="{FF2B5EF4-FFF2-40B4-BE49-F238E27FC236}">
                <a16:creationId xmlns:a16="http://schemas.microsoft.com/office/drawing/2014/main" id="{017D1C16-919E-15D6-36C3-28DA1B401F7F}"/>
              </a:ext>
            </a:extLst>
          </p:cNvPr>
          <p:cNvSpPr/>
          <p:nvPr/>
        </p:nvSpPr>
        <p:spPr>
          <a:xfrm>
            <a:off x="-1" y="347492"/>
            <a:ext cx="12192000" cy="1019120"/>
          </a:xfrm>
          <a:prstGeom prst="chevron">
            <a:avLst>
              <a:gd name="adj" fmla="val 50000"/>
            </a:avLst>
          </a:prstGeom>
          <a:solidFill>
            <a:schemeClr val="accent3"/>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3200" b="1" dirty="0">
                <a:solidFill>
                  <a:srgbClr val="FFFFFF"/>
                </a:solidFill>
                <a:latin typeface="Amatic SC"/>
                <a:ea typeface="Amatic SC"/>
                <a:cs typeface="Amatic SC"/>
                <a:sym typeface="Amatic SC"/>
              </a:rPr>
              <a:t>Organiseringen på skolerne har betydning for, om teamene lykkes med at skabe forandringer i læringsmiljøet </a:t>
            </a:r>
            <a:r>
              <a:rPr kumimoji="0" lang="da-DK" sz="3200" b="1" i="0" u="none" strike="noStrike" kern="1200" cap="none" spc="0" normalizeH="0" baseline="0" noProof="0" dirty="0">
                <a:ln>
                  <a:noFill/>
                </a:ln>
                <a:solidFill>
                  <a:srgbClr val="FFFFFF"/>
                </a:solidFill>
                <a:effectLst/>
                <a:uLnTx/>
                <a:uFillTx/>
                <a:latin typeface="Amatic SC"/>
                <a:ea typeface="Amatic SC"/>
                <a:cs typeface="Amatic SC"/>
                <a:sym typeface="Amatic SC"/>
              </a:rPr>
              <a:t> </a:t>
            </a:r>
          </a:p>
        </p:txBody>
      </p:sp>
      <p:sp>
        <p:nvSpPr>
          <p:cNvPr id="15" name="Google Shape;843;p29">
            <a:extLst>
              <a:ext uri="{FF2B5EF4-FFF2-40B4-BE49-F238E27FC236}">
                <a16:creationId xmlns:a16="http://schemas.microsoft.com/office/drawing/2014/main" id="{485B8004-BD36-C2C3-1A99-7BEBEEF0A6E2}"/>
              </a:ext>
            </a:extLst>
          </p:cNvPr>
          <p:cNvSpPr/>
          <p:nvPr/>
        </p:nvSpPr>
        <p:spPr>
          <a:xfrm>
            <a:off x="11591636" y="347492"/>
            <a:ext cx="600363" cy="1019120"/>
          </a:xfrm>
          <a:prstGeom prst="rect">
            <a:avLst/>
          </a:prstGeom>
          <a:solidFill>
            <a:schemeClr val="accent3"/>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400" b="0" i="0" u="none" strike="noStrike" kern="1200" cap="none" spc="0" normalizeH="0" baseline="0" noProof="0">
              <a:ln>
                <a:noFill/>
              </a:ln>
              <a:solidFill>
                <a:srgbClr val="273F68"/>
              </a:solidFill>
              <a:effectLst/>
              <a:uLnTx/>
              <a:uFillTx/>
              <a:latin typeface="Amatic SC"/>
              <a:ea typeface="Amatic SC"/>
              <a:cs typeface="Amatic SC"/>
              <a:sym typeface="Amatic SC"/>
            </a:endParaRPr>
          </a:p>
        </p:txBody>
      </p:sp>
      <p:sp>
        <p:nvSpPr>
          <p:cNvPr id="16" name="Google Shape;843;p29">
            <a:extLst>
              <a:ext uri="{FF2B5EF4-FFF2-40B4-BE49-F238E27FC236}">
                <a16:creationId xmlns:a16="http://schemas.microsoft.com/office/drawing/2014/main" id="{DE4068FB-1745-9AA5-9935-0DC296F34596}"/>
              </a:ext>
            </a:extLst>
          </p:cNvPr>
          <p:cNvSpPr/>
          <p:nvPr/>
        </p:nvSpPr>
        <p:spPr>
          <a:xfrm>
            <a:off x="11033835" y="347677"/>
            <a:ext cx="1067334" cy="1019120"/>
          </a:xfrm>
          <a:prstGeom prst="chevron">
            <a:avLst>
              <a:gd name="adj" fmla="val 50000"/>
            </a:avLst>
          </a:prstGeom>
          <a:solidFill>
            <a:schemeClr val="accent3"/>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400" b="0" i="0" u="none" strike="noStrike" kern="1200" cap="none" spc="0" normalizeH="0" baseline="0" noProof="0">
              <a:ln>
                <a:noFill/>
              </a:ln>
              <a:solidFill>
                <a:srgbClr val="273F68"/>
              </a:solidFill>
              <a:effectLst/>
              <a:uLnTx/>
              <a:uFillTx/>
              <a:latin typeface="Amatic SC"/>
              <a:ea typeface="Amatic SC"/>
              <a:cs typeface="Amatic SC"/>
              <a:sym typeface="Amatic SC"/>
            </a:endParaRPr>
          </a:p>
        </p:txBody>
      </p:sp>
      <p:sp>
        <p:nvSpPr>
          <p:cNvPr id="13" name="Google Shape;1217;p48">
            <a:extLst>
              <a:ext uri="{FF2B5EF4-FFF2-40B4-BE49-F238E27FC236}">
                <a16:creationId xmlns:a16="http://schemas.microsoft.com/office/drawing/2014/main" id="{31C4DCAB-FE21-D9F3-3B3F-DC4762213075}"/>
              </a:ext>
            </a:extLst>
          </p:cNvPr>
          <p:cNvSpPr/>
          <p:nvPr/>
        </p:nvSpPr>
        <p:spPr>
          <a:xfrm>
            <a:off x="7040617" y="1807031"/>
            <a:ext cx="321251" cy="269060"/>
          </a:xfrm>
          <a:custGeom>
            <a:avLst/>
            <a:gdLst/>
            <a:ahLst/>
            <a:cxnLst/>
            <a:rect l="l" t="t" r="r" b="b"/>
            <a:pathLst>
              <a:path w="18981" h="16766" extrusionOk="0">
                <a:moveTo>
                  <a:pt x="5451" y="5475"/>
                </a:moveTo>
                <a:lnTo>
                  <a:pt x="5257" y="5548"/>
                </a:lnTo>
                <a:lnTo>
                  <a:pt x="5159" y="5597"/>
                </a:lnTo>
                <a:lnTo>
                  <a:pt x="5062" y="5670"/>
                </a:lnTo>
                <a:lnTo>
                  <a:pt x="5013" y="5743"/>
                </a:lnTo>
                <a:lnTo>
                  <a:pt x="4965" y="5816"/>
                </a:lnTo>
                <a:lnTo>
                  <a:pt x="4940" y="5889"/>
                </a:lnTo>
                <a:lnTo>
                  <a:pt x="4965" y="5962"/>
                </a:lnTo>
                <a:lnTo>
                  <a:pt x="5013" y="6011"/>
                </a:lnTo>
                <a:lnTo>
                  <a:pt x="5086" y="6059"/>
                </a:lnTo>
                <a:lnTo>
                  <a:pt x="5208" y="6059"/>
                </a:lnTo>
                <a:lnTo>
                  <a:pt x="5354" y="6035"/>
                </a:lnTo>
                <a:lnTo>
                  <a:pt x="5476" y="6011"/>
                </a:lnTo>
                <a:lnTo>
                  <a:pt x="5695" y="6011"/>
                </a:lnTo>
                <a:lnTo>
                  <a:pt x="5792" y="5986"/>
                </a:lnTo>
                <a:lnTo>
                  <a:pt x="5865" y="5913"/>
                </a:lnTo>
                <a:lnTo>
                  <a:pt x="5914" y="5816"/>
                </a:lnTo>
                <a:lnTo>
                  <a:pt x="5938" y="5743"/>
                </a:lnTo>
                <a:lnTo>
                  <a:pt x="5938" y="5694"/>
                </a:lnTo>
                <a:lnTo>
                  <a:pt x="5889" y="5573"/>
                </a:lnTo>
                <a:lnTo>
                  <a:pt x="5792" y="5500"/>
                </a:lnTo>
                <a:lnTo>
                  <a:pt x="5670" y="5475"/>
                </a:lnTo>
                <a:close/>
                <a:moveTo>
                  <a:pt x="4575" y="5986"/>
                </a:moveTo>
                <a:lnTo>
                  <a:pt x="4454" y="6011"/>
                </a:lnTo>
                <a:lnTo>
                  <a:pt x="4356" y="6035"/>
                </a:lnTo>
                <a:lnTo>
                  <a:pt x="4259" y="6084"/>
                </a:lnTo>
                <a:lnTo>
                  <a:pt x="4113" y="6205"/>
                </a:lnTo>
                <a:lnTo>
                  <a:pt x="4040" y="6254"/>
                </a:lnTo>
                <a:lnTo>
                  <a:pt x="3991" y="6351"/>
                </a:lnTo>
                <a:lnTo>
                  <a:pt x="3967" y="6424"/>
                </a:lnTo>
                <a:lnTo>
                  <a:pt x="3991" y="6522"/>
                </a:lnTo>
                <a:lnTo>
                  <a:pt x="4064" y="6570"/>
                </a:lnTo>
                <a:lnTo>
                  <a:pt x="4162" y="6619"/>
                </a:lnTo>
                <a:lnTo>
                  <a:pt x="4283" y="6595"/>
                </a:lnTo>
                <a:lnTo>
                  <a:pt x="4429" y="6546"/>
                </a:lnTo>
                <a:lnTo>
                  <a:pt x="4527" y="6522"/>
                </a:lnTo>
                <a:lnTo>
                  <a:pt x="4551" y="6497"/>
                </a:lnTo>
                <a:lnTo>
                  <a:pt x="4648" y="6473"/>
                </a:lnTo>
                <a:lnTo>
                  <a:pt x="4721" y="6424"/>
                </a:lnTo>
                <a:lnTo>
                  <a:pt x="4794" y="6327"/>
                </a:lnTo>
                <a:lnTo>
                  <a:pt x="4794" y="6205"/>
                </a:lnTo>
                <a:lnTo>
                  <a:pt x="4770" y="6108"/>
                </a:lnTo>
                <a:lnTo>
                  <a:pt x="4673" y="6035"/>
                </a:lnTo>
                <a:lnTo>
                  <a:pt x="4575" y="5986"/>
                </a:lnTo>
                <a:close/>
                <a:moveTo>
                  <a:pt x="7593" y="5962"/>
                </a:moveTo>
                <a:lnTo>
                  <a:pt x="7495" y="6011"/>
                </a:lnTo>
                <a:lnTo>
                  <a:pt x="7447" y="6059"/>
                </a:lnTo>
                <a:lnTo>
                  <a:pt x="7398" y="6132"/>
                </a:lnTo>
                <a:lnTo>
                  <a:pt x="7398" y="6181"/>
                </a:lnTo>
                <a:lnTo>
                  <a:pt x="7422" y="6254"/>
                </a:lnTo>
                <a:lnTo>
                  <a:pt x="7520" y="6351"/>
                </a:lnTo>
                <a:lnTo>
                  <a:pt x="7593" y="6424"/>
                </a:lnTo>
                <a:lnTo>
                  <a:pt x="7641" y="6449"/>
                </a:lnTo>
                <a:lnTo>
                  <a:pt x="7666" y="6473"/>
                </a:lnTo>
                <a:lnTo>
                  <a:pt x="7690" y="6497"/>
                </a:lnTo>
                <a:lnTo>
                  <a:pt x="7714" y="6546"/>
                </a:lnTo>
                <a:lnTo>
                  <a:pt x="7763" y="6619"/>
                </a:lnTo>
                <a:lnTo>
                  <a:pt x="7787" y="6668"/>
                </a:lnTo>
                <a:lnTo>
                  <a:pt x="7812" y="6692"/>
                </a:lnTo>
                <a:lnTo>
                  <a:pt x="7909" y="6741"/>
                </a:lnTo>
                <a:lnTo>
                  <a:pt x="8031" y="6741"/>
                </a:lnTo>
                <a:lnTo>
                  <a:pt x="8128" y="6716"/>
                </a:lnTo>
                <a:lnTo>
                  <a:pt x="8201" y="6643"/>
                </a:lnTo>
                <a:lnTo>
                  <a:pt x="8250" y="6546"/>
                </a:lnTo>
                <a:lnTo>
                  <a:pt x="8250" y="6449"/>
                </a:lnTo>
                <a:lnTo>
                  <a:pt x="8225" y="6351"/>
                </a:lnTo>
                <a:lnTo>
                  <a:pt x="8177" y="6254"/>
                </a:lnTo>
                <a:lnTo>
                  <a:pt x="8104" y="6181"/>
                </a:lnTo>
                <a:lnTo>
                  <a:pt x="8006" y="6108"/>
                </a:lnTo>
                <a:lnTo>
                  <a:pt x="7909" y="6035"/>
                </a:lnTo>
                <a:lnTo>
                  <a:pt x="7812" y="5986"/>
                </a:lnTo>
                <a:lnTo>
                  <a:pt x="7690" y="5962"/>
                </a:lnTo>
                <a:close/>
                <a:moveTo>
                  <a:pt x="3578" y="6741"/>
                </a:moveTo>
                <a:lnTo>
                  <a:pt x="3456" y="6765"/>
                </a:lnTo>
                <a:lnTo>
                  <a:pt x="3359" y="6814"/>
                </a:lnTo>
                <a:lnTo>
                  <a:pt x="3286" y="6887"/>
                </a:lnTo>
                <a:lnTo>
                  <a:pt x="3189" y="6960"/>
                </a:lnTo>
                <a:lnTo>
                  <a:pt x="3140" y="7081"/>
                </a:lnTo>
                <a:lnTo>
                  <a:pt x="3091" y="7179"/>
                </a:lnTo>
                <a:lnTo>
                  <a:pt x="3067" y="7300"/>
                </a:lnTo>
                <a:lnTo>
                  <a:pt x="3067" y="7398"/>
                </a:lnTo>
                <a:lnTo>
                  <a:pt x="3091" y="7446"/>
                </a:lnTo>
                <a:lnTo>
                  <a:pt x="3116" y="7471"/>
                </a:lnTo>
                <a:lnTo>
                  <a:pt x="3189" y="7519"/>
                </a:lnTo>
                <a:lnTo>
                  <a:pt x="3286" y="7544"/>
                </a:lnTo>
                <a:lnTo>
                  <a:pt x="3359" y="7519"/>
                </a:lnTo>
                <a:lnTo>
                  <a:pt x="3481" y="7446"/>
                </a:lnTo>
                <a:lnTo>
                  <a:pt x="3554" y="7325"/>
                </a:lnTo>
                <a:lnTo>
                  <a:pt x="3627" y="7276"/>
                </a:lnTo>
                <a:lnTo>
                  <a:pt x="3651" y="7252"/>
                </a:lnTo>
                <a:lnTo>
                  <a:pt x="3700" y="7227"/>
                </a:lnTo>
                <a:lnTo>
                  <a:pt x="3773" y="7179"/>
                </a:lnTo>
                <a:lnTo>
                  <a:pt x="3821" y="7106"/>
                </a:lnTo>
                <a:lnTo>
                  <a:pt x="3821" y="7033"/>
                </a:lnTo>
                <a:lnTo>
                  <a:pt x="3821" y="6935"/>
                </a:lnTo>
                <a:lnTo>
                  <a:pt x="3797" y="6862"/>
                </a:lnTo>
                <a:lnTo>
                  <a:pt x="3724" y="6789"/>
                </a:lnTo>
                <a:lnTo>
                  <a:pt x="3651" y="6765"/>
                </a:lnTo>
                <a:lnTo>
                  <a:pt x="3578" y="6741"/>
                </a:lnTo>
                <a:close/>
                <a:moveTo>
                  <a:pt x="16863" y="4526"/>
                </a:moveTo>
                <a:lnTo>
                  <a:pt x="16766" y="4575"/>
                </a:lnTo>
                <a:lnTo>
                  <a:pt x="16693" y="4624"/>
                </a:lnTo>
                <a:lnTo>
                  <a:pt x="16620" y="4697"/>
                </a:lnTo>
                <a:lnTo>
                  <a:pt x="16498" y="4843"/>
                </a:lnTo>
                <a:lnTo>
                  <a:pt x="16401" y="5037"/>
                </a:lnTo>
                <a:lnTo>
                  <a:pt x="16158" y="5500"/>
                </a:lnTo>
                <a:lnTo>
                  <a:pt x="15914" y="5962"/>
                </a:lnTo>
                <a:lnTo>
                  <a:pt x="15647" y="5816"/>
                </a:lnTo>
                <a:lnTo>
                  <a:pt x="15501" y="5719"/>
                </a:lnTo>
                <a:lnTo>
                  <a:pt x="15355" y="5670"/>
                </a:lnTo>
                <a:lnTo>
                  <a:pt x="15233" y="5646"/>
                </a:lnTo>
                <a:lnTo>
                  <a:pt x="15087" y="5597"/>
                </a:lnTo>
                <a:lnTo>
                  <a:pt x="15038" y="5573"/>
                </a:lnTo>
                <a:lnTo>
                  <a:pt x="15014" y="5573"/>
                </a:lnTo>
                <a:lnTo>
                  <a:pt x="14917" y="5621"/>
                </a:lnTo>
                <a:lnTo>
                  <a:pt x="14892" y="5646"/>
                </a:lnTo>
                <a:lnTo>
                  <a:pt x="14844" y="5694"/>
                </a:lnTo>
                <a:lnTo>
                  <a:pt x="14844" y="5767"/>
                </a:lnTo>
                <a:lnTo>
                  <a:pt x="14868" y="5840"/>
                </a:lnTo>
                <a:lnTo>
                  <a:pt x="14892" y="5913"/>
                </a:lnTo>
                <a:lnTo>
                  <a:pt x="15087" y="6059"/>
                </a:lnTo>
                <a:lnTo>
                  <a:pt x="15282" y="6181"/>
                </a:lnTo>
                <a:lnTo>
                  <a:pt x="15671" y="6424"/>
                </a:lnTo>
                <a:lnTo>
                  <a:pt x="15355" y="6984"/>
                </a:lnTo>
                <a:lnTo>
                  <a:pt x="15160" y="7252"/>
                </a:lnTo>
                <a:lnTo>
                  <a:pt x="14965" y="7519"/>
                </a:lnTo>
                <a:lnTo>
                  <a:pt x="14941" y="7592"/>
                </a:lnTo>
                <a:lnTo>
                  <a:pt x="14941" y="7641"/>
                </a:lnTo>
                <a:lnTo>
                  <a:pt x="14941" y="7714"/>
                </a:lnTo>
                <a:lnTo>
                  <a:pt x="14965" y="7763"/>
                </a:lnTo>
                <a:lnTo>
                  <a:pt x="15014" y="7836"/>
                </a:lnTo>
                <a:lnTo>
                  <a:pt x="15063" y="7860"/>
                </a:lnTo>
                <a:lnTo>
                  <a:pt x="15111" y="7884"/>
                </a:lnTo>
                <a:lnTo>
                  <a:pt x="15184" y="7909"/>
                </a:lnTo>
                <a:lnTo>
                  <a:pt x="15257" y="7884"/>
                </a:lnTo>
                <a:lnTo>
                  <a:pt x="15355" y="7860"/>
                </a:lnTo>
                <a:lnTo>
                  <a:pt x="15501" y="7763"/>
                </a:lnTo>
                <a:lnTo>
                  <a:pt x="15622" y="7641"/>
                </a:lnTo>
                <a:lnTo>
                  <a:pt x="15744" y="7471"/>
                </a:lnTo>
                <a:lnTo>
                  <a:pt x="15866" y="7276"/>
                </a:lnTo>
                <a:lnTo>
                  <a:pt x="15963" y="7081"/>
                </a:lnTo>
                <a:lnTo>
                  <a:pt x="16133" y="6716"/>
                </a:lnTo>
                <a:lnTo>
                  <a:pt x="16328" y="6862"/>
                </a:lnTo>
                <a:lnTo>
                  <a:pt x="16523" y="7008"/>
                </a:lnTo>
                <a:lnTo>
                  <a:pt x="16742" y="7106"/>
                </a:lnTo>
                <a:lnTo>
                  <a:pt x="16839" y="7130"/>
                </a:lnTo>
                <a:lnTo>
                  <a:pt x="16961" y="7154"/>
                </a:lnTo>
                <a:lnTo>
                  <a:pt x="17034" y="7130"/>
                </a:lnTo>
                <a:lnTo>
                  <a:pt x="17082" y="7106"/>
                </a:lnTo>
                <a:lnTo>
                  <a:pt x="17131" y="7057"/>
                </a:lnTo>
                <a:lnTo>
                  <a:pt x="17155" y="7008"/>
                </a:lnTo>
                <a:lnTo>
                  <a:pt x="17180" y="6960"/>
                </a:lnTo>
                <a:lnTo>
                  <a:pt x="17180" y="6887"/>
                </a:lnTo>
                <a:lnTo>
                  <a:pt x="17155" y="6814"/>
                </a:lnTo>
                <a:lnTo>
                  <a:pt x="17131" y="6765"/>
                </a:lnTo>
                <a:lnTo>
                  <a:pt x="16961" y="6619"/>
                </a:lnTo>
                <a:lnTo>
                  <a:pt x="16766" y="6497"/>
                </a:lnTo>
                <a:lnTo>
                  <a:pt x="16377" y="6254"/>
                </a:lnTo>
                <a:lnTo>
                  <a:pt x="16644" y="5670"/>
                </a:lnTo>
                <a:lnTo>
                  <a:pt x="16766" y="5427"/>
                </a:lnTo>
                <a:lnTo>
                  <a:pt x="16912" y="5183"/>
                </a:lnTo>
                <a:lnTo>
                  <a:pt x="17034" y="4916"/>
                </a:lnTo>
                <a:lnTo>
                  <a:pt x="17082" y="4770"/>
                </a:lnTo>
                <a:lnTo>
                  <a:pt x="17082" y="4648"/>
                </a:lnTo>
                <a:lnTo>
                  <a:pt x="17082" y="4599"/>
                </a:lnTo>
                <a:lnTo>
                  <a:pt x="17058" y="4551"/>
                </a:lnTo>
                <a:lnTo>
                  <a:pt x="17009" y="4526"/>
                </a:lnTo>
                <a:close/>
                <a:moveTo>
                  <a:pt x="8420" y="6838"/>
                </a:moveTo>
                <a:lnTo>
                  <a:pt x="8371" y="6862"/>
                </a:lnTo>
                <a:lnTo>
                  <a:pt x="8298" y="6911"/>
                </a:lnTo>
                <a:lnTo>
                  <a:pt x="8274" y="6984"/>
                </a:lnTo>
                <a:lnTo>
                  <a:pt x="8250" y="7081"/>
                </a:lnTo>
                <a:lnTo>
                  <a:pt x="8274" y="7179"/>
                </a:lnTo>
                <a:lnTo>
                  <a:pt x="8298" y="7276"/>
                </a:lnTo>
                <a:lnTo>
                  <a:pt x="8347" y="7373"/>
                </a:lnTo>
                <a:lnTo>
                  <a:pt x="8420" y="7519"/>
                </a:lnTo>
                <a:lnTo>
                  <a:pt x="8444" y="7665"/>
                </a:lnTo>
                <a:lnTo>
                  <a:pt x="8444" y="7763"/>
                </a:lnTo>
                <a:lnTo>
                  <a:pt x="8493" y="7836"/>
                </a:lnTo>
                <a:lnTo>
                  <a:pt x="8566" y="7909"/>
                </a:lnTo>
                <a:lnTo>
                  <a:pt x="8663" y="7933"/>
                </a:lnTo>
                <a:lnTo>
                  <a:pt x="8761" y="7957"/>
                </a:lnTo>
                <a:lnTo>
                  <a:pt x="8882" y="7909"/>
                </a:lnTo>
                <a:lnTo>
                  <a:pt x="8980" y="7836"/>
                </a:lnTo>
                <a:lnTo>
                  <a:pt x="9004" y="7787"/>
                </a:lnTo>
                <a:lnTo>
                  <a:pt x="9028" y="7738"/>
                </a:lnTo>
                <a:lnTo>
                  <a:pt x="9028" y="7592"/>
                </a:lnTo>
                <a:lnTo>
                  <a:pt x="9004" y="7446"/>
                </a:lnTo>
                <a:lnTo>
                  <a:pt x="8955" y="7325"/>
                </a:lnTo>
                <a:lnTo>
                  <a:pt x="8882" y="7179"/>
                </a:lnTo>
                <a:lnTo>
                  <a:pt x="8809" y="7057"/>
                </a:lnTo>
                <a:lnTo>
                  <a:pt x="8712" y="6960"/>
                </a:lnTo>
                <a:lnTo>
                  <a:pt x="8663" y="6911"/>
                </a:lnTo>
                <a:lnTo>
                  <a:pt x="8615" y="6862"/>
                </a:lnTo>
                <a:lnTo>
                  <a:pt x="8542" y="6838"/>
                </a:lnTo>
                <a:close/>
                <a:moveTo>
                  <a:pt x="16255" y="7495"/>
                </a:moveTo>
                <a:lnTo>
                  <a:pt x="16206" y="7544"/>
                </a:lnTo>
                <a:lnTo>
                  <a:pt x="16158" y="7592"/>
                </a:lnTo>
                <a:lnTo>
                  <a:pt x="16158" y="7714"/>
                </a:lnTo>
                <a:lnTo>
                  <a:pt x="16158" y="7836"/>
                </a:lnTo>
                <a:lnTo>
                  <a:pt x="16206" y="7982"/>
                </a:lnTo>
                <a:lnTo>
                  <a:pt x="16231" y="8030"/>
                </a:lnTo>
                <a:lnTo>
                  <a:pt x="16279" y="8079"/>
                </a:lnTo>
                <a:lnTo>
                  <a:pt x="16304" y="8103"/>
                </a:lnTo>
                <a:lnTo>
                  <a:pt x="16377" y="8128"/>
                </a:lnTo>
                <a:lnTo>
                  <a:pt x="16474" y="8128"/>
                </a:lnTo>
                <a:lnTo>
                  <a:pt x="16523" y="8103"/>
                </a:lnTo>
                <a:lnTo>
                  <a:pt x="16547" y="8055"/>
                </a:lnTo>
                <a:lnTo>
                  <a:pt x="16571" y="8006"/>
                </a:lnTo>
                <a:lnTo>
                  <a:pt x="16571" y="7957"/>
                </a:lnTo>
                <a:lnTo>
                  <a:pt x="16547" y="7836"/>
                </a:lnTo>
                <a:lnTo>
                  <a:pt x="16523" y="7738"/>
                </a:lnTo>
                <a:lnTo>
                  <a:pt x="16474" y="7641"/>
                </a:lnTo>
                <a:lnTo>
                  <a:pt x="16401" y="7544"/>
                </a:lnTo>
                <a:lnTo>
                  <a:pt x="16328" y="7495"/>
                </a:lnTo>
                <a:close/>
                <a:moveTo>
                  <a:pt x="2897" y="7836"/>
                </a:moveTo>
                <a:lnTo>
                  <a:pt x="2799" y="7860"/>
                </a:lnTo>
                <a:lnTo>
                  <a:pt x="2702" y="7909"/>
                </a:lnTo>
                <a:lnTo>
                  <a:pt x="2629" y="7982"/>
                </a:lnTo>
                <a:lnTo>
                  <a:pt x="2556" y="8079"/>
                </a:lnTo>
                <a:lnTo>
                  <a:pt x="2507" y="8201"/>
                </a:lnTo>
                <a:lnTo>
                  <a:pt x="2507" y="8347"/>
                </a:lnTo>
                <a:lnTo>
                  <a:pt x="2507" y="8468"/>
                </a:lnTo>
                <a:lnTo>
                  <a:pt x="2556" y="8517"/>
                </a:lnTo>
                <a:lnTo>
                  <a:pt x="2580" y="8566"/>
                </a:lnTo>
                <a:lnTo>
                  <a:pt x="2678" y="8614"/>
                </a:lnTo>
                <a:lnTo>
                  <a:pt x="2799" y="8614"/>
                </a:lnTo>
                <a:lnTo>
                  <a:pt x="2848" y="8590"/>
                </a:lnTo>
                <a:lnTo>
                  <a:pt x="2897" y="8566"/>
                </a:lnTo>
                <a:lnTo>
                  <a:pt x="2970" y="8493"/>
                </a:lnTo>
                <a:lnTo>
                  <a:pt x="3018" y="8420"/>
                </a:lnTo>
                <a:lnTo>
                  <a:pt x="3116" y="8274"/>
                </a:lnTo>
                <a:lnTo>
                  <a:pt x="3140" y="8152"/>
                </a:lnTo>
                <a:lnTo>
                  <a:pt x="3140" y="8055"/>
                </a:lnTo>
                <a:lnTo>
                  <a:pt x="3091" y="7957"/>
                </a:lnTo>
                <a:lnTo>
                  <a:pt x="3018" y="7884"/>
                </a:lnTo>
                <a:lnTo>
                  <a:pt x="2897" y="7836"/>
                </a:lnTo>
                <a:close/>
                <a:moveTo>
                  <a:pt x="8955" y="8152"/>
                </a:moveTo>
                <a:lnTo>
                  <a:pt x="8882" y="8201"/>
                </a:lnTo>
                <a:lnTo>
                  <a:pt x="8858" y="8274"/>
                </a:lnTo>
                <a:lnTo>
                  <a:pt x="8858" y="8371"/>
                </a:lnTo>
                <a:lnTo>
                  <a:pt x="8858" y="8468"/>
                </a:lnTo>
                <a:lnTo>
                  <a:pt x="8907" y="8639"/>
                </a:lnTo>
                <a:lnTo>
                  <a:pt x="8955" y="8760"/>
                </a:lnTo>
                <a:lnTo>
                  <a:pt x="8980" y="8858"/>
                </a:lnTo>
                <a:lnTo>
                  <a:pt x="9053" y="8955"/>
                </a:lnTo>
                <a:lnTo>
                  <a:pt x="9101" y="9004"/>
                </a:lnTo>
                <a:lnTo>
                  <a:pt x="9150" y="9028"/>
                </a:lnTo>
                <a:lnTo>
                  <a:pt x="9296" y="9028"/>
                </a:lnTo>
                <a:lnTo>
                  <a:pt x="9369" y="8979"/>
                </a:lnTo>
                <a:lnTo>
                  <a:pt x="9393" y="8931"/>
                </a:lnTo>
                <a:lnTo>
                  <a:pt x="9418" y="8858"/>
                </a:lnTo>
                <a:lnTo>
                  <a:pt x="9418" y="8785"/>
                </a:lnTo>
                <a:lnTo>
                  <a:pt x="9393" y="8639"/>
                </a:lnTo>
                <a:lnTo>
                  <a:pt x="9369" y="8614"/>
                </a:lnTo>
                <a:lnTo>
                  <a:pt x="9345" y="8517"/>
                </a:lnTo>
                <a:lnTo>
                  <a:pt x="9247" y="8322"/>
                </a:lnTo>
                <a:lnTo>
                  <a:pt x="9199" y="8225"/>
                </a:lnTo>
                <a:lnTo>
                  <a:pt x="9101" y="8176"/>
                </a:lnTo>
                <a:lnTo>
                  <a:pt x="9028" y="8152"/>
                </a:lnTo>
                <a:close/>
                <a:moveTo>
                  <a:pt x="16352" y="8541"/>
                </a:moveTo>
                <a:lnTo>
                  <a:pt x="16279" y="8566"/>
                </a:lnTo>
                <a:lnTo>
                  <a:pt x="16231" y="8614"/>
                </a:lnTo>
                <a:lnTo>
                  <a:pt x="16206" y="8663"/>
                </a:lnTo>
                <a:lnTo>
                  <a:pt x="16182" y="8736"/>
                </a:lnTo>
                <a:lnTo>
                  <a:pt x="16182" y="8858"/>
                </a:lnTo>
                <a:lnTo>
                  <a:pt x="16206" y="8979"/>
                </a:lnTo>
                <a:lnTo>
                  <a:pt x="16231" y="9174"/>
                </a:lnTo>
                <a:lnTo>
                  <a:pt x="16255" y="9296"/>
                </a:lnTo>
                <a:lnTo>
                  <a:pt x="16304" y="9369"/>
                </a:lnTo>
                <a:lnTo>
                  <a:pt x="16401" y="9417"/>
                </a:lnTo>
                <a:lnTo>
                  <a:pt x="16498" y="9417"/>
                </a:lnTo>
                <a:lnTo>
                  <a:pt x="16596" y="9393"/>
                </a:lnTo>
                <a:lnTo>
                  <a:pt x="16669" y="9320"/>
                </a:lnTo>
                <a:lnTo>
                  <a:pt x="16693" y="9223"/>
                </a:lnTo>
                <a:lnTo>
                  <a:pt x="16693" y="9101"/>
                </a:lnTo>
                <a:lnTo>
                  <a:pt x="16644" y="8882"/>
                </a:lnTo>
                <a:lnTo>
                  <a:pt x="16596" y="8760"/>
                </a:lnTo>
                <a:lnTo>
                  <a:pt x="16547" y="8639"/>
                </a:lnTo>
                <a:lnTo>
                  <a:pt x="16523" y="8590"/>
                </a:lnTo>
                <a:lnTo>
                  <a:pt x="16474" y="8541"/>
                </a:lnTo>
                <a:close/>
                <a:moveTo>
                  <a:pt x="2434" y="9077"/>
                </a:moveTo>
                <a:lnTo>
                  <a:pt x="2337" y="9101"/>
                </a:lnTo>
                <a:lnTo>
                  <a:pt x="2264" y="9125"/>
                </a:lnTo>
                <a:lnTo>
                  <a:pt x="2191" y="9198"/>
                </a:lnTo>
                <a:lnTo>
                  <a:pt x="2142" y="9271"/>
                </a:lnTo>
                <a:lnTo>
                  <a:pt x="2118" y="9369"/>
                </a:lnTo>
                <a:lnTo>
                  <a:pt x="2094" y="9515"/>
                </a:lnTo>
                <a:lnTo>
                  <a:pt x="2094" y="9612"/>
                </a:lnTo>
                <a:lnTo>
                  <a:pt x="2094" y="9685"/>
                </a:lnTo>
                <a:lnTo>
                  <a:pt x="2118" y="9782"/>
                </a:lnTo>
                <a:lnTo>
                  <a:pt x="2191" y="9831"/>
                </a:lnTo>
                <a:lnTo>
                  <a:pt x="2240" y="9879"/>
                </a:lnTo>
                <a:lnTo>
                  <a:pt x="2337" y="9904"/>
                </a:lnTo>
                <a:lnTo>
                  <a:pt x="2410" y="9879"/>
                </a:lnTo>
                <a:lnTo>
                  <a:pt x="2483" y="9831"/>
                </a:lnTo>
                <a:lnTo>
                  <a:pt x="2556" y="9733"/>
                </a:lnTo>
                <a:lnTo>
                  <a:pt x="2580" y="9612"/>
                </a:lnTo>
                <a:lnTo>
                  <a:pt x="2653" y="9417"/>
                </a:lnTo>
                <a:lnTo>
                  <a:pt x="2653" y="9320"/>
                </a:lnTo>
                <a:lnTo>
                  <a:pt x="2653" y="9247"/>
                </a:lnTo>
                <a:lnTo>
                  <a:pt x="2605" y="9174"/>
                </a:lnTo>
                <a:lnTo>
                  <a:pt x="2532" y="9125"/>
                </a:lnTo>
                <a:lnTo>
                  <a:pt x="2434" y="9077"/>
                </a:lnTo>
                <a:close/>
                <a:moveTo>
                  <a:pt x="9272" y="9296"/>
                </a:moveTo>
                <a:lnTo>
                  <a:pt x="9199" y="9344"/>
                </a:lnTo>
                <a:lnTo>
                  <a:pt x="9101" y="9417"/>
                </a:lnTo>
                <a:lnTo>
                  <a:pt x="9077" y="9539"/>
                </a:lnTo>
                <a:lnTo>
                  <a:pt x="9053" y="9661"/>
                </a:lnTo>
                <a:lnTo>
                  <a:pt x="9077" y="9782"/>
                </a:lnTo>
                <a:lnTo>
                  <a:pt x="9126" y="9904"/>
                </a:lnTo>
                <a:lnTo>
                  <a:pt x="9174" y="10001"/>
                </a:lnTo>
                <a:lnTo>
                  <a:pt x="9247" y="10123"/>
                </a:lnTo>
                <a:lnTo>
                  <a:pt x="9320" y="10196"/>
                </a:lnTo>
                <a:lnTo>
                  <a:pt x="9393" y="10220"/>
                </a:lnTo>
                <a:lnTo>
                  <a:pt x="9442" y="10220"/>
                </a:lnTo>
                <a:lnTo>
                  <a:pt x="9564" y="10196"/>
                </a:lnTo>
                <a:lnTo>
                  <a:pt x="9612" y="10147"/>
                </a:lnTo>
                <a:lnTo>
                  <a:pt x="9661" y="10123"/>
                </a:lnTo>
                <a:lnTo>
                  <a:pt x="9685" y="10050"/>
                </a:lnTo>
                <a:lnTo>
                  <a:pt x="9685" y="10001"/>
                </a:lnTo>
                <a:lnTo>
                  <a:pt x="9685" y="9904"/>
                </a:lnTo>
                <a:lnTo>
                  <a:pt x="9637" y="9806"/>
                </a:lnTo>
                <a:lnTo>
                  <a:pt x="9539" y="9636"/>
                </a:lnTo>
                <a:lnTo>
                  <a:pt x="9515" y="9515"/>
                </a:lnTo>
                <a:lnTo>
                  <a:pt x="9442" y="9393"/>
                </a:lnTo>
                <a:lnTo>
                  <a:pt x="9393" y="9344"/>
                </a:lnTo>
                <a:lnTo>
                  <a:pt x="9345" y="9320"/>
                </a:lnTo>
                <a:lnTo>
                  <a:pt x="9272" y="9296"/>
                </a:lnTo>
                <a:close/>
                <a:moveTo>
                  <a:pt x="16231" y="9855"/>
                </a:moveTo>
                <a:lnTo>
                  <a:pt x="16231" y="9879"/>
                </a:lnTo>
                <a:lnTo>
                  <a:pt x="16182" y="9904"/>
                </a:lnTo>
                <a:lnTo>
                  <a:pt x="16133" y="9952"/>
                </a:lnTo>
                <a:lnTo>
                  <a:pt x="16060" y="10098"/>
                </a:lnTo>
                <a:lnTo>
                  <a:pt x="16012" y="10293"/>
                </a:lnTo>
                <a:lnTo>
                  <a:pt x="16012" y="10390"/>
                </a:lnTo>
                <a:lnTo>
                  <a:pt x="16012" y="10463"/>
                </a:lnTo>
                <a:lnTo>
                  <a:pt x="16085" y="10561"/>
                </a:lnTo>
                <a:lnTo>
                  <a:pt x="16182" y="10634"/>
                </a:lnTo>
                <a:lnTo>
                  <a:pt x="16304" y="10634"/>
                </a:lnTo>
                <a:lnTo>
                  <a:pt x="16352" y="10609"/>
                </a:lnTo>
                <a:lnTo>
                  <a:pt x="16401" y="10561"/>
                </a:lnTo>
                <a:lnTo>
                  <a:pt x="16450" y="10488"/>
                </a:lnTo>
                <a:lnTo>
                  <a:pt x="16474" y="10415"/>
                </a:lnTo>
                <a:lnTo>
                  <a:pt x="16498" y="10244"/>
                </a:lnTo>
                <a:lnTo>
                  <a:pt x="16498" y="10147"/>
                </a:lnTo>
                <a:lnTo>
                  <a:pt x="16498" y="10050"/>
                </a:lnTo>
                <a:lnTo>
                  <a:pt x="16474" y="9952"/>
                </a:lnTo>
                <a:lnTo>
                  <a:pt x="16425" y="9879"/>
                </a:lnTo>
                <a:lnTo>
                  <a:pt x="16328" y="9855"/>
                </a:lnTo>
                <a:close/>
                <a:moveTo>
                  <a:pt x="2167" y="10244"/>
                </a:moveTo>
                <a:lnTo>
                  <a:pt x="2045" y="10269"/>
                </a:lnTo>
                <a:lnTo>
                  <a:pt x="1972" y="10317"/>
                </a:lnTo>
                <a:lnTo>
                  <a:pt x="1875" y="10463"/>
                </a:lnTo>
                <a:lnTo>
                  <a:pt x="1826" y="10634"/>
                </a:lnTo>
                <a:lnTo>
                  <a:pt x="1802" y="10804"/>
                </a:lnTo>
                <a:lnTo>
                  <a:pt x="1850" y="10926"/>
                </a:lnTo>
                <a:lnTo>
                  <a:pt x="1923" y="11023"/>
                </a:lnTo>
                <a:lnTo>
                  <a:pt x="1948" y="11072"/>
                </a:lnTo>
                <a:lnTo>
                  <a:pt x="2021" y="11096"/>
                </a:lnTo>
                <a:lnTo>
                  <a:pt x="2118" y="11096"/>
                </a:lnTo>
                <a:lnTo>
                  <a:pt x="2191" y="11072"/>
                </a:lnTo>
                <a:lnTo>
                  <a:pt x="2215" y="11023"/>
                </a:lnTo>
                <a:lnTo>
                  <a:pt x="2288" y="10950"/>
                </a:lnTo>
                <a:lnTo>
                  <a:pt x="2313" y="10877"/>
                </a:lnTo>
                <a:lnTo>
                  <a:pt x="2337" y="10780"/>
                </a:lnTo>
                <a:lnTo>
                  <a:pt x="2337" y="10755"/>
                </a:lnTo>
                <a:lnTo>
                  <a:pt x="2337" y="10731"/>
                </a:lnTo>
                <a:lnTo>
                  <a:pt x="2386" y="10658"/>
                </a:lnTo>
                <a:lnTo>
                  <a:pt x="2410" y="10561"/>
                </a:lnTo>
                <a:lnTo>
                  <a:pt x="2434" y="10488"/>
                </a:lnTo>
                <a:lnTo>
                  <a:pt x="2410" y="10390"/>
                </a:lnTo>
                <a:lnTo>
                  <a:pt x="2337" y="10317"/>
                </a:lnTo>
                <a:lnTo>
                  <a:pt x="2264" y="10269"/>
                </a:lnTo>
                <a:lnTo>
                  <a:pt x="2167" y="10244"/>
                </a:lnTo>
                <a:close/>
                <a:moveTo>
                  <a:pt x="9661" y="10512"/>
                </a:moveTo>
                <a:lnTo>
                  <a:pt x="9612" y="10536"/>
                </a:lnTo>
                <a:lnTo>
                  <a:pt x="9539" y="10609"/>
                </a:lnTo>
                <a:lnTo>
                  <a:pt x="9491" y="10658"/>
                </a:lnTo>
                <a:lnTo>
                  <a:pt x="9491" y="10731"/>
                </a:lnTo>
                <a:lnTo>
                  <a:pt x="9491" y="10877"/>
                </a:lnTo>
                <a:lnTo>
                  <a:pt x="9539" y="11023"/>
                </a:lnTo>
                <a:lnTo>
                  <a:pt x="9588" y="11169"/>
                </a:lnTo>
                <a:lnTo>
                  <a:pt x="9637" y="11242"/>
                </a:lnTo>
                <a:lnTo>
                  <a:pt x="9710" y="11315"/>
                </a:lnTo>
                <a:lnTo>
                  <a:pt x="9783" y="11339"/>
                </a:lnTo>
                <a:lnTo>
                  <a:pt x="9880" y="11339"/>
                </a:lnTo>
                <a:lnTo>
                  <a:pt x="9977" y="11291"/>
                </a:lnTo>
                <a:lnTo>
                  <a:pt x="10026" y="11218"/>
                </a:lnTo>
                <a:lnTo>
                  <a:pt x="10075" y="11120"/>
                </a:lnTo>
                <a:lnTo>
                  <a:pt x="10050" y="11023"/>
                </a:lnTo>
                <a:lnTo>
                  <a:pt x="10002" y="10877"/>
                </a:lnTo>
                <a:lnTo>
                  <a:pt x="9929" y="10731"/>
                </a:lnTo>
                <a:lnTo>
                  <a:pt x="9831" y="10609"/>
                </a:lnTo>
                <a:lnTo>
                  <a:pt x="9783" y="10561"/>
                </a:lnTo>
                <a:lnTo>
                  <a:pt x="9710" y="10536"/>
                </a:lnTo>
                <a:lnTo>
                  <a:pt x="9661" y="10512"/>
                </a:lnTo>
                <a:close/>
                <a:moveTo>
                  <a:pt x="15987" y="10999"/>
                </a:moveTo>
                <a:lnTo>
                  <a:pt x="15890" y="11047"/>
                </a:lnTo>
                <a:lnTo>
                  <a:pt x="15817" y="11120"/>
                </a:lnTo>
                <a:lnTo>
                  <a:pt x="15720" y="11291"/>
                </a:lnTo>
                <a:lnTo>
                  <a:pt x="15598" y="11461"/>
                </a:lnTo>
                <a:lnTo>
                  <a:pt x="15525" y="11631"/>
                </a:lnTo>
                <a:lnTo>
                  <a:pt x="15525" y="11729"/>
                </a:lnTo>
                <a:lnTo>
                  <a:pt x="15549" y="11802"/>
                </a:lnTo>
                <a:lnTo>
                  <a:pt x="15598" y="11850"/>
                </a:lnTo>
                <a:lnTo>
                  <a:pt x="15647" y="11899"/>
                </a:lnTo>
                <a:lnTo>
                  <a:pt x="15720" y="11948"/>
                </a:lnTo>
                <a:lnTo>
                  <a:pt x="15793" y="11948"/>
                </a:lnTo>
                <a:lnTo>
                  <a:pt x="15866" y="11923"/>
                </a:lnTo>
                <a:lnTo>
                  <a:pt x="15939" y="11875"/>
                </a:lnTo>
                <a:lnTo>
                  <a:pt x="16036" y="11704"/>
                </a:lnTo>
                <a:lnTo>
                  <a:pt x="16109" y="11510"/>
                </a:lnTo>
                <a:lnTo>
                  <a:pt x="16182" y="11315"/>
                </a:lnTo>
                <a:lnTo>
                  <a:pt x="16206" y="11218"/>
                </a:lnTo>
                <a:lnTo>
                  <a:pt x="16206" y="11120"/>
                </a:lnTo>
                <a:lnTo>
                  <a:pt x="16182" y="11047"/>
                </a:lnTo>
                <a:lnTo>
                  <a:pt x="16133" y="11023"/>
                </a:lnTo>
                <a:lnTo>
                  <a:pt x="16060" y="10999"/>
                </a:lnTo>
                <a:close/>
                <a:moveTo>
                  <a:pt x="1996" y="11437"/>
                </a:moveTo>
                <a:lnTo>
                  <a:pt x="1948" y="11461"/>
                </a:lnTo>
                <a:lnTo>
                  <a:pt x="1875" y="11485"/>
                </a:lnTo>
                <a:lnTo>
                  <a:pt x="1826" y="11558"/>
                </a:lnTo>
                <a:lnTo>
                  <a:pt x="1802" y="11607"/>
                </a:lnTo>
                <a:lnTo>
                  <a:pt x="1777" y="11680"/>
                </a:lnTo>
                <a:lnTo>
                  <a:pt x="1777" y="11826"/>
                </a:lnTo>
                <a:lnTo>
                  <a:pt x="1777" y="11899"/>
                </a:lnTo>
                <a:lnTo>
                  <a:pt x="1802" y="12021"/>
                </a:lnTo>
                <a:lnTo>
                  <a:pt x="1850" y="12094"/>
                </a:lnTo>
                <a:lnTo>
                  <a:pt x="1899" y="12142"/>
                </a:lnTo>
                <a:lnTo>
                  <a:pt x="1972" y="12167"/>
                </a:lnTo>
                <a:lnTo>
                  <a:pt x="2069" y="12167"/>
                </a:lnTo>
                <a:lnTo>
                  <a:pt x="2118" y="12142"/>
                </a:lnTo>
                <a:lnTo>
                  <a:pt x="2191" y="12094"/>
                </a:lnTo>
                <a:lnTo>
                  <a:pt x="2215" y="12021"/>
                </a:lnTo>
                <a:lnTo>
                  <a:pt x="2264" y="11875"/>
                </a:lnTo>
                <a:lnTo>
                  <a:pt x="2288" y="11753"/>
                </a:lnTo>
                <a:lnTo>
                  <a:pt x="2288" y="11680"/>
                </a:lnTo>
                <a:lnTo>
                  <a:pt x="2288" y="11607"/>
                </a:lnTo>
                <a:lnTo>
                  <a:pt x="2264" y="11534"/>
                </a:lnTo>
                <a:lnTo>
                  <a:pt x="2215" y="11485"/>
                </a:lnTo>
                <a:lnTo>
                  <a:pt x="2142" y="11437"/>
                </a:lnTo>
                <a:close/>
                <a:moveTo>
                  <a:pt x="10221" y="11753"/>
                </a:moveTo>
                <a:lnTo>
                  <a:pt x="10123" y="11802"/>
                </a:lnTo>
                <a:lnTo>
                  <a:pt x="10075" y="11875"/>
                </a:lnTo>
                <a:lnTo>
                  <a:pt x="10075" y="11996"/>
                </a:lnTo>
                <a:lnTo>
                  <a:pt x="10123" y="12094"/>
                </a:lnTo>
                <a:lnTo>
                  <a:pt x="10172" y="12191"/>
                </a:lnTo>
                <a:lnTo>
                  <a:pt x="10342" y="12337"/>
                </a:lnTo>
                <a:lnTo>
                  <a:pt x="10440" y="12410"/>
                </a:lnTo>
                <a:lnTo>
                  <a:pt x="10561" y="12483"/>
                </a:lnTo>
                <a:lnTo>
                  <a:pt x="10683" y="12532"/>
                </a:lnTo>
                <a:lnTo>
                  <a:pt x="10829" y="12532"/>
                </a:lnTo>
                <a:lnTo>
                  <a:pt x="10926" y="12507"/>
                </a:lnTo>
                <a:lnTo>
                  <a:pt x="10999" y="12459"/>
                </a:lnTo>
                <a:lnTo>
                  <a:pt x="11048" y="12386"/>
                </a:lnTo>
                <a:lnTo>
                  <a:pt x="11072" y="12313"/>
                </a:lnTo>
                <a:lnTo>
                  <a:pt x="11072" y="12240"/>
                </a:lnTo>
                <a:lnTo>
                  <a:pt x="11048" y="12167"/>
                </a:lnTo>
                <a:lnTo>
                  <a:pt x="10975" y="12094"/>
                </a:lnTo>
                <a:lnTo>
                  <a:pt x="10902" y="12045"/>
                </a:lnTo>
                <a:lnTo>
                  <a:pt x="10756" y="12021"/>
                </a:lnTo>
                <a:lnTo>
                  <a:pt x="10634" y="11948"/>
                </a:lnTo>
                <a:lnTo>
                  <a:pt x="10488" y="11826"/>
                </a:lnTo>
                <a:lnTo>
                  <a:pt x="10415" y="11777"/>
                </a:lnTo>
                <a:lnTo>
                  <a:pt x="10318" y="11753"/>
                </a:lnTo>
                <a:close/>
                <a:moveTo>
                  <a:pt x="15306" y="11996"/>
                </a:moveTo>
                <a:lnTo>
                  <a:pt x="15257" y="12045"/>
                </a:lnTo>
                <a:lnTo>
                  <a:pt x="15136" y="12167"/>
                </a:lnTo>
                <a:lnTo>
                  <a:pt x="15014" y="12288"/>
                </a:lnTo>
                <a:lnTo>
                  <a:pt x="14868" y="12386"/>
                </a:lnTo>
                <a:lnTo>
                  <a:pt x="14795" y="12434"/>
                </a:lnTo>
                <a:lnTo>
                  <a:pt x="14722" y="12483"/>
                </a:lnTo>
                <a:lnTo>
                  <a:pt x="14698" y="12532"/>
                </a:lnTo>
                <a:lnTo>
                  <a:pt x="14698" y="12605"/>
                </a:lnTo>
                <a:lnTo>
                  <a:pt x="14722" y="12653"/>
                </a:lnTo>
                <a:lnTo>
                  <a:pt x="14746" y="12678"/>
                </a:lnTo>
                <a:lnTo>
                  <a:pt x="14868" y="12726"/>
                </a:lnTo>
                <a:lnTo>
                  <a:pt x="14990" y="12726"/>
                </a:lnTo>
                <a:lnTo>
                  <a:pt x="15111" y="12702"/>
                </a:lnTo>
                <a:lnTo>
                  <a:pt x="15209" y="12629"/>
                </a:lnTo>
                <a:lnTo>
                  <a:pt x="15330" y="12556"/>
                </a:lnTo>
                <a:lnTo>
                  <a:pt x="15428" y="12483"/>
                </a:lnTo>
                <a:lnTo>
                  <a:pt x="15501" y="12386"/>
                </a:lnTo>
                <a:lnTo>
                  <a:pt x="15574" y="12288"/>
                </a:lnTo>
                <a:lnTo>
                  <a:pt x="15598" y="12215"/>
                </a:lnTo>
                <a:lnTo>
                  <a:pt x="15598" y="12142"/>
                </a:lnTo>
                <a:lnTo>
                  <a:pt x="15574" y="12094"/>
                </a:lnTo>
                <a:lnTo>
                  <a:pt x="15525" y="12045"/>
                </a:lnTo>
                <a:lnTo>
                  <a:pt x="15452" y="11996"/>
                </a:lnTo>
                <a:close/>
                <a:moveTo>
                  <a:pt x="14114" y="12605"/>
                </a:moveTo>
                <a:lnTo>
                  <a:pt x="14041" y="12629"/>
                </a:lnTo>
                <a:lnTo>
                  <a:pt x="13968" y="12678"/>
                </a:lnTo>
                <a:lnTo>
                  <a:pt x="13895" y="12726"/>
                </a:lnTo>
                <a:lnTo>
                  <a:pt x="13797" y="12751"/>
                </a:lnTo>
                <a:lnTo>
                  <a:pt x="13700" y="12751"/>
                </a:lnTo>
                <a:lnTo>
                  <a:pt x="13578" y="12775"/>
                </a:lnTo>
                <a:lnTo>
                  <a:pt x="13481" y="12848"/>
                </a:lnTo>
                <a:lnTo>
                  <a:pt x="13432" y="12872"/>
                </a:lnTo>
                <a:lnTo>
                  <a:pt x="13408" y="12921"/>
                </a:lnTo>
                <a:lnTo>
                  <a:pt x="13408" y="12970"/>
                </a:lnTo>
                <a:lnTo>
                  <a:pt x="13432" y="13018"/>
                </a:lnTo>
                <a:lnTo>
                  <a:pt x="13457" y="13091"/>
                </a:lnTo>
                <a:lnTo>
                  <a:pt x="13505" y="13116"/>
                </a:lnTo>
                <a:lnTo>
                  <a:pt x="13603" y="13164"/>
                </a:lnTo>
                <a:lnTo>
                  <a:pt x="13724" y="13189"/>
                </a:lnTo>
                <a:lnTo>
                  <a:pt x="13870" y="13189"/>
                </a:lnTo>
                <a:lnTo>
                  <a:pt x="14016" y="13164"/>
                </a:lnTo>
                <a:lnTo>
                  <a:pt x="14162" y="13091"/>
                </a:lnTo>
                <a:lnTo>
                  <a:pt x="14284" y="12994"/>
                </a:lnTo>
                <a:lnTo>
                  <a:pt x="14333" y="12945"/>
                </a:lnTo>
                <a:lnTo>
                  <a:pt x="14357" y="12872"/>
                </a:lnTo>
                <a:lnTo>
                  <a:pt x="14357" y="12799"/>
                </a:lnTo>
                <a:lnTo>
                  <a:pt x="14357" y="12726"/>
                </a:lnTo>
                <a:lnTo>
                  <a:pt x="14333" y="12678"/>
                </a:lnTo>
                <a:lnTo>
                  <a:pt x="14284" y="12653"/>
                </a:lnTo>
                <a:lnTo>
                  <a:pt x="14235" y="12605"/>
                </a:lnTo>
                <a:close/>
                <a:moveTo>
                  <a:pt x="6668" y="512"/>
                </a:moveTo>
                <a:lnTo>
                  <a:pt x="6887" y="755"/>
                </a:lnTo>
                <a:lnTo>
                  <a:pt x="7130" y="950"/>
                </a:lnTo>
                <a:lnTo>
                  <a:pt x="7398" y="1120"/>
                </a:lnTo>
                <a:lnTo>
                  <a:pt x="7666" y="1290"/>
                </a:lnTo>
                <a:lnTo>
                  <a:pt x="8250" y="1558"/>
                </a:lnTo>
                <a:lnTo>
                  <a:pt x="8834" y="1801"/>
                </a:lnTo>
                <a:lnTo>
                  <a:pt x="9320" y="2020"/>
                </a:lnTo>
                <a:lnTo>
                  <a:pt x="9807" y="2215"/>
                </a:lnTo>
                <a:lnTo>
                  <a:pt x="10780" y="2604"/>
                </a:lnTo>
                <a:lnTo>
                  <a:pt x="11194" y="2799"/>
                </a:lnTo>
                <a:lnTo>
                  <a:pt x="11559" y="3018"/>
                </a:lnTo>
                <a:lnTo>
                  <a:pt x="11729" y="3115"/>
                </a:lnTo>
                <a:lnTo>
                  <a:pt x="11924" y="3188"/>
                </a:lnTo>
                <a:lnTo>
                  <a:pt x="12094" y="3261"/>
                </a:lnTo>
                <a:lnTo>
                  <a:pt x="12240" y="3358"/>
                </a:lnTo>
                <a:lnTo>
                  <a:pt x="12264" y="3407"/>
                </a:lnTo>
                <a:lnTo>
                  <a:pt x="12313" y="3456"/>
                </a:lnTo>
                <a:lnTo>
                  <a:pt x="12410" y="3480"/>
                </a:lnTo>
                <a:lnTo>
                  <a:pt x="12435" y="3942"/>
                </a:lnTo>
                <a:lnTo>
                  <a:pt x="11851" y="3650"/>
                </a:lnTo>
                <a:lnTo>
                  <a:pt x="11389" y="3407"/>
                </a:lnTo>
                <a:lnTo>
                  <a:pt x="11170" y="3310"/>
                </a:lnTo>
                <a:lnTo>
                  <a:pt x="10926" y="3237"/>
                </a:lnTo>
                <a:lnTo>
                  <a:pt x="10878" y="3237"/>
                </a:lnTo>
                <a:lnTo>
                  <a:pt x="10853" y="3261"/>
                </a:lnTo>
                <a:lnTo>
                  <a:pt x="10853" y="3285"/>
                </a:lnTo>
                <a:lnTo>
                  <a:pt x="10853" y="3310"/>
                </a:lnTo>
                <a:lnTo>
                  <a:pt x="11024" y="3480"/>
                </a:lnTo>
                <a:lnTo>
                  <a:pt x="11218" y="3626"/>
                </a:lnTo>
                <a:lnTo>
                  <a:pt x="11608" y="3869"/>
                </a:lnTo>
                <a:lnTo>
                  <a:pt x="12045" y="4113"/>
                </a:lnTo>
                <a:lnTo>
                  <a:pt x="12459" y="4307"/>
                </a:lnTo>
                <a:lnTo>
                  <a:pt x="12483" y="4818"/>
                </a:lnTo>
                <a:lnTo>
                  <a:pt x="12337" y="4770"/>
                </a:lnTo>
                <a:lnTo>
                  <a:pt x="12216" y="4721"/>
                </a:lnTo>
                <a:lnTo>
                  <a:pt x="12021" y="4672"/>
                </a:lnTo>
                <a:lnTo>
                  <a:pt x="11729" y="4526"/>
                </a:lnTo>
                <a:lnTo>
                  <a:pt x="11413" y="4380"/>
                </a:lnTo>
                <a:lnTo>
                  <a:pt x="11218" y="4259"/>
                </a:lnTo>
                <a:lnTo>
                  <a:pt x="11121" y="4234"/>
                </a:lnTo>
                <a:lnTo>
                  <a:pt x="11024" y="4210"/>
                </a:lnTo>
                <a:lnTo>
                  <a:pt x="10975" y="4210"/>
                </a:lnTo>
                <a:lnTo>
                  <a:pt x="10951" y="4259"/>
                </a:lnTo>
                <a:lnTo>
                  <a:pt x="10951" y="4283"/>
                </a:lnTo>
                <a:lnTo>
                  <a:pt x="10951" y="4332"/>
                </a:lnTo>
                <a:lnTo>
                  <a:pt x="11024" y="4429"/>
                </a:lnTo>
                <a:lnTo>
                  <a:pt x="11121" y="4526"/>
                </a:lnTo>
                <a:lnTo>
                  <a:pt x="11218" y="4599"/>
                </a:lnTo>
                <a:lnTo>
                  <a:pt x="11340" y="4672"/>
                </a:lnTo>
                <a:lnTo>
                  <a:pt x="11608" y="4818"/>
                </a:lnTo>
                <a:lnTo>
                  <a:pt x="11826" y="4916"/>
                </a:lnTo>
                <a:lnTo>
                  <a:pt x="12143" y="5037"/>
                </a:lnTo>
                <a:lnTo>
                  <a:pt x="12313" y="5086"/>
                </a:lnTo>
                <a:lnTo>
                  <a:pt x="12410" y="5086"/>
                </a:lnTo>
                <a:lnTo>
                  <a:pt x="12483" y="5062"/>
                </a:lnTo>
                <a:lnTo>
                  <a:pt x="12483" y="5743"/>
                </a:lnTo>
                <a:lnTo>
                  <a:pt x="12289" y="5621"/>
                </a:lnTo>
                <a:lnTo>
                  <a:pt x="12094" y="5475"/>
                </a:lnTo>
                <a:lnTo>
                  <a:pt x="11608" y="5256"/>
                </a:lnTo>
                <a:lnTo>
                  <a:pt x="11194" y="5110"/>
                </a:lnTo>
                <a:lnTo>
                  <a:pt x="11024" y="5062"/>
                </a:lnTo>
                <a:lnTo>
                  <a:pt x="10926" y="5062"/>
                </a:lnTo>
                <a:lnTo>
                  <a:pt x="10902" y="5086"/>
                </a:lnTo>
                <a:lnTo>
                  <a:pt x="10878" y="5110"/>
                </a:lnTo>
                <a:lnTo>
                  <a:pt x="10951" y="5232"/>
                </a:lnTo>
                <a:lnTo>
                  <a:pt x="11024" y="5305"/>
                </a:lnTo>
                <a:lnTo>
                  <a:pt x="11121" y="5378"/>
                </a:lnTo>
                <a:lnTo>
                  <a:pt x="11267" y="5451"/>
                </a:lnTo>
                <a:lnTo>
                  <a:pt x="11535" y="5548"/>
                </a:lnTo>
                <a:lnTo>
                  <a:pt x="11754" y="5646"/>
                </a:lnTo>
                <a:lnTo>
                  <a:pt x="12094" y="5792"/>
                </a:lnTo>
                <a:lnTo>
                  <a:pt x="12240" y="5889"/>
                </a:lnTo>
                <a:lnTo>
                  <a:pt x="12386" y="6011"/>
                </a:lnTo>
                <a:lnTo>
                  <a:pt x="12483" y="6108"/>
                </a:lnTo>
                <a:lnTo>
                  <a:pt x="12483" y="6254"/>
                </a:lnTo>
                <a:lnTo>
                  <a:pt x="12337" y="6157"/>
                </a:lnTo>
                <a:lnTo>
                  <a:pt x="12191" y="6084"/>
                </a:lnTo>
                <a:lnTo>
                  <a:pt x="11899" y="5938"/>
                </a:lnTo>
                <a:lnTo>
                  <a:pt x="11705" y="5816"/>
                </a:lnTo>
                <a:lnTo>
                  <a:pt x="11510" y="5743"/>
                </a:lnTo>
                <a:lnTo>
                  <a:pt x="11291" y="5670"/>
                </a:lnTo>
                <a:lnTo>
                  <a:pt x="11194" y="5670"/>
                </a:lnTo>
                <a:lnTo>
                  <a:pt x="11097" y="5694"/>
                </a:lnTo>
                <a:lnTo>
                  <a:pt x="11072" y="5694"/>
                </a:lnTo>
                <a:lnTo>
                  <a:pt x="11072" y="5719"/>
                </a:lnTo>
                <a:lnTo>
                  <a:pt x="11145" y="5816"/>
                </a:lnTo>
                <a:lnTo>
                  <a:pt x="11218" y="5889"/>
                </a:lnTo>
                <a:lnTo>
                  <a:pt x="11413" y="6035"/>
                </a:lnTo>
                <a:lnTo>
                  <a:pt x="11826" y="6254"/>
                </a:lnTo>
                <a:lnTo>
                  <a:pt x="12143" y="6449"/>
                </a:lnTo>
                <a:lnTo>
                  <a:pt x="12289" y="6522"/>
                </a:lnTo>
                <a:lnTo>
                  <a:pt x="12459" y="6570"/>
                </a:lnTo>
                <a:lnTo>
                  <a:pt x="12459" y="6838"/>
                </a:lnTo>
                <a:lnTo>
                  <a:pt x="12459" y="6862"/>
                </a:lnTo>
                <a:lnTo>
                  <a:pt x="12337" y="6765"/>
                </a:lnTo>
                <a:lnTo>
                  <a:pt x="12216" y="6668"/>
                </a:lnTo>
                <a:lnTo>
                  <a:pt x="12094" y="6619"/>
                </a:lnTo>
                <a:lnTo>
                  <a:pt x="11924" y="6546"/>
                </a:lnTo>
                <a:lnTo>
                  <a:pt x="11729" y="6473"/>
                </a:lnTo>
                <a:lnTo>
                  <a:pt x="11486" y="6424"/>
                </a:lnTo>
                <a:lnTo>
                  <a:pt x="11267" y="6376"/>
                </a:lnTo>
                <a:lnTo>
                  <a:pt x="11072" y="6303"/>
                </a:lnTo>
                <a:lnTo>
                  <a:pt x="11048" y="6303"/>
                </a:lnTo>
                <a:lnTo>
                  <a:pt x="11048" y="6327"/>
                </a:lnTo>
                <a:lnTo>
                  <a:pt x="11145" y="6449"/>
                </a:lnTo>
                <a:lnTo>
                  <a:pt x="11267" y="6546"/>
                </a:lnTo>
                <a:lnTo>
                  <a:pt x="11389" y="6619"/>
                </a:lnTo>
                <a:lnTo>
                  <a:pt x="11535" y="6692"/>
                </a:lnTo>
                <a:lnTo>
                  <a:pt x="11948" y="6862"/>
                </a:lnTo>
                <a:lnTo>
                  <a:pt x="12143" y="6960"/>
                </a:lnTo>
                <a:lnTo>
                  <a:pt x="12216" y="7033"/>
                </a:lnTo>
                <a:lnTo>
                  <a:pt x="12289" y="7106"/>
                </a:lnTo>
                <a:lnTo>
                  <a:pt x="12362" y="7179"/>
                </a:lnTo>
                <a:lnTo>
                  <a:pt x="12459" y="7179"/>
                </a:lnTo>
                <a:lnTo>
                  <a:pt x="12459" y="7592"/>
                </a:lnTo>
                <a:lnTo>
                  <a:pt x="12264" y="7495"/>
                </a:lnTo>
                <a:lnTo>
                  <a:pt x="12070" y="7422"/>
                </a:lnTo>
                <a:lnTo>
                  <a:pt x="11802" y="7349"/>
                </a:lnTo>
                <a:lnTo>
                  <a:pt x="11389" y="7106"/>
                </a:lnTo>
                <a:lnTo>
                  <a:pt x="11121" y="7008"/>
                </a:lnTo>
                <a:lnTo>
                  <a:pt x="11024" y="6984"/>
                </a:lnTo>
                <a:lnTo>
                  <a:pt x="10999" y="6984"/>
                </a:lnTo>
                <a:lnTo>
                  <a:pt x="10975" y="7008"/>
                </a:lnTo>
                <a:lnTo>
                  <a:pt x="10975" y="7057"/>
                </a:lnTo>
                <a:lnTo>
                  <a:pt x="10975" y="7106"/>
                </a:lnTo>
                <a:lnTo>
                  <a:pt x="10999" y="7227"/>
                </a:lnTo>
                <a:lnTo>
                  <a:pt x="11097" y="7325"/>
                </a:lnTo>
                <a:lnTo>
                  <a:pt x="11194" y="7398"/>
                </a:lnTo>
                <a:lnTo>
                  <a:pt x="11437" y="7544"/>
                </a:lnTo>
                <a:lnTo>
                  <a:pt x="11632" y="7641"/>
                </a:lnTo>
                <a:lnTo>
                  <a:pt x="11997" y="7836"/>
                </a:lnTo>
                <a:lnTo>
                  <a:pt x="12240" y="7909"/>
                </a:lnTo>
                <a:lnTo>
                  <a:pt x="12362" y="7933"/>
                </a:lnTo>
                <a:lnTo>
                  <a:pt x="12459" y="7957"/>
                </a:lnTo>
                <a:lnTo>
                  <a:pt x="12459" y="8298"/>
                </a:lnTo>
                <a:lnTo>
                  <a:pt x="12216" y="8176"/>
                </a:lnTo>
                <a:lnTo>
                  <a:pt x="11972" y="8055"/>
                </a:lnTo>
                <a:lnTo>
                  <a:pt x="11754" y="7909"/>
                </a:lnTo>
                <a:lnTo>
                  <a:pt x="11535" y="7738"/>
                </a:lnTo>
                <a:lnTo>
                  <a:pt x="11413" y="7665"/>
                </a:lnTo>
                <a:lnTo>
                  <a:pt x="11291" y="7617"/>
                </a:lnTo>
                <a:lnTo>
                  <a:pt x="11170" y="7592"/>
                </a:lnTo>
                <a:lnTo>
                  <a:pt x="11048" y="7568"/>
                </a:lnTo>
                <a:lnTo>
                  <a:pt x="11048" y="7592"/>
                </a:lnTo>
                <a:lnTo>
                  <a:pt x="11024" y="7617"/>
                </a:lnTo>
                <a:lnTo>
                  <a:pt x="11072" y="7714"/>
                </a:lnTo>
                <a:lnTo>
                  <a:pt x="11145" y="7836"/>
                </a:lnTo>
                <a:lnTo>
                  <a:pt x="11243" y="7933"/>
                </a:lnTo>
                <a:lnTo>
                  <a:pt x="11364" y="8006"/>
                </a:lnTo>
                <a:lnTo>
                  <a:pt x="11583" y="8176"/>
                </a:lnTo>
                <a:lnTo>
                  <a:pt x="11802" y="8322"/>
                </a:lnTo>
                <a:lnTo>
                  <a:pt x="12118" y="8493"/>
                </a:lnTo>
                <a:lnTo>
                  <a:pt x="12289" y="8590"/>
                </a:lnTo>
                <a:lnTo>
                  <a:pt x="12459" y="8663"/>
                </a:lnTo>
                <a:lnTo>
                  <a:pt x="12483" y="9101"/>
                </a:lnTo>
                <a:lnTo>
                  <a:pt x="12435" y="9028"/>
                </a:lnTo>
                <a:lnTo>
                  <a:pt x="12386" y="8979"/>
                </a:lnTo>
                <a:lnTo>
                  <a:pt x="12216" y="8882"/>
                </a:lnTo>
                <a:lnTo>
                  <a:pt x="11899" y="8736"/>
                </a:lnTo>
                <a:lnTo>
                  <a:pt x="11559" y="8517"/>
                </a:lnTo>
                <a:lnTo>
                  <a:pt x="11364" y="8420"/>
                </a:lnTo>
                <a:lnTo>
                  <a:pt x="11291" y="8395"/>
                </a:lnTo>
                <a:lnTo>
                  <a:pt x="11194" y="8371"/>
                </a:lnTo>
                <a:lnTo>
                  <a:pt x="11170" y="8371"/>
                </a:lnTo>
                <a:lnTo>
                  <a:pt x="11170" y="8395"/>
                </a:lnTo>
                <a:lnTo>
                  <a:pt x="11194" y="8493"/>
                </a:lnTo>
                <a:lnTo>
                  <a:pt x="11218" y="8566"/>
                </a:lnTo>
                <a:lnTo>
                  <a:pt x="11364" y="8712"/>
                </a:lnTo>
                <a:lnTo>
                  <a:pt x="11535" y="8858"/>
                </a:lnTo>
                <a:lnTo>
                  <a:pt x="11681" y="8955"/>
                </a:lnTo>
                <a:lnTo>
                  <a:pt x="11851" y="9052"/>
                </a:lnTo>
                <a:lnTo>
                  <a:pt x="12070" y="9174"/>
                </a:lnTo>
                <a:lnTo>
                  <a:pt x="12167" y="9223"/>
                </a:lnTo>
                <a:lnTo>
                  <a:pt x="12264" y="9247"/>
                </a:lnTo>
                <a:lnTo>
                  <a:pt x="12362" y="9247"/>
                </a:lnTo>
                <a:lnTo>
                  <a:pt x="12459" y="9223"/>
                </a:lnTo>
                <a:lnTo>
                  <a:pt x="12483" y="9198"/>
                </a:lnTo>
                <a:lnTo>
                  <a:pt x="12508" y="10025"/>
                </a:lnTo>
                <a:lnTo>
                  <a:pt x="12386" y="9879"/>
                </a:lnTo>
                <a:lnTo>
                  <a:pt x="12240" y="9758"/>
                </a:lnTo>
                <a:lnTo>
                  <a:pt x="11924" y="9515"/>
                </a:lnTo>
                <a:lnTo>
                  <a:pt x="11608" y="9296"/>
                </a:lnTo>
                <a:lnTo>
                  <a:pt x="11267" y="9101"/>
                </a:lnTo>
                <a:lnTo>
                  <a:pt x="11243" y="9077"/>
                </a:lnTo>
                <a:lnTo>
                  <a:pt x="11218" y="9101"/>
                </a:lnTo>
                <a:lnTo>
                  <a:pt x="11218" y="9125"/>
                </a:lnTo>
                <a:lnTo>
                  <a:pt x="11218" y="9150"/>
                </a:lnTo>
                <a:lnTo>
                  <a:pt x="11340" y="9296"/>
                </a:lnTo>
                <a:lnTo>
                  <a:pt x="11462" y="9466"/>
                </a:lnTo>
                <a:lnTo>
                  <a:pt x="11608" y="9612"/>
                </a:lnTo>
                <a:lnTo>
                  <a:pt x="11754" y="9733"/>
                </a:lnTo>
                <a:lnTo>
                  <a:pt x="11924" y="9855"/>
                </a:lnTo>
                <a:lnTo>
                  <a:pt x="12094" y="9952"/>
                </a:lnTo>
                <a:lnTo>
                  <a:pt x="12289" y="10050"/>
                </a:lnTo>
                <a:lnTo>
                  <a:pt x="12459" y="10098"/>
                </a:lnTo>
                <a:lnTo>
                  <a:pt x="12508" y="10098"/>
                </a:lnTo>
                <a:lnTo>
                  <a:pt x="12508" y="10488"/>
                </a:lnTo>
                <a:lnTo>
                  <a:pt x="12289" y="10317"/>
                </a:lnTo>
                <a:lnTo>
                  <a:pt x="11802" y="10001"/>
                </a:lnTo>
                <a:lnTo>
                  <a:pt x="11608" y="9855"/>
                </a:lnTo>
                <a:lnTo>
                  <a:pt x="11486" y="9782"/>
                </a:lnTo>
                <a:lnTo>
                  <a:pt x="11389" y="9733"/>
                </a:lnTo>
                <a:lnTo>
                  <a:pt x="11364" y="9758"/>
                </a:lnTo>
                <a:lnTo>
                  <a:pt x="11364" y="9855"/>
                </a:lnTo>
                <a:lnTo>
                  <a:pt x="11389" y="9952"/>
                </a:lnTo>
                <a:lnTo>
                  <a:pt x="11437" y="10050"/>
                </a:lnTo>
                <a:lnTo>
                  <a:pt x="11510" y="10147"/>
                </a:lnTo>
                <a:lnTo>
                  <a:pt x="11681" y="10317"/>
                </a:lnTo>
                <a:lnTo>
                  <a:pt x="11851" y="10439"/>
                </a:lnTo>
                <a:lnTo>
                  <a:pt x="12094" y="10585"/>
                </a:lnTo>
                <a:lnTo>
                  <a:pt x="12313" y="10780"/>
                </a:lnTo>
                <a:lnTo>
                  <a:pt x="12410" y="10877"/>
                </a:lnTo>
                <a:lnTo>
                  <a:pt x="12508" y="10999"/>
                </a:lnTo>
                <a:lnTo>
                  <a:pt x="12483" y="11291"/>
                </a:lnTo>
                <a:lnTo>
                  <a:pt x="11875" y="10901"/>
                </a:lnTo>
                <a:lnTo>
                  <a:pt x="11705" y="10780"/>
                </a:lnTo>
                <a:lnTo>
                  <a:pt x="11535" y="10658"/>
                </a:lnTo>
                <a:lnTo>
                  <a:pt x="11462" y="10609"/>
                </a:lnTo>
                <a:lnTo>
                  <a:pt x="11364" y="10585"/>
                </a:lnTo>
                <a:lnTo>
                  <a:pt x="11267" y="10561"/>
                </a:lnTo>
                <a:lnTo>
                  <a:pt x="11145" y="10585"/>
                </a:lnTo>
                <a:lnTo>
                  <a:pt x="11121" y="10609"/>
                </a:lnTo>
                <a:lnTo>
                  <a:pt x="11145" y="10634"/>
                </a:lnTo>
                <a:lnTo>
                  <a:pt x="11291" y="10780"/>
                </a:lnTo>
                <a:lnTo>
                  <a:pt x="11413" y="10926"/>
                </a:lnTo>
                <a:lnTo>
                  <a:pt x="11535" y="11072"/>
                </a:lnTo>
                <a:lnTo>
                  <a:pt x="11705" y="11218"/>
                </a:lnTo>
                <a:lnTo>
                  <a:pt x="12070" y="11485"/>
                </a:lnTo>
                <a:lnTo>
                  <a:pt x="12483" y="11729"/>
                </a:lnTo>
                <a:lnTo>
                  <a:pt x="12459" y="12094"/>
                </a:lnTo>
                <a:lnTo>
                  <a:pt x="12191" y="11923"/>
                </a:lnTo>
                <a:lnTo>
                  <a:pt x="11948" y="11777"/>
                </a:lnTo>
                <a:lnTo>
                  <a:pt x="11559" y="11558"/>
                </a:lnTo>
                <a:lnTo>
                  <a:pt x="11170" y="11388"/>
                </a:lnTo>
                <a:lnTo>
                  <a:pt x="11145" y="11388"/>
                </a:lnTo>
                <a:lnTo>
                  <a:pt x="11145" y="11485"/>
                </a:lnTo>
                <a:lnTo>
                  <a:pt x="11170" y="11558"/>
                </a:lnTo>
                <a:lnTo>
                  <a:pt x="11243" y="11704"/>
                </a:lnTo>
                <a:lnTo>
                  <a:pt x="11364" y="11850"/>
                </a:lnTo>
                <a:lnTo>
                  <a:pt x="11510" y="11948"/>
                </a:lnTo>
                <a:lnTo>
                  <a:pt x="11754" y="12118"/>
                </a:lnTo>
                <a:lnTo>
                  <a:pt x="12021" y="12288"/>
                </a:lnTo>
                <a:lnTo>
                  <a:pt x="12216" y="12434"/>
                </a:lnTo>
                <a:lnTo>
                  <a:pt x="12435" y="12556"/>
                </a:lnTo>
                <a:lnTo>
                  <a:pt x="12435" y="12799"/>
                </a:lnTo>
                <a:lnTo>
                  <a:pt x="12337" y="12824"/>
                </a:lnTo>
                <a:lnTo>
                  <a:pt x="12264" y="12848"/>
                </a:lnTo>
                <a:lnTo>
                  <a:pt x="12143" y="12775"/>
                </a:lnTo>
                <a:lnTo>
                  <a:pt x="11972" y="12629"/>
                </a:lnTo>
                <a:lnTo>
                  <a:pt x="11802" y="12507"/>
                </a:lnTo>
                <a:lnTo>
                  <a:pt x="11632" y="12361"/>
                </a:lnTo>
                <a:lnTo>
                  <a:pt x="11462" y="12240"/>
                </a:lnTo>
                <a:lnTo>
                  <a:pt x="11413" y="12240"/>
                </a:lnTo>
                <a:lnTo>
                  <a:pt x="11413" y="12288"/>
                </a:lnTo>
                <a:lnTo>
                  <a:pt x="11413" y="12361"/>
                </a:lnTo>
                <a:lnTo>
                  <a:pt x="11413" y="12434"/>
                </a:lnTo>
                <a:lnTo>
                  <a:pt x="11486" y="12605"/>
                </a:lnTo>
                <a:lnTo>
                  <a:pt x="11389" y="12605"/>
                </a:lnTo>
                <a:lnTo>
                  <a:pt x="11267" y="12653"/>
                </a:lnTo>
                <a:lnTo>
                  <a:pt x="11243" y="12678"/>
                </a:lnTo>
                <a:lnTo>
                  <a:pt x="11218" y="12726"/>
                </a:lnTo>
                <a:lnTo>
                  <a:pt x="11218" y="12775"/>
                </a:lnTo>
                <a:lnTo>
                  <a:pt x="11218" y="12848"/>
                </a:lnTo>
                <a:lnTo>
                  <a:pt x="11291" y="12921"/>
                </a:lnTo>
                <a:lnTo>
                  <a:pt x="11364" y="12994"/>
                </a:lnTo>
                <a:lnTo>
                  <a:pt x="11486" y="13043"/>
                </a:lnTo>
                <a:lnTo>
                  <a:pt x="11583" y="13091"/>
                </a:lnTo>
                <a:lnTo>
                  <a:pt x="11705" y="13140"/>
                </a:lnTo>
                <a:lnTo>
                  <a:pt x="11802" y="13140"/>
                </a:lnTo>
                <a:lnTo>
                  <a:pt x="11924" y="13116"/>
                </a:lnTo>
                <a:lnTo>
                  <a:pt x="12021" y="13067"/>
                </a:lnTo>
                <a:lnTo>
                  <a:pt x="12240" y="13189"/>
                </a:lnTo>
                <a:lnTo>
                  <a:pt x="12410" y="13335"/>
                </a:lnTo>
                <a:lnTo>
                  <a:pt x="12386" y="13602"/>
                </a:lnTo>
                <a:lnTo>
                  <a:pt x="11802" y="13286"/>
                </a:lnTo>
                <a:lnTo>
                  <a:pt x="11510" y="13140"/>
                </a:lnTo>
                <a:lnTo>
                  <a:pt x="11194" y="13018"/>
                </a:lnTo>
                <a:lnTo>
                  <a:pt x="11170" y="13018"/>
                </a:lnTo>
                <a:lnTo>
                  <a:pt x="11145" y="13116"/>
                </a:lnTo>
                <a:lnTo>
                  <a:pt x="11170" y="13213"/>
                </a:lnTo>
                <a:lnTo>
                  <a:pt x="11218" y="13286"/>
                </a:lnTo>
                <a:lnTo>
                  <a:pt x="11291" y="13359"/>
                </a:lnTo>
                <a:lnTo>
                  <a:pt x="11437" y="13456"/>
                </a:lnTo>
                <a:lnTo>
                  <a:pt x="11608" y="13529"/>
                </a:lnTo>
                <a:lnTo>
                  <a:pt x="11802" y="13651"/>
                </a:lnTo>
                <a:lnTo>
                  <a:pt x="11997" y="13773"/>
                </a:lnTo>
                <a:lnTo>
                  <a:pt x="12191" y="13894"/>
                </a:lnTo>
                <a:lnTo>
                  <a:pt x="12386" y="14016"/>
                </a:lnTo>
                <a:lnTo>
                  <a:pt x="12386" y="14332"/>
                </a:lnTo>
                <a:lnTo>
                  <a:pt x="11851" y="13943"/>
                </a:lnTo>
                <a:lnTo>
                  <a:pt x="11705" y="13846"/>
                </a:lnTo>
                <a:lnTo>
                  <a:pt x="11510" y="13724"/>
                </a:lnTo>
                <a:lnTo>
                  <a:pt x="11413" y="13700"/>
                </a:lnTo>
                <a:lnTo>
                  <a:pt x="11316" y="13675"/>
                </a:lnTo>
                <a:lnTo>
                  <a:pt x="11218" y="13675"/>
                </a:lnTo>
                <a:lnTo>
                  <a:pt x="11121" y="13700"/>
                </a:lnTo>
                <a:lnTo>
                  <a:pt x="11121" y="13724"/>
                </a:lnTo>
                <a:lnTo>
                  <a:pt x="11121" y="13748"/>
                </a:lnTo>
                <a:lnTo>
                  <a:pt x="11145" y="13821"/>
                </a:lnTo>
                <a:lnTo>
                  <a:pt x="11218" y="13919"/>
                </a:lnTo>
                <a:lnTo>
                  <a:pt x="11364" y="14040"/>
                </a:lnTo>
                <a:lnTo>
                  <a:pt x="11729" y="14284"/>
                </a:lnTo>
                <a:lnTo>
                  <a:pt x="12045" y="14551"/>
                </a:lnTo>
                <a:lnTo>
                  <a:pt x="12191" y="14673"/>
                </a:lnTo>
                <a:lnTo>
                  <a:pt x="12386" y="14795"/>
                </a:lnTo>
                <a:lnTo>
                  <a:pt x="12386" y="15281"/>
                </a:lnTo>
                <a:lnTo>
                  <a:pt x="12289" y="15184"/>
                </a:lnTo>
                <a:lnTo>
                  <a:pt x="12167" y="15087"/>
                </a:lnTo>
                <a:lnTo>
                  <a:pt x="12021" y="14916"/>
                </a:lnTo>
                <a:lnTo>
                  <a:pt x="11851" y="14746"/>
                </a:lnTo>
                <a:lnTo>
                  <a:pt x="11656" y="14600"/>
                </a:lnTo>
                <a:lnTo>
                  <a:pt x="11413" y="14503"/>
                </a:lnTo>
                <a:lnTo>
                  <a:pt x="11170" y="14430"/>
                </a:lnTo>
                <a:lnTo>
                  <a:pt x="10926" y="14430"/>
                </a:lnTo>
                <a:lnTo>
                  <a:pt x="10902" y="14454"/>
                </a:lnTo>
                <a:lnTo>
                  <a:pt x="10902" y="14478"/>
                </a:lnTo>
                <a:lnTo>
                  <a:pt x="10975" y="14551"/>
                </a:lnTo>
                <a:lnTo>
                  <a:pt x="11024" y="14600"/>
                </a:lnTo>
                <a:lnTo>
                  <a:pt x="11194" y="14697"/>
                </a:lnTo>
                <a:lnTo>
                  <a:pt x="11462" y="14892"/>
                </a:lnTo>
                <a:lnTo>
                  <a:pt x="11608" y="14989"/>
                </a:lnTo>
                <a:lnTo>
                  <a:pt x="11729" y="15111"/>
                </a:lnTo>
                <a:lnTo>
                  <a:pt x="11875" y="15281"/>
                </a:lnTo>
                <a:lnTo>
                  <a:pt x="12021" y="15452"/>
                </a:lnTo>
                <a:lnTo>
                  <a:pt x="12118" y="15525"/>
                </a:lnTo>
                <a:lnTo>
                  <a:pt x="12191" y="15573"/>
                </a:lnTo>
                <a:lnTo>
                  <a:pt x="12313" y="15622"/>
                </a:lnTo>
                <a:lnTo>
                  <a:pt x="12410" y="15646"/>
                </a:lnTo>
                <a:lnTo>
                  <a:pt x="12435" y="16133"/>
                </a:lnTo>
                <a:lnTo>
                  <a:pt x="12386" y="16133"/>
                </a:lnTo>
                <a:lnTo>
                  <a:pt x="12362" y="16084"/>
                </a:lnTo>
                <a:lnTo>
                  <a:pt x="12240" y="15963"/>
                </a:lnTo>
                <a:lnTo>
                  <a:pt x="12070" y="15841"/>
                </a:lnTo>
                <a:lnTo>
                  <a:pt x="11754" y="15622"/>
                </a:lnTo>
                <a:lnTo>
                  <a:pt x="11413" y="15354"/>
                </a:lnTo>
                <a:lnTo>
                  <a:pt x="11243" y="15233"/>
                </a:lnTo>
                <a:lnTo>
                  <a:pt x="11072" y="15160"/>
                </a:lnTo>
                <a:lnTo>
                  <a:pt x="11048" y="15160"/>
                </a:lnTo>
                <a:lnTo>
                  <a:pt x="11024" y="15184"/>
                </a:lnTo>
                <a:lnTo>
                  <a:pt x="11048" y="15281"/>
                </a:lnTo>
                <a:lnTo>
                  <a:pt x="11072" y="15354"/>
                </a:lnTo>
                <a:lnTo>
                  <a:pt x="11170" y="15500"/>
                </a:lnTo>
                <a:lnTo>
                  <a:pt x="11291" y="15622"/>
                </a:lnTo>
                <a:lnTo>
                  <a:pt x="11437" y="15744"/>
                </a:lnTo>
                <a:lnTo>
                  <a:pt x="11218" y="15646"/>
                </a:lnTo>
                <a:lnTo>
                  <a:pt x="9564" y="14916"/>
                </a:lnTo>
                <a:lnTo>
                  <a:pt x="8055" y="14259"/>
                </a:lnTo>
                <a:lnTo>
                  <a:pt x="7301" y="13894"/>
                </a:lnTo>
                <a:lnTo>
                  <a:pt x="7130" y="13797"/>
                </a:lnTo>
                <a:lnTo>
                  <a:pt x="6863" y="13675"/>
                </a:lnTo>
                <a:lnTo>
                  <a:pt x="6863" y="13602"/>
                </a:lnTo>
                <a:lnTo>
                  <a:pt x="6814" y="12775"/>
                </a:lnTo>
                <a:lnTo>
                  <a:pt x="6765" y="11972"/>
                </a:lnTo>
                <a:lnTo>
                  <a:pt x="6692" y="11145"/>
                </a:lnTo>
                <a:lnTo>
                  <a:pt x="6668" y="10317"/>
                </a:lnTo>
                <a:lnTo>
                  <a:pt x="6668" y="9393"/>
                </a:lnTo>
                <a:lnTo>
                  <a:pt x="6692" y="8493"/>
                </a:lnTo>
                <a:lnTo>
                  <a:pt x="6717" y="7568"/>
                </a:lnTo>
                <a:lnTo>
                  <a:pt x="6717" y="6643"/>
                </a:lnTo>
                <a:lnTo>
                  <a:pt x="6717" y="5889"/>
                </a:lnTo>
                <a:lnTo>
                  <a:pt x="6863" y="5913"/>
                </a:lnTo>
                <a:lnTo>
                  <a:pt x="6936" y="5938"/>
                </a:lnTo>
                <a:lnTo>
                  <a:pt x="7033" y="5962"/>
                </a:lnTo>
                <a:lnTo>
                  <a:pt x="7130" y="5938"/>
                </a:lnTo>
                <a:lnTo>
                  <a:pt x="7228" y="5865"/>
                </a:lnTo>
                <a:lnTo>
                  <a:pt x="7252" y="5816"/>
                </a:lnTo>
                <a:lnTo>
                  <a:pt x="7276" y="5767"/>
                </a:lnTo>
                <a:lnTo>
                  <a:pt x="7276" y="5670"/>
                </a:lnTo>
                <a:lnTo>
                  <a:pt x="7252" y="5573"/>
                </a:lnTo>
                <a:lnTo>
                  <a:pt x="7179" y="5500"/>
                </a:lnTo>
                <a:lnTo>
                  <a:pt x="7082" y="5451"/>
                </a:lnTo>
                <a:lnTo>
                  <a:pt x="7033" y="5427"/>
                </a:lnTo>
                <a:lnTo>
                  <a:pt x="6960" y="5402"/>
                </a:lnTo>
                <a:lnTo>
                  <a:pt x="6887" y="5427"/>
                </a:lnTo>
                <a:lnTo>
                  <a:pt x="6814" y="5451"/>
                </a:lnTo>
                <a:lnTo>
                  <a:pt x="6790" y="5451"/>
                </a:lnTo>
                <a:lnTo>
                  <a:pt x="6692" y="5500"/>
                </a:lnTo>
                <a:lnTo>
                  <a:pt x="6644" y="3018"/>
                </a:lnTo>
                <a:lnTo>
                  <a:pt x="6644" y="1752"/>
                </a:lnTo>
                <a:lnTo>
                  <a:pt x="6668" y="512"/>
                </a:lnTo>
                <a:close/>
                <a:moveTo>
                  <a:pt x="6206" y="585"/>
                </a:moveTo>
                <a:lnTo>
                  <a:pt x="6181" y="852"/>
                </a:lnTo>
                <a:lnTo>
                  <a:pt x="6181" y="1096"/>
                </a:lnTo>
                <a:lnTo>
                  <a:pt x="6181" y="1874"/>
                </a:lnTo>
                <a:lnTo>
                  <a:pt x="6181" y="2653"/>
                </a:lnTo>
                <a:lnTo>
                  <a:pt x="6181" y="3602"/>
                </a:lnTo>
                <a:lnTo>
                  <a:pt x="6181" y="4551"/>
                </a:lnTo>
                <a:lnTo>
                  <a:pt x="6230" y="6449"/>
                </a:lnTo>
                <a:lnTo>
                  <a:pt x="6230" y="7373"/>
                </a:lnTo>
                <a:lnTo>
                  <a:pt x="6206" y="8298"/>
                </a:lnTo>
                <a:lnTo>
                  <a:pt x="6181" y="9198"/>
                </a:lnTo>
                <a:lnTo>
                  <a:pt x="6133" y="10123"/>
                </a:lnTo>
                <a:lnTo>
                  <a:pt x="6157" y="10926"/>
                </a:lnTo>
                <a:lnTo>
                  <a:pt x="6206" y="11729"/>
                </a:lnTo>
                <a:lnTo>
                  <a:pt x="6254" y="12532"/>
                </a:lnTo>
                <a:lnTo>
                  <a:pt x="6279" y="13335"/>
                </a:lnTo>
                <a:lnTo>
                  <a:pt x="6206" y="13359"/>
                </a:lnTo>
                <a:lnTo>
                  <a:pt x="5451" y="13748"/>
                </a:lnTo>
                <a:lnTo>
                  <a:pt x="4721" y="14186"/>
                </a:lnTo>
                <a:lnTo>
                  <a:pt x="3262" y="15087"/>
                </a:lnTo>
                <a:lnTo>
                  <a:pt x="2897" y="15281"/>
                </a:lnTo>
                <a:lnTo>
                  <a:pt x="2532" y="15476"/>
                </a:lnTo>
                <a:lnTo>
                  <a:pt x="2142" y="15671"/>
                </a:lnTo>
                <a:lnTo>
                  <a:pt x="1753" y="15841"/>
                </a:lnTo>
                <a:lnTo>
                  <a:pt x="950" y="16133"/>
                </a:lnTo>
                <a:lnTo>
                  <a:pt x="634" y="16255"/>
                </a:lnTo>
                <a:lnTo>
                  <a:pt x="634" y="16279"/>
                </a:lnTo>
                <a:lnTo>
                  <a:pt x="585" y="15938"/>
                </a:lnTo>
                <a:lnTo>
                  <a:pt x="561" y="15573"/>
                </a:lnTo>
                <a:lnTo>
                  <a:pt x="536" y="15208"/>
                </a:lnTo>
                <a:lnTo>
                  <a:pt x="512" y="14868"/>
                </a:lnTo>
                <a:lnTo>
                  <a:pt x="439" y="14430"/>
                </a:lnTo>
                <a:lnTo>
                  <a:pt x="415" y="13992"/>
                </a:lnTo>
                <a:lnTo>
                  <a:pt x="415" y="13578"/>
                </a:lnTo>
                <a:lnTo>
                  <a:pt x="439" y="13140"/>
                </a:lnTo>
                <a:lnTo>
                  <a:pt x="512" y="11461"/>
                </a:lnTo>
                <a:lnTo>
                  <a:pt x="561" y="10634"/>
                </a:lnTo>
                <a:lnTo>
                  <a:pt x="585" y="9782"/>
                </a:lnTo>
                <a:lnTo>
                  <a:pt x="609" y="8225"/>
                </a:lnTo>
                <a:lnTo>
                  <a:pt x="609" y="6668"/>
                </a:lnTo>
                <a:lnTo>
                  <a:pt x="561" y="5110"/>
                </a:lnTo>
                <a:lnTo>
                  <a:pt x="536" y="4356"/>
                </a:lnTo>
                <a:lnTo>
                  <a:pt x="488" y="3577"/>
                </a:lnTo>
                <a:lnTo>
                  <a:pt x="609" y="3504"/>
                </a:lnTo>
                <a:lnTo>
                  <a:pt x="755" y="3407"/>
                </a:lnTo>
                <a:lnTo>
                  <a:pt x="1145" y="3164"/>
                </a:lnTo>
                <a:lnTo>
                  <a:pt x="1558" y="2920"/>
                </a:lnTo>
                <a:lnTo>
                  <a:pt x="2337" y="2507"/>
                </a:lnTo>
                <a:lnTo>
                  <a:pt x="3116" y="2093"/>
                </a:lnTo>
                <a:lnTo>
                  <a:pt x="3529" y="1850"/>
                </a:lnTo>
                <a:lnTo>
                  <a:pt x="3967" y="1655"/>
                </a:lnTo>
                <a:lnTo>
                  <a:pt x="4405" y="1461"/>
                </a:lnTo>
                <a:lnTo>
                  <a:pt x="4843" y="1290"/>
                </a:lnTo>
                <a:lnTo>
                  <a:pt x="5208" y="1144"/>
                </a:lnTo>
                <a:lnTo>
                  <a:pt x="5549" y="974"/>
                </a:lnTo>
                <a:lnTo>
                  <a:pt x="6206" y="585"/>
                </a:lnTo>
                <a:close/>
                <a:moveTo>
                  <a:pt x="18542" y="804"/>
                </a:moveTo>
                <a:lnTo>
                  <a:pt x="18518" y="1023"/>
                </a:lnTo>
                <a:lnTo>
                  <a:pt x="18518" y="1266"/>
                </a:lnTo>
                <a:lnTo>
                  <a:pt x="18518" y="1752"/>
                </a:lnTo>
                <a:lnTo>
                  <a:pt x="18567" y="2263"/>
                </a:lnTo>
                <a:lnTo>
                  <a:pt x="18567" y="2726"/>
                </a:lnTo>
                <a:lnTo>
                  <a:pt x="18542" y="4648"/>
                </a:lnTo>
                <a:lnTo>
                  <a:pt x="18494" y="6546"/>
                </a:lnTo>
                <a:lnTo>
                  <a:pt x="18469" y="8249"/>
                </a:lnTo>
                <a:lnTo>
                  <a:pt x="18494" y="9952"/>
                </a:lnTo>
                <a:lnTo>
                  <a:pt x="18567" y="13359"/>
                </a:lnTo>
                <a:lnTo>
                  <a:pt x="18542" y="13359"/>
                </a:lnTo>
                <a:lnTo>
                  <a:pt x="18396" y="13505"/>
                </a:lnTo>
                <a:lnTo>
                  <a:pt x="18226" y="13651"/>
                </a:lnTo>
                <a:lnTo>
                  <a:pt x="18031" y="13748"/>
                </a:lnTo>
                <a:lnTo>
                  <a:pt x="17837" y="13846"/>
                </a:lnTo>
                <a:lnTo>
                  <a:pt x="17423" y="14016"/>
                </a:lnTo>
                <a:lnTo>
                  <a:pt x="17009" y="14186"/>
                </a:lnTo>
                <a:lnTo>
                  <a:pt x="16474" y="14454"/>
                </a:lnTo>
                <a:lnTo>
                  <a:pt x="15963" y="14746"/>
                </a:lnTo>
                <a:lnTo>
                  <a:pt x="15452" y="15038"/>
                </a:lnTo>
                <a:lnTo>
                  <a:pt x="14941" y="15330"/>
                </a:lnTo>
                <a:lnTo>
                  <a:pt x="14479" y="15598"/>
                </a:lnTo>
                <a:lnTo>
                  <a:pt x="14016" y="15865"/>
                </a:lnTo>
                <a:lnTo>
                  <a:pt x="13773" y="15987"/>
                </a:lnTo>
                <a:lnTo>
                  <a:pt x="13530" y="16109"/>
                </a:lnTo>
                <a:lnTo>
                  <a:pt x="13286" y="16182"/>
                </a:lnTo>
                <a:lnTo>
                  <a:pt x="13043" y="16255"/>
                </a:lnTo>
                <a:lnTo>
                  <a:pt x="12921" y="16303"/>
                </a:lnTo>
                <a:lnTo>
                  <a:pt x="12921" y="15987"/>
                </a:lnTo>
                <a:lnTo>
                  <a:pt x="12897" y="15671"/>
                </a:lnTo>
                <a:lnTo>
                  <a:pt x="12873" y="15379"/>
                </a:lnTo>
                <a:lnTo>
                  <a:pt x="12848" y="15062"/>
                </a:lnTo>
                <a:lnTo>
                  <a:pt x="12824" y="14770"/>
                </a:lnTo>
                <a:lnTo>
                  <a:pt x="12824" y="14016"/>
                </a:lnTo>
                <a:lnTo>
                  <a:pt x="12848" y="13943"/>
                </a:lnTo>
                <a:lnTo>
                  <a:pt x="12848" y="13894"/>
                </a:lnTo>
                <a:lnTo>
                  <a:pt x="12848" y="13359"/>
                </a:lnTo>
                <a:lnTo>
                  <a:pt x="12946" y="13335"/>
                </a:lnTo>
                <a:lnTo>
                  <a:pt x="13019" y="13310"/>
                </a:lnTo>
                <a:lnTo>
                  <a:pt x="13092" y="13262"/>
                </a:lnTo>
                <a:lnTo>
                  <a:pt x="13140" y="13213"/>
                </a:lnTo>
                <a:lnTo>
                  <a:pt x="13165" y="13116"/>
                </a:lnTo>
                <a:lnTo>
                  <a:pt x="13165" y="13018"/>
                </a:lnTo>
                <a:lnTo>
                  <a:pt x="13116" y="12921"/>
                </a:lnTo>
                <a:lnTo>
                  <a:pt x="13043" y="12872"/>
                </a:lnTo>
                <a:lnTo>
                  <a:pt x="12970" y="12848"/>
                </a:lnTo>
                <a:lnTo>
                  <a:pt x="12873" y="12848"/>
                </a:lnTo>
                <a:lnTo>
                  <a:pt x="12921" y="11826"/>
                </a:lnTo>
                <a:lnTo>
                  <a:pt x="12970" y="10804"/>
                </a:lnTo>
                <a:lnTo>
                  <a:pt x="12970" y="9806"/>
                </a:lnTo>
                <a:lnTo>
                  <a:pt x="12946" y="8809"/>
                </a:lnTo>
                <a:lnTo>
                  <a:pt x="12897" y="7836"/>
                </a:lnTo>
                <a:lnTo>
                  <a:pt x="12897" y="6838"/>
                </a:lnTo>
                <a:lnTo>
                  <a:pt x="12946" y="5986"/>
                </a:lnTo>
                <a:lnTo>
                  <a:pt x="12970" y="5110"/>
                </a:lnTo>
                <a:lnTo>
                  <a:pt x="12970" y="4672"/>
                </a:lnTo>
                <a:lnTo>
                  <a:pt x="12946" y="4234"/>
                </a:lnTo>
                <a:lnTo>
                  <a:pt x="12897" y="3821"/>
                </a:lnTo>
                <a:lnTo>
                  <a:pt x="12800" y="3383"/>
                </a:lnTo>
                <a:lnTo>
                  <a:pt x="13067" y="3285"/>
                </a:lnTo>
                <a:lnTo>
                  <a:pt x="13335" y="3164"/>
                </a:lnTo>
                <a:lnTo>
                  <a:pt x="13603" y="3042"/>
                </a:lnTo>
                <a:lnTo>
                  <a:pt x="13870" y="2920"/>
                </a:lnTo>
                <a:lnTo>
                  <a:pt x="14235" y="2750"/>
                </a:lnTo>
                <a:lnTo>
                  <a:pt x="14600" y="2555"/>
                </a:lnTo>
                <a:lnTo>
                  <a:pt x="15306" y="2142"/>
                </a:lnTo>
                <a:lnTo>
                  <a:pt x="15963" y="1752"/>
                </a:lnTo>
                <a:lnTo>
                  <a:pt x="16304" y="1558"/>
                </a:lnTo>
                <a:lnTo>
                  <a:pt x="16644" y="1388"/>
                </a:lnTo>
                <a:lnTo>
                  <a:pt x="17009" y="1242"/>
                </a:lnTo>
                <a:lnTo>
                  <a:pt x="17350" y="1096"/>
                </a:lnTo>
                <a:lnTo>
                  <a:pt x="17715" y="974"/>
                </a:lnTo>
                <a:lnTo>
                  <a:pt x="18104" y="877"/>
                </a:lnTo>
                <a:lnTo>
                  <a:pt x="18153" y="877"/>
                </a:lnTo>
                <a:lnTo>
                  <a:pt x="18202" y="828"/>
                </a:lnTo>
                <a:lnTo>
                  <a:pt x="18372" y="828"/>
                </a:lnTo>
                <a:lnTo>
                  <a:pt x="18542" y="804"/>
                </a:lnTo>
                <a:close/>
                <a:moveTo>
                  <a:pt x="6279" y="1"/>
                </a:moveTo>
                <a:lnTo>
                  <a:pt x="6206" y="25"/>
                </a:lnTo>
                <a:lnTo>
                  <a:pt x="5403" y="487"/>
                </a:lnTo>
                <a:lnTo>
                  <a:pt x="4989" y="682"/>
                </a:lnTo>
                <a:lnTo>
                  <a:pt x="4551" y="852"/>
                </a:lnTo>
                <a:lnTo>
                  <a:pt x="4113" y="1023"/>
                </a:lnTo>
                <a:lnTo>
                  <a:pt x="3700" y="1217"/>
                </a:lnTo>
                <a:lnTo>
                  <a:pt x="3286" y="1436"/>
                </a:lnTo>
                <a:lnTo>
                  <a:pt x="2872" y="1679"/>
                </a:lnTo>
                <a:lnTo>
                  <a:pt x="2021" y="2117"/>
                </a:lnTo>
                <a:lnTo>
                  <a:pt x="1607" y="2361"/>
                </a:lnTo>
                <a:lnTo>
                  <a:pt x="1193" y="2604"/>
                </a:lnTo>
                <a:lnTo>
                  <a:pt x="974" y="2726"/>
                </a:lnTo>
                <a:lnTo>
                  <a:pt x="731" y="2896"/>
                </a:lnTo>
                <a:lnTo>
                  <a:pt x="488" y="3066"/>
                </a:lnTo>
                <a:lnTo>
                  <a:pt x="390" y="3188"/>
                </a:lnTo>
                <a:lnTo>
                  <a:pt x="317" y="3285"/>
                </a:lnTo>
                <a:lnTo>
                  <a:pt x="269" y="3310"/>
                </a:lnTo>
                <a:lnTo>
                  <a:pt x="220" y="3358"/>
                </a:lnTo>
                <a:lnTo>
                  <a:pt x="171" y="3480"/>
                </a:lnTo>
                <a:lnTo>
                  <a:pt x="123" y="3626"/>
                </a:lnTo>
                <a:lnTo>
                  <a:pt x="98" y="3894"/>
                </a:lnTo>
                <a:lnTo>
                  <a:pt x="98" y="4186"/>
                </a:lnTo>
                <a:lnTo>
                  <a:pt x="123" y="4453"/>
                </a:lnTo>
                <a:lnTo>
                  <a:pt x="147" y="5329"/>
                </a:lnTo>
                <a:lnTo>
                  <a:pt x="171" y="6205"/>
                </a:lnTo>
                <a:lnTo>
                  <a:pt x="171" y="8006"/>
                </a:lnTo>
                <a:lnTo>
                  <a:pt x="147" y="9782"/>
                </a:lnTo>
                <a:lnTo>
                  <a:pt x="123" y="10658"/>
                </a:lnTo>
                <a:lnTo>
                  <a:pt x="98" y="11558"/>
                </a:lnTo>
                <a:lnTo>
                  <a:pt x="1" y="13335"/>
                </a:lnTo>
                <a:lnTo>
                  <a:pt x="1" y="13700"/>
                </a:lnTo>
                <a:lnTo>
                  <a:pt x="1" y="14065"/>
                </a:lnTo>
                <a:lnTo>
                  <a:pt x="25" y="14454"/>
                </a:lnTo>
                <a:lnTo>
                  <a:pt x="50" y="14819"/>
                </a:lnTo>
                <a:lnTo>
                  <a:pt x="98" y="15233"/>
                </a:lnTo>
                <a:lnTo>
                  <a:pt x="123" y="15646"/>
                </a:lnTo>
                <a:lnTo>
                  <a:pt x="147" y="16060"/>
                </a:lnTo>
                <a:lnTo>
                  <a:pt x="171" y="16255"/>
                </a:lnTo>
                <a:lnTo>
                  <a:pt x="220" y="16474"/>
                </a:lnTo>
                <a:lnTo>
                  <a:pt x="244" y="16547"/>
                </a:lnTo>
                <a:lnTo>
                  <a:pt x="317" y="16595"/>
                </a:lnTo>
                <a:lnTo>
                  <a:pt x="390" y="16620"/>
                </a:lnTo>
                <a:lnTo>
                  <a:pt x="463" y="16620"/>
                </a:lnTo>
                <a:lnTo>
                  <a:pt x="536" y="16644"/>
                </a:lnTo>
                <a:lnTo>
                  <a:pt x="707" y="16620"/>
                </a:lnTo>
                <a:lnTo>
                  <a:pt x="877" y="16595"/>
                </a:lnTo>
                <a:lnTo>
                  <a:pt x="1218" y="16474"/>
                </a:lnTo>
                <a:lnTo>
                  <a:pt x="1850" y="16230"/>
                </a:lnTo>
                <a:lnTo>
                  <a:pt x="2240" y="16060"/>
                </a:lnTo>
                <a:lnTo>
                  <a:pt x="2605" y="15890"/>
                </a:lnTo>
                <a:lnTo>
                  <a:pt x="2970" y="15719"/>
                </a:lnTo>
                <a:lnTo>
                  <a:pt x="3310" y="15525"/>
                </a:lnTo>
                <a:lnTo>
                  <a:pt x="4064" y="15062"/>
                </a:lnTo>
                <a:lnTo>
                  <a:pt x="4819" y="14624"/>
                </a:lnTo>
                <a:lnTo>
                  <a:pt x="5549" y="14162"/>
                </a:lnTo>
                <a:lnTo>
                  <a:pt x="5938" y="13967"/>
                </a:lnTo>
                <a:lnTo>
                  <a:pt x="6327" y="13748"/>
                </a:lnTo>
                <a:lnTo>
                  <a:pt x="6400" y="13821"/>
                </a:lnTo>
                <a:lnTo>
                  <a:pt x="6473" y="13870"/>
                </a:lnTo>
                <a:lnTo>
                  <a:pt x="6546" y="13894"/>
                </a:lnTo>
                <a:lnTo>
                  <a:pt x="6644" y="13870"/>
                </a:lnTo>
                <a:lnTo>
                  <a:pt x="6741" y="13992"/>
                </a:lnTo>
                <a:lnTo>
                  <a:pt x="6863" y="14089"/>
                </a:lnTo>
                <a:lnTo>
                  <a:pt x="7130" y="14259"/>
                </a:lnTo>
                <a:lnTo>
                  <a:pt x="7422" y="14405"/>
                </a:lnTo>
                <a:lnTo>
                  <a:pt x="7690" y="14551"/>
                </a:lnTo>
                <a:lnTo>
                  <a:pt x="8517" y="14916"/>
                </a:lnTo>
                <a:lnTo>
                  <a:pt x="9345" y="15306"/>
                </a:lnTo>
                <a:lnTo>
                  <a:pt x="10878" y="16011"/>
                </a:lnTo>
                <a:lnTo>
                  <a:pt x="11656" y="16352"/>
                </a:lnTo>
                <a:lnTo>
                  <a:pt x="12435" y="16644"/>
                </a:lnTo>
                <a:lnTo>
                  <a:pt x="12459" y="16668"/>
                </a:lnTo>
                <a:lnTo>
                  <a:pt x="12508" y="16741"/>
                </a:lnTo>
                <a:lnTo>
                  <a:pt x="12581" y="16766"/>
                </a:lnTo>
                <a:lnTo>
                  <a:pt x="12678" y="16766"/>
                </a:lnTo>
                <a:lnTo>
                  <a:pt x="12751" y="16741"/>
                </a:lnTo>
                <a:lnTo>
                  <a:pt x="12800" y="16693"/>
                </a:lnTo>
                <a:lnTo>
                  <a:pt x="12897" y="16717"/>
                </a:lnTo>
                <a:lnTo>
                  <a:pt x="13019" y="16717"/>
                </a:lnTo>
                <a:lnTo>
                  <a:pt x="13286" y="16668"/>
                </a:lnTo>
                <a:lnTo>
                  <a:pt x="13530" y="16595"/>
                </a:lnTo>
                <a:lnTo>
                  <a:pt x="13724" y="16522"/>
                </a:lnTo>
                <a:lnTo>
                  <a:pt x="14211" y="16279"/>
                </a:lnTo>
                <a:lnTo>
                  <a:pt x="14698" y="16036"/>
                </a:lnTo>
                <a:lnTo>
                  <a:pt x="15647" y="15500"/>
                </a:lnTo>
                <a:lnTo>
                  <a:pt x="16596" y="14965"/>
                </a:lnTo>
                <a:lnTo>
                  <a:pt x="17058" y="14697"/>
                </a:lnTo>
                <a:lnTo>
                  <a:pt x="17545" y="14478"/>
                </a:lnTo>
                <a:lnTo>
                  <a:pt x="17885" y="14332"/>
                </a:lnTo>
                <a:lnTo>
                  <a:pt x="18226" y="14186"/>
                </a:lnTo>
                <a:lnTo>
                  <a:pt x="18542" y="14016"/>
                </a:lnTo>
                <a:lnTo>
                  <a:pt x="18688" y="13894"/>
                </a:lnTo>
                <a:lnTo>
                  <a:pt x="18834" y="13773"/>
                </a:lnTo>
                <a:lnTo>
                  <a:pt x="18883" y="13748"/>
                </a:lnTo>
                <a:lnTo>
                  <a:pt x="18932" y="13724"/>
                </a:lnTo>
                <a:lnTo>
                  <a:pt x="18980" y="13651"/>
                </a:lnTo>
                <a:lnTo>
                  <a:pt x="18980" y="13578"/>
                </a:lnTo>
                <a:lnTo>
                  <a:pt x="18980" y="12726"/>
                </a:lnTo>
                <a:lnTo>
                  <a:pt x="18956" y="11875"/>
                </a:lnTo>
                <a:lnTo>
                  <a:pt x="18883" y="10171"/>
                </a:lnTo>
                <a:lnTo>
                  <a:pt x="18859" y="9271"/>
                </a:lnTo>
                <a:lnTo>
                  <a:pt x="18859" y="8347"/>
                </a:lnTo>
                <a:lnTo>
                  <a:pt x="18883" y="6546"/>
                </a:lnTo>
                <a:lnTo>
                  <a:pt x="18932" y="4648"/>
                </a:lnTo>
                <a:lnTo>
                  <a:pt x="18956" y="2726"/>
                </a:lnTo>
                <a:lnTo>
                  <a:pt x="18980" y="2215"/>
                </a:lnTo>
                <a:lnTo>
                  <a:pt x="18980" y="1679"/>
                </a:lnTo>
                <a:lnTo>
                  <a:pt x="18932" y="1144"/>
                </a:lnTo>
                <a:lnTo>
                  <a:pt x="18883" y="901"/>
                </a:lnTo>
                <a:lnTo>
                  <a:pt x="18834" y="633"/>
                </a:lnTo>
                <a:lnTo>
                  <a:pt x="18883" y="585"/>
                </a:lnTo>
                <a:lnTo>
                  <a:pt x="18883" y="512"/>
                </a:lnTo>
                <a:lnTo>
                  <a:pt x="18883" y="439"/>
                </a:lnTo>
                <a:lnTo>
                  <a:pt x="18834" y="366"/>
                </a:lnTo>
                <a:lnTo>
                  <a:pt x="18761" y="293"/>
                </a:lnTo>
                <a:lnTo>
                  <a:pt x="18664" y="244"/>
                </a:lnTo>
                <a:lnTo>
                  <a:pt x="18421" y="244"/>
                </a:lnTo>
                <a:lnTo>
                  <a:pt x="18177" y="317"/>
                </a:lnTo>
                <a:lnTo>
                  <a:pt x="17958" y="414"/>
                </a:lnTo>
                <a:lnTo>
                  <a:pt x="17715" y="487"/>
                </a:lnTo>
                <a:lnTo>
                  <a:pt x="17374" y="585"/>
                </a:lnTo>
                <a:lnTo>
                  <a:pt x="17058" y="706"/>
                </a:lnTo>
                <a:lnTo>
                  <a:pt x="16742" y="828"/>
                </a:lnTo>
                <a:lnTo>
                  <a:pt x="16425" y="974"/>
                </a:lnTo>
                <a:lnTo>
                  <a:pt x="15817" y="1290"/>
                </a:lnTo>
                <a:lnTo>
                  <a:pt x="15209" y="1655"/>
                </a:lnTo>
                <a:lnTo>
                  <a:pt x="14479" y="2117"/>
                </a:lnTo>
                <a:lnTo>
                  <a:pt x="14089" y="2312"/>
                </a:lnTo>
                <a:lnTo>
                  <a:pt x="13700" y="2507"/>
                </a:lnTo>
                <a:lnTo>
                  <a:pt x="13432" y="2628"/>
                </a:lnTo>
                <a:lnTo>
                  <a:pt x="13165" y="2750"/>
                </a:lnTo>
                <a:lnTo>
                  <a:pt x="12897" y="2920"/>
                </a:lnTo>
                <a:lnTo>
                  <a:pt x="12654" y="3091"/>
                </a:lnTo>
                <a:lnTo>
                  <a:pt x="12532" y="2969"/>
                </a:lnTo>
                <a:lnTo>
                  <a:pt x="12386" y="2896"/>
                </a:lnTo>
                <a:lnTo>
                  <a:pt x="12070" y="2750"/>
                </a:lnTo>
                <a:lnTo>
                  <a:pt x="11875" y="2653"/>
                </a:lnTo>
                <a:lnTo>
                  <a:pt x="11705" y="2555"/>
                </a:lnTo>
                <a:lnTo>
                  <a:pt x="11316" y="2336"/>
                </a:lnTo>
                <a:lnTo>
                  <a:pt x="11072" y="2190"/>
                </a:lnTo>
                <a:lnTo>
                  <a:pt x="10805" y="2093"/>
                </a:lnTo>
                <a:lnTo>
                  <a:pt x="10294" y="1874"/>
                </a:lnTo>
                <a:lnTo>
                  <a:pt x="9758" y="1679"/>
                </a:lnTo>
                <a:lnTo>
                  <a:pt x="9223" y="1485"/>
                </a:lnTo>
                <a:lnTo>
                  <a:pt x="8298" y="1071"/>
                </a:lnTo>
                <a:lnTo>
                  <a:pt x="7836" y="852"/>
                </a:lnTo>
                <a:lnTo>
                  <a:pt x="7398" y="609"/>
                </a:lnTo>
                <a:lnTo>
                  <a:pt x="7325" y="536"/>
                </a:lnTo>
                <a:lnTo>
                  <a:pt x="7228" y="439"/>
                </a:lnTo>
                <a:lnTo>
                  <a:pt x="7057" y="244"/>
                </a:lnTo>
                <a:lnTo>
                  <a:pt x="6936" y="147"/>
                </a:lnTo>
                <a:lnTo>
                  <a:pt x="6838" y="74"/>
                </a:lnTo>
                <a:lnTo>
                  <a:pt x="6741" y="25"/>
                </a:lnTo>
                <a:lnTo>
                  <a:pt x="6619" y="25"/>
                </a:lnTo>
                <a:lnTo>
                  <a:pt x="6571" y="1"/>
                </a:lnTo>
                <a:lnTo>
                  <a:pt x="6498" y="1"/>
                </a:lnTo>
                <a:lnTo>
                  <a:pt x="6449" y="25"/>
                </a:lnTo>
                <a:lnTo>
                  <a:pt x="6400" y="1"/>
                </a:lnTo>
                <a:close/>
              </a:path>
            </a:pathLst>
          </a:custGeom>
          <a:solidFill>
            <a:schemeClr val="dk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273F68"/>
              </a:solidFill>
              <a:effectLst/>
              <a:uLnTx/>
              <a:uFillTx/>
              <a:latin typeface="Verdana"/>
              <a:ea typeface="+mn-ea"/>
              <a:cs typeface="+mn-cs"/>
            </a:endParaRPr>
          </a:p>
        </p:txBody>
      </p:sp>
      <p:sp>
        <p:nvSpPr>
          <p:cNvPr id="3" name="TextBox 2">
            <a:extLst>
              <a:ext uri="{FF2B5EF4-FFF2-40B4-BE49-F238E27FC236}">
                <a16:creationId xmlns:a16="http://schemas.microsoft.com/office/drawing/2014/main" id="{56AFAF24-D999-95BE-31D5-D40B5BE020FA}"/>
              </a:ext>
            </a:extLst>
          </p:cNvPr>
          <p:cNvSpPr txBox="1"/>
          <p:nvPr/>
        </p:nvSpPr>
        <p:spPr>
          <a:xfrm>
            <a:off x="278658" y="1616029"/>
            <a:ext cx="7131792" cy="430887"/>
          </a:xfrm>
          <a:prstGeom prst="rect">
            <a:avLst/>
          </a:prstGeom>
          <a:noFill/>
        </p:spPr>
        <p:txBody>
          <a:bodyPr wrap="square">
            <a:spAutoFit/>
          </a:bodyPr>
          <a:lstStyle/>
          <a:p>
            <a:pPr lvl="0" algn="l">
              <a:spcBef>
                <a:spcPts val="0"/>
              </a:spcBef>
              <a:spcAft>
                <a:spcPts val="0"/>
              </a:spcAft>
            </a:pPr>
            <a:r>
              <a:rPr lang="da-DK" sz="2200" b="1">
                <a:latin typeface="Amatic SC"/>
                <a:cs typeface="Amatic SC"/>
                <a:sym typeface="Quicksand"/>
              </a:rPr>
              <a:t>Evalueringen viser, at:</a:t>
            </a:r>
            <a:endParaRPr lang="da-DK" sz="2200" b="1">
              <a:latin typeface="Quicksand"/>
              <a:ea typeface="Quicksand"/>
              <a:cs typeface="Quicksand"/>
              <a:sym typeface="Quicksand"/>
            </a:endParaRPr>
          </a:p>
        </p:txBody>
      </p:sp>
      <p:sp>
        <p:nvSpPr>
          <p:cNvPr id="9" name="Google Shape;847;p29">
            <a:extLst>
              <a:ext uri="{FF2B5EF4-FFF2-40B4-BE49-F238E27FC236}">
                <a16:creationId xmlns:a16="http://schemas.microsoft.com/office/drawing/2014/main" id="{8AB12A3A-14BC-B651-3490-C88714929C19}"/>
              </a:ext>
            </a:extLst>
          </p:cNvPr>
          <p:cNvSpPr txBox="1"/>
          <p:nvPr/>
        </p:nvSpPr>
        <p:spPr>
          <a:xfrm>
            <a:off x="932401" y="2296800"/>
            <a:ext cx="4588834" cy="3626799"/>
          </a:xfrm>
          <a:prstGeom prst="rect">
            <a:avLst/>
          </a:prstGeom>
          <a:noFill/>
          <a:ln>
            <a:noFill/>
          </a:ln>
        </p:spPr>
        <p:txBody>
          <a:bodyPr spcFirstLastPara="1" wrap="square" lIns="0" tIns="0" rIns="0" bIns="0" anchor="t" anchorCtr="0">
            <a:noAutofit/>
          </a:bodyPr>
          <a:lstStyle/>
          <a:p>
            <a:pPr lvl="0"/>
            <a:r>
              <a:rPr lang="da-DK" sz="1600" dirty="0">
                <a:latin typeface="Quicksand"/>
                <a:ea typeface="Quicksand"/>
                <a:cs typeface="Quicksand"/>
                <a:sym typeface="Quicksand"/>
              </a:rPr>
              <a:t>Pædagogisk personale, som har deltaget i aktionslæringsforløb, </a:t>
            </a:r>
            <a:r>
              <a:rPr lang="da-DK" sz="1600" b="1" dirty="0">
                <a:latin typeface="Quicksand"/>
                <a:ea typeface="Quicksand"/>
                <a:cs typeface="Quicksand"/>
                <a:sym typeface="Quicksand"/>
              </a:rPr>
              <a:t>i nogen grad oplever, at organiseringen på skolen understøtter deres arbejde.</a:t>
            </a:r>
          </a:p>
          <a:p>
            <a:pPr lvl="0" algn="l">
              <a:spcBef>
                <a:spcPts val="0"/>
              </a:spcBef>
              <a:spcAft>
                <a:spcPts val="0"/>
              </a:spcAft>
            </a:pPr>
            <a:endParaRPr lang="da-DK" sz="1600" b="1" dirty="0">
              <a:solidFill>
                <a:srgbClr val="273F68"/>
              </a:solidFill>
              <a:latin typeface="Quicksand"/>
              <a:ea typeface="Quicksand"/>
              <a:cs typeface="Quicksand"/>
              <a:sym typeface="Quicksand"/>
            </a:endParaRPr>
          </a:p>
          <a:p>
            <a:pPr lvl="0" algn="l">
              <a:spcBef>
                <a:spcPts val="0"/>
              </a:spcBef>
              <a:spcAft>
                <a:spcPts val="0"/>
              </a:spcAft>
            </a:pPr>
            <a:r>
              <a:rPr lang="da-DK" sz="1600" b="1" dirty="0">
                <a:solidFill>
                  <a:srgbClr val="273F68"/>
                </a:solidFill>
                <a:latin typeface="Quicksand"/>
                <a:ea typeface="Quicksand"/>
                <a:cs typeface="Quicksand"/>
                <a:sym typeface="Quicksand"/>
              </a:rPr>
              <a:t>En god organisering er en forudsætning </a:t>
            </a:r>
            <a:r>
              <a:rPr lang="da-DK" sz="1600" dirty="0">
                <a:solidFill>
                  <a:srgbClr val="273F68"/>
                </a:solidFill>
                <a:latin typeface="Quicksand"/>
                <a:ea typeface="Quicksand"/>
                <a:cs typeface="Quicksand"/>
                <a:sym typeface="Quicksand"/>
              </a:rPr>
              <a:t>for, at pædagogisk personale oplever at kunne samarbejde som team om at udvikle læringsmiljøer. </a:t>
            </a:r>
          </a:p>
          <a:p>
            <a:pPr lvl="0" algn="l">
              <a:spcBef>
                <a:spcPts val="0"/>
              </a:spcBef>
              <a:spcAft>
                <a:spcPts val="0"/>
              </a:spcAft>
            </a:pPr>
            <a:endParaRPr lang="da-DK" sz="1600" dirty="0">
              <a:solidFill>
                <a:srgbClr val="273F68"/>
              </a:solidFill>
              <a:latin typeface="Quicksand"/>
              <a:ea typeface="Quicksand"/>
              <a:cs typeface="Quicksand"/>
              <a:sym typeface="Quicksand"/>
            </a:endParaRPr>
          </a:p>
          <a:p>
            <a:pPr lvl="0" algn="l">
              <a:spcBef>
                <a:spcPts val="0"/>
              </a:spcBef>
              <a:spcAft>
                <a:spcPts val="0"/>
              </a:spcAft>
            </a:pPr>
            <a:r>
              <a:rPr lang="da-DK" sz="1600" dirty="0">
                <a:solidFill>
                  <a:srgbClr val="273F68"/>
                </a:solidFill>
                <a:latin typeface="Quicksand"/>
                <a:ea typeface="Quicksand"/>
                <a:cs typeface="Quicksand"/>
                <a:sym typeface="Quicksand"/>
              </a:rPr>
              <a:t>Der er forsat et </a:t>
            </a:r>
            <a:r>
              <a:rPr lang="da-DK" sz="1600" b="1" dirty="0">
                <a:solidFill>
                  <a:srgbClr val="273F68"/>
                </a:solidFill>
                <a:latin typeface="Quicksand"/>
                <a:ea typeface="Quicksand"/>
                <a:cs typeface="Quicksand"/>
                <a:sym typeface="Quicksand"/>
              </a:rPr>
              <a:t>uforløst potentiale i at inddrage skolens vejlederfunktioner mere </a:t>
            </a:r>
            <a:r>
              <a:rPr lang="da-DK" sz="1600" dirty="0">
                <a:solidFill>
                  <a:srgbClr val="273F68"/>
                </a:solidFill>
                <a:latin typeface="Quicksand"/>
                <a:ea typeface="Quicksand"/>
                <a:cs typeface="Quicksand"/>
                <a:sym typeface="Quicksand"/>
              </a:rPr>
              <a:t>aktivt i arbejdet med at skabe deltagelsesmuligheder for alle elever.</a:t>
            </a:r>
          </a:p>
          <a:p>
            <a:pPr lvl="0" algn="l">
              <a:spcBef>
                <a:spcPts val="0"/>
              </a:spcBef>
              <a:spcAft>
                <a:spcPts val="0"/>
              </a:spcAft>
            </a:pPr>
            <a:endParaRPr lang="da-DK" sz="1600" dirty="0">
              <a:solidFill>
                <a:srgbClr val="273F68"/>
              </a:solidFill>
              <a:latin typeface="Quicksand"/>
              <a:ea typeface="Quicksand"/>
              <a:cs typeface="Quicksand"/>
              <a:sym typeface="Quicksand"/>
            </a:endParaRPr>
          </a:p>
          <a:p>
            <a:pPr lvl="0" algn="l">
              <a:spcBef>
                <a:spcPts val="0"/>
              </a:spcBef>
              <a:spcAft>
                <a:spcPts val="0"/>
              </a:spcAft>
            </a:pPr>
            <a:endParaRPr lang="da-DK" sz="1600" dirty="0">
              <a:solidFill>
                <a:srgbClr val="273F68"/>
              </a:solidFill>
              <a:latin typeface="Quicksand"/>
              <a:ea typeface="Quicksand"/>
              <a:cs typeface="Quicksand"/>
              <a:sym typeface="Quicksand"/>
            </a:endParaRPr>
          </a:p>
          <a:p>
            <a:pPr lvl="0" algn="l">
              <a:spcBef>
                <a:spcPts val="0"/>
              </a:spcBef>
              <a:spcAft>
                <a:spcPts val="0"/>
              </a:spcAft>
            </a:pPr>
            <a:endParaRPr lang="da-DK" sz="1600" dirty="0">
              <a:solidFill>
                <a:srgbClr val="273F68"/>
              </a:solidFill>
              <a:latin typeface="Quicksand"/>
              <a:ea typeface="Quicksand"/>
              <a:cs typeface="Quicksand"/>
              <a:sym typeface="Quicksand"/>
            </a:endParaRPr>
          </a:p>
          <a:p>
            <a:pPr marL="0" marR="0" lvl="0" indent="0" algn="l" defTabSz="914400" rtl="0" eaLnBrk="1" fontAlgn="auto" latinLnBrk="0" hangingPunct="1">
              <a:lnSpc>
                <a:spcPct val="100000"/>
              </a:lnSpc>
              <a:spcBef>
                <a:spcPts val="0"/>
              </a:spcBef>
              <a:spcAft>
                <a:spcPts val="0"/>
              </a:spcAft>
              <a:buClrTx/>
              <a:buSzTx/>
              <a:tabLst/>
              <a:defRPr/>
            </a:pPr>
            <a:endParaRPr kumimoji="0" lang="da-DK" sz="1600" i="0" u="none" strike="noStrike" kern="1200" cap="none" spc="0" normalizeH="0" baseline="0" noProof="0" dirty="0">
              <a:ln>
                <a:noFill/>
              </a:ln>
              <a:solidFill>
                <a:srgbClr val="273F68"/>
              </a:solidFill>
              <a:effectLst/>
              <a:uLnTx/>
              <a:uFillTx/>
              <a:latin typeface="Quicksand"/>
              <a:ea typeface="Quicksand"/>
              <a:cs typeface="Quicksand"/>
              <a:sym typeface="Quicksand"/>
            </a:endParaRPr>
          </a:p>
          <a:p>
            <a:pPr marL="0" marR="0" lvl="0" indent="0" algn="l" defTabSz="914400" rtl="0" eaLnBrk="1" fontAlgn="auto" latinLnBrk="0" hangingPunct="1">
              <a:lnSpc>
                <a:spcPct val="100000"/>
              </a:lnSpc>
              <a:spcBef>
                <a:spcPts val="0"/>
              </a:spcBef>
              <a:spcAft>
                <a:spcPts val="0"/>
              </a:spcAft>
              <a:buClrTx/>
              <a:buSzTx/>
              <a:tabLst/>
              <a:defRPr/>
            </a:pPr>
            <a:endParaRPr kumimoji="0" lang="da-DK" sz="1600" i="0" u="none" strike="noStrike" kern="1200" cap="none" spc="0" normalizeH="0" baseline="0" noProof="0" dirty="0">
              <a:ln>
                <a:noFill/>
              </a:ln>
              <a:solidFill>
                <a:srgbClr val="273F68"/>
              </a:solidFill>
              <a:effectLst/>
              <a:uLnTx/>
              <a:uFillTx/>
              <a:latin typeface="Quicksand"/>
              <a:ea typeface="Quicksand"/>
              <a:cs typeface="Quicksand"/>
              <a:sym typeface="Quicksand"/>
            </a:endParaRPr>
          </a:p>
        </p:txBody>
      </p:sp>
      <p:sp>
        <p:nvSpPr>
          <p:cNvPr id="11" name="Oval 5">
            <a:extLst>
              <a:ext uri="{FF2B5EF4-FFF2-40B4-BE49-F238E27FC236}">
                <a16:creationId xmlns:a16="http://schemas.microsoft.com/office/drawing/2014/main" id="{98C441E5-4D98-D9CF-B9F0-1925E9984C4D}"/>
              </a:ext>
            </a:extLst>
          </p:cNvPr>
          <p:cNvSpPr/>
          <p:nvPr/>
        </p:nvSpPr>
        <p:spPr>
          <a:xfrm>
            <a:off x="346519" y="2326640"/>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1</a:t>
            </a:r>
            <a:endParaRPr lang="da-DK" sz="2000" noProof="0" dirty="0">
              <a:latin typeface="Quicksand" panose="020B0604020202020204" charset="0"/>
              <a:cs typeface="Quicksand" panose="020B0604020202020204" charset="0"/>
            </a:endParaRPr>
          </a:p>
        </p:txBody>
      </p:sp>
      <p:sp>
        <p:nvSpPr>
          <p:cNvPr id="17" name="Oval 6">
            <a:extLst>
              <a:ext uri="{FF2B5EF4-FFF2-40B4-BE49-F238E27FC236}">
                <a16:creationId xmlns:a16="http://schemas.microsoft.com/office/drawing/2014/main" id="{87C82D51-38AA-A2E4-5437-5D27BDC020C2}"/>
              </a:ext>
            </a:extLst>
          </p:cNvPr>
          <p:cNvSpPr/>
          <p:nvPr/>
        </p:nvSpPr>
        <p:spPr>
          <a:xfrm>
            <a:off x="346519" y="3283977"/>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18" name="Oval 7">
            <a:extLst>
              <a:ext uri="{FF2B5EF4-FFF2-40B4-BE49-F238E27FC236}">
                <a16:creationId xmlns:a16="http://schemas.microsoft.com/office/drawing/2014/main" id="{87E75BB1-CCC7-7455-E67F-112B36205006}"/>
              </a:ext>
            </a:extLst>
          </p:cNvPr>
          <p:cNvSpPr/>
          <p:nvPr/>
        </p:nvSpPr>
        <p:spPr>
          <a:xfrm>
            <a:off x="346519" y="4285814"/>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spTree>
    <p:extLst>
      <p:ext uri="{BB962C8B-B14F-4D97-AF65-F5344CB8AC3E}">
        <p14:creationId xmlns:p14="http://schemas.microsoft.com/office/powerpoint/2010/main" val="42175380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9CA9FF-A7C4-BBBA-B976-CEC71C9FD6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Object 2" hidden="1">
                        <a:extLst>
                          <a:ext uri="{FF2B5EF4-FFF2-40B4-BE49-F238E27FC236}">
                            <a16:creationId xmlns:a16="http://schemas.microsoft.com/office/drawing/2014/main" id="{939CA9FF-A7C4-BBBA-B976-CEC71C9FD6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9A3FD9DB-99DB-A414-2D6F-511BDF58FD5C}"/>
              </a:ext>
            </a:extLst>
          </p:cNvPr>
          <p:cNvSpPr txBox="1"/>
          <p:nvPr/>
        </p:nvSpPr>
        <p:spPr>
          <a:xfrm>
            <a:off x="3457303" y="2792641"/>
            <a:ext cx="5808617" cy="1908215"/>
          </a:xfrm>
          <a:prstGeom prst="rect">
            <a:avLst/>
          </a:prstGeom>
          <a:noFill/>
        </p:spPr>
        <p:txBody>
          <a:bodyPr wrap="square" lIns="0" tIns="0" rIns="0" bIns="0" rtlCol="0">
            <a:spAutoFit/>
          </a:bodyPr>
          <a:lstStyle/>
          <a:p>
            <a:r>
              <a:rPr lang="da-DK" sz="2000" b="1" dirty="0">
                <a:solidFill>
                  <a:schemeClr val="accent3"/>
                </a:solidFill>
                <a:latin typeface="Quicksand" panose="020B0604020202020204" charset="0"/>
                <a:cs typeface="Quicksand" panose="020B0604020202020204" charset="0"/>
              </a:rPr>
              <a:t>Vi har fået en masse viden i år. Næste skoleår skal vi som skole bruge den viden i fællesskab. Der er vi nødt til at have en leder, der husker os på at holde det ved lige. Der er en, der er nødt til at vise os vejen. </a:t>
            </a:r>
          </a:p>
          <a:p>
            <a:endParaRPr lang="da-DK" sz="2400" b="1" dirty="0">
              <a:solidFill>
                <a:schemeClr val="accent3"/>
              </a:solidFill>
              <a:latin typeface="Quicksand" panose="020B0604020202020204" charset="0"/>
              <a:cs typeface="Quicksand" panose="020B0604020202020204" charset="0"/>
            </a:endParaRPr>
          </a:p>
          <a:p>
            <a:r>
              <a:rPr lang="da-DK" sz="2000" i="1" dirty="0">
                <a:solidFill>
                  <a:schemeClr val="accent3"/>
                </a:solidFill>
                <a:latin typeface="Quicksand" panose="020B0604020202020204" charset="0"/>
                <a:cs typeface="Quicksand" panose="020B0604020202020204" charset="0"/>
              </a:rPr>
              <a:t>Pædagogisk personale</a:t>
            </a:r>
          </a:p>
        </p:txBody>
      </p:sp>
      <p:pic>
        <p:nvPicPr>
          <p:cNvPr id="6" name="Graphic 5" descr="Open quotation mark with solid fill">
            <a:extLst>
              <a:ext uri="{FF2B5EF4-FFF2-40B4-BE49-F238E27FC236}">
                <a16:creationId xmlns:a16="http://schemas.microsoft.com/office/drawing/2014/main" id="{C16DA224-2CD0-E46B-63A7-99D2E0ACACE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60618" y="1421170"/>
            <a:ext cx="1255221" cy="1255221"/>
          </a:xfrm>
          <a:prstGeom prst="rect">
            <a:avLst/>
          </a:prstGeom>
        </p:spPr>
      </p:pic>
    </p:spTree>
    <p:extLst>
      <p:ext uri="{BB962C8B-B14F-4D97-AF65-F5344CB8AC3E}">
        <p14:creationId xmlns:p14="http://schemas.microsoft.com/office/powerpoint/2010/main" val="13010571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994;p40">
            <a:extLst>
              <a:ext uri="{FF2B5EF4-FFF2-40B4-BE49-F238E27FC236}">
                <a16:creationId xmlns:a16="http://schemas.microsoft.com/office/drawing/2014/main" id="{BA0BBE7D-21F9-08A7-A26A-8F37966361FC}"/>
              </a:ext>
            </a:extLst>
          </p:cNvPr>
          <p:cNvSpPr txBox="1">
            <a:spLocks/>
          </p:cNvSpPr>
          <p:nvPr/>
        </p:nvSpPr>
        <p:spPr>
          <a:xfrm>
            <a:off x="0" y="370872"/>
            <a:ext cx="12191999" cy="71435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1pPr>
            <a:lvl2pPr marR="0" lvl="1"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2pPr>
            <a:lvl3pPr marR="0" lvl="2"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3pPr>
            <a:lvl4pPr marR="0" lvl="3"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4pPr>
            <a:lvl5pPr marR="0" lvl="4"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5pPr>
            <a:lvl6pPr marR="0" lvl="5"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6pPr>
            <a:lvl7pPr marR="0" lvl="6"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7pPr>
            <a:lvl8pPr marR="0" lvl="7"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8pPr>
            <a:lvl9pPr marR="0" lvl="8"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9pPr>
          </a:lstStyle>
          <a:p>
            <a:pPr marL="0" marR="0" lvl="0" indent="0" defTabSz="914400" eaLnBrk="1" fontAlgn="auto" latinLnBrk="0" hangingPunct="1">
              <a:lnSpc>
                <a:spcPct val="90000"/>
              </a:lnSpc>
              <a:spcBef>
                <a:spcPts val="0"/>
              </a:spcBef>
              <a:spcAft>
                <a:spcPts val="0"/>
              </a:spcAft>
              <a:buClr>
                <a:srgbClr val="273F68"/>
              </a:buClr>
              <a:buSzPts val="3000"/>
              <a:buFont typeface="Amatic SC"/>
              <a:buNone/>
              <a:tabLst/>
              <a:defRPr/>
            </a:pPr>
            <a:r>
              <a:rPr kumimoji="0" lang="da-DK" sz="4000" b="1" i="0" u="none" strike="noStrike" kern="0" cap="none" spc="0" normalizeH="0" baseline="0" noProof="0">
                <a:ln>
                  <a:noFill/>
                </a:ln>
                <a:solidFill>
                  <a:srgbClr val="273F68"/>
                </a:solidFill>
                <a:effectLst/>
                <a:uLnTx/>
                <a:uFillTx/>
                <a:latin typeface="Amatic SC"/>
                <a:cs typeface="Amatic SC"/>
                <a:sym typeface="Amatic SC"/>
              </a:rPr>
              <a:t>Evalueringen undersøger…</a:t>
            </a:r>
          </a:p>
        </p:txBody>
      </p:sp>
      <p:sp>
        <p:nvSpPr>
          <p:cNvPr id="3" name="Google Shape;1257;p48">
            <a:extLst>
              <a:ext uri="{FF2B5EF4-FFF2-40B4-BE49-F238E27FC236}">
                <a16:creationId xmlns:a16="http://schemas.microsoft.com/office/drawing/2014/main" id="{E7B76EA4-CEC4-4BFE-E6D2-383172D78FA7}"/>
              </a:ext>
            </a:extLst>
          </p:cNvPr>
          <p:cNvSpPr/>
          <p:nvPr/>
        </p:nvSpPr>
        <p:spPr>
          <a:xfrm flipH="1">
            <a:off x="3274841" y="318859"/>
            <a:ext cx="651593" cy="591445"/>
          </a:xfrm>
          <a:custGeom>
            <a:avLst/>
            <a:gdLst/>
            <a:ahLst/>
            <a:cxnLst/>
            <a:rect l="l" t="t" r="r" b="b"/>
            <a:pathLst>
              <a:path w="17082" h="17228" extrusionOk="0">
                <a:moveTo>
                  <a:pt x="6497" y="2993"/>
                </a:moveTo>
                <a:lnTo>
                  <a:pt x="6400" y="3042"/>
                </a:lnTo>
                <a:lnTo>
                  <a:pt x="6302" y="3090"/>
                </a:lnTo>
                <a:lnTo>
                  <a:pt x="6229" y="3212"/>
                </a:lnTo>
                <a:lnTo>
                  <a:pt x="6229" y="3285"/>
                </a:lnTo>
                <a:lnTo>
                  <a:pt x="6254" y="3334"/>
                </a:lnTo>
                <a:lnTo>
                  <a:pt x="6278" y="3407"/>
                </a:lnTo>
                <a:lnTo>
                  <a:pt x="6351" y="3455"/>
                </a:lnTo>
                <a:lnTo>
                  <a:pt x="6400" y="3480"/>
                </a:lnTo>
                <a:lnTo>
                  <a:pt x="6643" y="3480"/>
                </a:lnTo>
                <a:lnTo>
                  <a:pt x="6692" y="3504"/>
                </a:lnTo>
                <a:lnTo>
                  <a:pt x="6911" y="3504"/>
                </a:lnTo>
                <a:lnTo>
                  <a:pt x="6959" y="3480"/>
                </a:lnTo>
                <a:lnTo>
                  <a:pt x="7008" y="3455"/>
                </a:lnTo>
                <a:lnTo>
                  <a:pt x="7057" y="3407"/>
                </a:lnTo>
                <a:lnTo>
                  <a:pt x="7057" y="3334"/>
                </a:lnTo>
                <a:lnTo>
                  <a:pt x="7057" y="3212"/>
                </a:lnTo>
                <a:lnTo>
                  <a:pt x="7032" y="3163"/>
                </a:lnTo>
                <a:lnTo>
                  <a:pt x="7008" y="3115"/>
                </a:lnTo>
                <a:lnTo>
                  <a:pt x="6935" y="3042"/>
                </a:lnTo>
                <a:lnTo>
                  <a:pt x="6838" y="3017"/>
                </a:lnTo>
                <a:lnTo>
                  <a:pt x="6716" y="2993"/>
                </a:lnTo>
                <a:close/>
                <a:moveTo>
                  <a:pt x="5743" y="3236"/>
                </a:moveTo>
                <a:lnTo>
                  <a:pt x="5670" y="3261"/>
                </a:lnTo>
                <a:lnTo>
                  <a:pt x="5402" y="3358"/>
                </a:lnTo>
                <a:lnTo>
                  <a:pt x="5134" y="3480"/>
                </a:lnTo>
                <a:lnTo>
                  <a:pt x="4891" y="3601"/>
                </a:lnTo>
                <a:lnTo>
                  <a:pt x="4672" y="3747"/>
                </a:lnTo>
                <a:lnTo>
                  <a:pt x="4453" y="3918"/>
                </a:lnTo>
                <a:lnTo>
                  <a:pt x="4234" y="4088"/>
                </a:lnTo>
                <a:lnTo>
                  <a:pt x="4039" y="4283"/>
                </a:lnTo>
                <a:lnTo>
                  <a:pt x="3869" y="4477"/>
                </a:lnTo>
                <a:lnTo>
                  <a:pt x="3699" y="4696"/>
                </a:lnTo>
                <a:lnTo>
                  <a:pt x="3553" y="4940"/>
                </a:lnTo>
                <a:lnTo>
                  <a:pt x="3431" y="5159"/>
                </a:lnTo>
                <a:lnTo>
                  <a:pt x="3309" y="5402"/>
                </a:lnTo>
                <a:lnTo>
                  <a:pt x="3236" y="5670"/>
                </a:lnTo>
                <a:lnTo>
                  <a:pt x="3163" y="5937"/>
                </a:lnTo>
                <a:lnTo>
                  <a:pt x="3115" y="6229"/>
                </a:lnTo>
                <a:lnTo>
                  <a:pt x="3090" y="6497"/>
                </a:lnTo>
                <a:lnTo>
                  <a:pt x="3090" y="6546"/>
                </a:lnTo>
                <a:lnTo>
                  <a:pt x="3115" y="6594"/>
                </a:lnTo>
                <a:lnTo>
                  <a:pt x="3188" y="6667"/>
                </a:lnTo>
                <a:lnTo>
                  <a:pt x="3261" y="6716"/>
                </a:lnTo>
                <a:lnTo>
                  <a:pt x="3285" y="6716"/>
                </a:lnTo>
                <a:lnTo>
                  <a:pt x="3309" y="6692"/>
                </a:lnTo>
                <a:lnTo>
                  <a:pt x="3382" y="6667"/>
                </a:lnTo>
                <a:lnTo>
                  <a:pt x="3431" y="6594"/>
                </a:lnTo>
                <a:lnTo>
                  <a:pt x="3480" y="6546"/>
                </a:lnTo>
                <a:lnTo>
                  <a:pt x="3504" y="6473"/>
                </a:lnTo>
                <a:lnTo>
                  <a:pt x="3528" y="6156"/>
                </a:lnTo>
                <a:lnTo>
                  <a:pt x="3601" y="5864"/>
                </a:lnTo>
                <a:lnTo>
                  <a:pt x="3699" y="5597"/>
                </a:lnTo>
                <a:lnTo>
                  <a:pt x="3820" y="5353"/>
                </a:lnTo>
                <a:lnTo>
                  <a:pt x="3966" y="5086"/>
                </a:lnTo>
                <a:lnTo>
                  <a:pt x="4137" y="4867"/>
                </a:lnTo>
                <a:lnTo>
                  <a:pt x="4307" y="4623"/>
                </a:lnTo>
                <a:lnTo>
                  <a:pt x="4526" y="4429"/>
                </a:lnTo>
                <a:lnTo>
                  <a:pt x="4745" y="4234"/>
                </a:lnTo>
                <a:lnTo>
                  <a:pt x="4988" y="4088"/>
                </a:lnTo>
                <a:lnTo>
                  <a:pt x="5256" y="3942"/>
                </a:lnTo>
                <a:lnTo>
                  <a:pt x="5499" y="3796"/>
                </a:lnTo>
                <a:lnTo>
                  <a:pt x="5767" y="3699"/>
                </a:lnTo>
                <a:lnTo>
                  <a:pt x="5864" y="3650"/>
                </a:lnTo>
                <a:lnTo>
                  <a:pt x="5913" y="3577"/>
                </a:lnTo>
                <a:lnTo>
                  <a:pt x="5937" y="3504"/>
                </a:lnTo>
                <a:lnTo>
                  <a:pt x="5937" y="3407"/>
                </a:lnTo>
                <a:lnTo>
                  <a:pt x="5889" y="3334"/>
                </a:lnTo>
                <a:lnTo>
                  <a:pt x="5840" y="3285"/>
                </a:lnTo>
                <a:lnTo>
                  <a:pt x="5743" y="3236"/>
                </a:lnTo>
                <a:close/>
                <a:moveTo>
                  <a:pt x="7324" y="1971"/>
                </a:moveTo>
                <a:lnTo>
                  <a:pt x="7787" y="2020"/>
                </a:lnTo>
                <a:lnTo>
                  <a:pt x="8249" y="2141"/>
                </a:lnTo>
                <a:lnTo>
                  <a:pt x="8687" y="2312"/>
                </a:lnTo>
                <a:lnTo>
                  <a:pt x="9101" y="2506"/>
                </a:lnTo>
                <a:lnTo>
                  <a:pt x="9490" y="2774"/>
                </a:lnTo>
                <a:lnTo>
                  <a:pt x="9879" y="3066"/>
                </a:lnTo>
                <a:lnTo>
                  <a:pt x="10220" y="3431"/>
                </a:lnTo>
                <a:lnTo>
                  <a:pt x="10512" y="3820"/>
                </a:lnTo>
                <a:lnTo>
                  <a:pt x="10707" y="4088"/>
                </a:lnTo>
                <a:lnTo>
                  <a:pt x="10877" y="4380"/>
                </a:lnTo>
                <a:lnTo>
                  <a:pt x="11023" y="4696"/>
                </a:lnTo>
                <a:lnTo>
                  <a:pt x="11120" y="5013"/>
                </a:lnTo>
                <a:lnTo>
                  <a:pt x="11217" y="5329"/>
                </a:lnTo>
                <a:lnTo>
                  <a:pt x="11266" y="5645"/>
                </a:lnTo>
                <a:lnTo>
                  <a:pt x="11315" y="5986"/>
                </a:lnTo>
                <a:lnTo>
                  <a:pt x="11315" y="6302"/>
                </a:lnTo>
                <a:lnTo>
                  <a:pt x="11315" y="6643"/>
                </a:lnTo>
                <a:lnTo>
                  <a:pt x="11266" y="6959"/>
                </a:lnTo>
                <a:lnTo>
                  <a:pt x="11217" y="7300"/>
                </a:lnTo>
                <a:lnTo>
                  <a:pt x="11144" y="7616"/>
                </a:lnTo>
                <a:lnTo>
                  <a:pt x="11047" y="7932"/>
                </a:lnTo>
                <a:lnTo>
                  <a:pt x="10925" y="8249"/>
                </a:lnTo>
                <a:lnTo>
                  <a:pt x="10780" y="8565"/>
                </a:lnTo>
                <a:lnTo>
                  <a:pt x="10634" y="8857"/>
                </a:lnTo>
                <a:lnTo>
                  <a:pt x="10439" y="9173"/>
                </a:lnTo>
                <a:lnTo>
                  <a:pt x="10220" y="9490"/>
                </a:lnTo>
                <a:lnTo>
                  <a:pt x="9977" y="9757"/>
                </a:lnTo>
                <a:lnTo>
                  <a:pt x="9733" y="10025"/>
                </a:lnTo>
                <a:lnTo>
                  <a:pt x="9441" y="10268"/>
                </a:lnTo>
                <a:lnTo>
                  <a:pt x="9149" y="10487"/>
                </a:lnTo>
                <a:lnTo>
                  <a:pt x="8857" y="10682"/>
                </a:lnTo>
                <a:lnTo>
                  <a:pt x="8541" y="10852"/>
                </a:lnTo>
                <a:lnTo>
                  <a:pt x="8200" y="10998"/>
                </a:lnTo>
                <a:lnTo>
                  <a:pt x="7860" y="11120"/>
                </a:lnTo>
                <a:lnTo>
                  <a:pt x="7519" y="11193"/>
                </a:lnTo>
                <a:lnTo>
                  <a:pt x="7154" y="11242"/>
                </a:lnTo>
                <a:lnTo>
                  <a:pt x="6789" y="11266"/>
                </a:lnTo>
                <a:lnTo>
                  <a:pt x="6424" y="11242"/>
                </a:lnTo>
                <a:lnTo>
                  <a:pt x="6059" y="11193"/>
                </a:lnTo>
                <a:lnTo>
                  <a:pt x="5670" y="11096"/>
                </a:lnTo>
                <a:lnTo>
                  <a:pt x="5353" y="10998"/>
                </a:lnTo>
                <a:lnTo>
                  <a:pt x="5037" y="10877"/>
                </a:lnTo>
                <a:lnTo>
                  <a:pt x="4721" y="10731"/>
                </a:lnTo>
                <a:lnTo>
                  <a:pt x="4404" y="10560"/>
                </a:lnTo>
                <a:lnTo>
                  <a:pt x="4112" y="10390"/>
                </a:lnTo>
                <a:lnTo>
                  <a:pt x="3820" y="10171"/>
                </a:lnTo>
                <a:lnTo>
                  <a:pt x="3553" y="9952"/>
                </a:lnTo>
                <a:lnTo>
                  <a:pt x="3285" y="9733"/>
                </a:lnTo>
                <a:lnTo>
                  <a:pt x="3042" y="9490"/>
                </a:lnTo>
                <a:lnTo>
                  <a:pt x="2823" y="9222"/>
                </a:lnTo>
                <a:lnTo>
                  <a:pt x="2628" y="8930"/>
                </a:lnTo>
                <a:lnTo>
                  <a:pt x="2434" y="8638"/>
                </a:lnTo>
                <a:lnTo>
                  <a:pt x="2288" y="8346"/>
                </a:lnTo>
                <a:lnTo>
                  <a:pt x="2142" y="8030"/>
                </a:lnTo>
                <a:lnTo>
                  <a:pt x="2044" y="7689"/>
                </a:lnTo>
                <a:lnTo>
                  <a:pt x="1971" y="7349"/>
                </a:lnTo>
                <a:lnTo>
                  <a:pt x="1947" y="7057"/>
                </a:lnTo>
                <a:lnTo>
                  <a:pt x="1923" y="6765"/>
                </a:lnTo>
                <a:lnTo>
                  <a:pt x="1923" y="6497"/>
                </a:lnTo>
                <a:lnTo>
                  <a:pt x="1947" y="6205"/>
                </a:lnTo>
                <a:lnTo>
                  <a:pt x="1996" y="5937"/>
                </a:lnTo>
                <a:lnTo>
                  <a:pt x="2044" y="5670"/>
                </a:lnTo>
                <a:lnTo>
                  <a:pt x="2142" y="5402"/>
                </a:lnTo>
                <a:lnTo>
                  <a:pt x="2239" y="5159"/>
                </a:lnTo>
                <a:lnTo>
                  <a:pt x="2336" y="4915"/>
                </a:lnTo>
                <a:lnTo>
                  <a:pt x="2482" y="4672"/>
                </a:lnTo>
                <a:lnTo>
                  <a:pt x="2628" y="4429"/>
                </a:lnTo>
                <a:lnTo>
                  <a:pt x="2774" y="4210"/>
                </a:lnTo>
                <a:lnTo>
                  <a:pt x="2944" y="3991"/>
                </a:lnTo>
                <a:lnTo>
                  <a:pt x="3139" y="3772"/>
                </a:lnTo>
                <a:lnTo>
                  <a:pt x="3528" y="3382"/>
                </a:lnTo>
                <a:lnTo>
                  <a:pt x="3966" y="3017"/>
                </a:lnTo>
                <a:lnTo>
                  <a:pt x="4404" y="2701"/>
                </a:lnTo>
                <a:lnTo>
                  <a:pt x="4891" y="2409"/>
                </a:lnTo>
                <a:lnTo>
                  <a:pt x="5134" y="2287"/>
                </a:lnTo>
                <a:lnTo>
                  <a:pt x="5378" y="2166"/>
                </a:lnTo>
                <a:lnTo>
                  <a:pt x="5645" y="2117"/>
                </a:lnTo>
                <a:lnTo>
                  <a:pt x="6035" y="2068"/>
                </a:lnTo>
                <a:lnTo>
                  <a:pt x="6716" y="1995"/>
                </a:lnTo>
                <a:lnTo>
                  <a:pt x="7300" y="1995"/>
                </a:lnTo>
                <a:lnTo>
                  <a:pt x="7324" y="1971"/>
                </a:lnTo>
                <a:close/>
                <a:moveTo>
                  <a:pt x="6935" y="1533"/>
                </a:moveTo>
                <a:lnTo>
                  <a:pt x="6497" y="1582"/>
                </a:lnTo>
                <a:lnTo>
                  <a:pt x="6083" y="1679"/>
                </a:lnTo>
                <a:lnTo>
                  <a:pt x="5864" y="1703"/>
                </a:lnTo>
                <a:lnTo>
                  <a:pt x="5621" y="1752"/>
                </a:lnTo>
                <a:lnTo>
                  <a:pt x="5353" y="1825"/>
                </a:lnTo>
                <a:lnTo>
                  <a:pt x="5110" y="1922"/>
                </a:lnTo>
                <a:lnTo>
                  <a:pt x="4842" y="2044"/>
                </a:lnTo>
                <a:lnTo>
                  <a:pt x="4599" y="2166"/>
                </a:lnTo>
                <a:lnTo>
                  <a:pt x="4112" y="2458"/>
                </a:lnTo>
                <a:lnTo>
                  <a:pt x="3650" y="2774"/>
                </a:lnTo>
                <a:lnTo>
                  <a:pt x="3212" y="3115"/>
                </a:lnTo>
                <a:lnTo>
                  <a:pt x="2823" y="3504"/>
                </a:lnTo>
                <a:lnTo>
                  <a:pt x="2458" y="3918"/>
                </a:lnTo>
                <a:lnTo>
                  <a:pt x="2312" y="4161"/>
                </a:lnTo>
                <a:lnTo>
                  <a:pt x="2166" y="4380"/>
                </a:lnTo>
                <a:lnTo>
                  <a:pt x="2020" y="4623"/>
                </a:lnTo>
                <a:lnTo>
                  <a:pt x="1923" y="4867"/>
                </a:lnTo>
                <a:lnTo>
                  <a:pt x="1801" y="5110"/>
                </a:lnTo>
                <a:lnTo>
                  <a:pt x="1728" y="5378"/>
                </a:lnTo>
                <a:lnTo>
                  <a:pt x="1631" y="5645"/>
                </a:lnTo>
                <a:lnTo>
                  <a:pt x="1582" y="5913"/>
                </a:lnTo>
                <a:lnTo>
                  <a:pt x="1533" y="6181"/>
                </a:lnTo>
                <a:lnTo>
                  <a:pt x="1509" y="6473"/>
                </a:lnTo>
                <a:lnTo>
                  <a:pt x="1509" y="6765"/>
                </a:lnTo>
                <a:lnTo>
                  <a:pt x="1509" y="7057"/>
                </a:lnTo>
                <a:lnTo>
                  <a:pt x="1558" y="7349"/>
                </a:lnTo>
                <a:lnTo>
                  <a:pt x="1606" y="7640"/>
                </a:lnTo>
                <a:lnTo>
                  <a:pt x="1679" y="7932"/>
                </a:lnTo>
                <a:lnTo>
                  <a:pt x="1752" y="8224"/>
                </a:lnTo>
                <a:lnTo>
                  <a:pt x="1874" y="8492"/>
                </a:lnTo>
                <a:lnTo>
                  <a:pt x="1996" y="8760"/>
                </a:lnTo>
                <a:lnTo>
                  <a:pt x="2142" y="9027"/>
                </a:lnTo>
                <a:lnTo>
                  <a:pt x="2312" y="9295"/>
                </a:lnTo>
                <a:lnTo>
                  <a:pt x="2507" y="9538"/>
                </a:lnTo>
                <a:lnTo>
                  <a:pt x="2726" y="9782"/>
                </a:lnTo>
                <a:lnTo>
                  <a:pt x="2944" y="10001"/>
                </a:lnTo>
                <a:lnTo>
                  <a:pt x="3188" y="10195"/>
                </a:lnTo>
                <a:lnTo>
                  <a:pt x="3699" y="10585"/>
                </a:lnTo>
                <a:lnTo>
                  <a:pt x="3991" y="10779"/>
                </a:lnTo>
                <a:lnTo>
                  <a:pt x="4283" y="10950"/>
                </a:lnTo>
                <a:lnTo>
                  <a:pt x="4599" y="11120"/>
                </a:lnTo>
                <a:lnTo>
                  <a:pt x="4915" y="11266"/>
                </a:lnTo>
                <a:lnTo>
                  <a:pt x="5232" y="11412"/>
                </a:lnTo>
                <a:lnTo>
                  <a:pt x="5572" y="11509"/>
                </a:lnTo>
                <a:lnTo>
                  <a:pt x="5889" y="11607"/>
                </a:lnTo>
                <a:lnTo>
                  <a:pt x="6254" y="11680"/>
                </a:lnTo>
                <a:lnTo>
                  <a:pt x="6594" y="11704"/>
                </a:lnTo>
                <a:lnTo>
                  <a:pt x="6959" y="11728"/>
                </a:lnTo>
                <a:lnTo>
                  <a:pt x="7300" y="11680"/>
                </a:lnTo>
                <a:lnTo>
                  <a:pt x="7641" y="11631"/>
                </a:lnTo>
                <a:lnTo>
                  <a:pt x="7981" y="11534"/>
                </a:lnTo>
                <a:lnTo>
                  <a:pt x="8322" y="11436"/>
                </a:lnTo>
                <a:lnTo>
                  <a:pt x="8638" y="11290"/>
                </a:lnTo>
                <a:lnTo>
                  <a:pt x="8955" y="11120"/>
                </a:lnTo>
                <a:lnTo>
                  <a:pt x="9344" y="10877"/>
                </a:lnTo>
                <a:lnTo>
                  <a:pt x="9733" y="10609"/>
                </a:lnTo>
                <a:lnTo>
                  <a:pt x="10074" y="10293"/>
                </a:lnTo>
                <a:lnTo>
                  <a:pt x="10390" y="9976"/>
                </a:lnTo>
                <a:lnTo>
                  <a:pt x="10658" y="9611"/>
                </a:lnTo>
                <a:lnTo>
                  <a:pt x="10925" y="9222"/>
                </a:lnTo>
                <a:lnTo>
                  <a:pt x="11144" y="8808"/>
                </a:lnTo>
                <a:lnTo>
                  <a:pt x="11339" y="8395"/>
                </a:lnTo>
                <a:lnTo>
                  <a:pt x="11509" y="7957"/>
                </a:lnTo>
                <a:lnTo>
                  <a:pt x="11631" y="7519"/>
                </a:lnTo>
                <a:lnTo>
                  <a:pt x="11704" y="7081"/>
                </a:lnTo>
                <a:lnTo>
                  <a:pt x="11753" y="6619"/>
                </a:lnTo>
                <a:lnTo>
                  <a:pt x="11753" y="6156"/>
                </a:lnTo>
                <a:lnTo>
                  <a:pt x="11728" y="5694"/>
                </a:lnTo>
                <a:lnTo>
                  <a:pt x="11655" y="5256"/>
                </a:lnTo>
                <a:lnTo>
                  <a:pt x="11534" y="4794"/>
                </a:lnTo>
                <a:lnTo>
                  <a:pt x="11363" y="4404"/>
                </a:lnTo>
                <a:lnTo>
                  <a:pt x="11169" y="4015"/>
                </a:lnTo>
                <a:lnTo>
                  <a:pt x="10950" y="3650"/>
                </a:lnTo>
                <a:lnTo>
                  <a:pt x="10682" y="3285"/>
                </a:lnTo>
                <a:lnTo>
                  <a:pt x="10390" y="2969"/>
                </a:lnTo>
                <a:lnTo>
                  <a:pt x="10074" y="2677"/>
                </a:lnTo>
                <a:lnTo>
                  <a:pt x="9733" y="2409"/>
                </a:lnTo>
                <a:lnTo>
                  <a:pt x="9393" y="2166"/>
                </a:lnTo>
                <a:lnTo>
                  <a:pt x="9003" y="1971"/>
                </a:lnTo>
                <a:lnTo>
                  <a:pt x="8614" y="1801"/>
                </a:lnTo>
                <a:lnTo>
                  <a:pt x="8200" y="1655"/>
                </a:lnTo>
                <a:lnTo>
                  <a:pt x="7787" y="1582"/>
                </a:lnTo>
                <a:lnTo>
                  <a:pt x="7349" y="1533"/>
                </a:lnTo>
                <a:close/>
                <a:moveTo>
                  <a:pt x="12118" y="11558"/>
                </a:moveTo>
                <a:lnTo>
                  <a:pt x="12142" y="11582"/>
                </a:lnTo>
                <a:lnTo>
                  <a:pt x="11972" y="11777"/>
                </a:lnTo>
                <a:lnTo>
                  <a:pt x="12093" y="11631"/>
                </a:lnTo>
                <a:lnTo>
                  <a:pt x="12118" y="11558"/>
                </a:lnTo>
                <a:close/>
                <a:moveTo>
                  <a:pt x="6789" y="584"/>
                </a:moveTo>
                <a:lnTo>
                  <a:pt x="7154" y="608"/>
                </a:lnTo>
                <a:lnTo>
                  <a:pt x="7519" y="657"/>
                </a:lnTo>
                <a:lnTo>
                  <a:pt x="7884" y="706"/>
                </a:lnTo>
                <a:lnTo>
                  <a:pt x="8225" y="803"/>
                </a:lnTo>
                <a:lnTo>
                  <a:pt x="8565" y="900"/>
                </a:lnTo>
                <a:lnTo>
                  <a:pt x="8906" y="1022"/>
                </a:lnTo>
                <a:lnTo>
                  <a:pt x="9247" y="1144"/>
                </a:lnTo>
                <a:lnTo>
                  <a:pt x="9563" y="1314"/>
                </a:lnTo>
                <a:lnTo>
                  <a:pt x="9879" y="1484"/>
                </a:lnTo>
                <a:lnTo>
                  <a:pt x="10171" y="1679"/>
                </a:lnTo>
                <a:lnTo>
                  <a:pt x="10439" y="1874"/>
                </a:lnTo>
                <a:lnTo>
                  <a:pt x="10707" y="2093"/>
                </a:lnTo>
                <a:lnTo>
                  <a:pt x="10950" y="2312"/>
                </a:lnTo>
                <a:lnTo>
                  <a:pt x="11193" y="2555"/>
                </a:lnTo>
                <a:lnTo>
                  <a:pt x="11485" y="2896"/>
                </a:lnTo>
                <a:lnTo>
                  <a:pt x="11753" y="3261"/>
                </a:lnTo>
                <a:lnTo>
                  <a:pt x="11996" y="3626"/>
                </a:lnTo>
                <a:lnTo>
                  <a:pt x="12191" y="4015"/>
                </a:lnTo>
                <a:lnTo>
                  <a:pt x="12361" y="4404"/>
                </a:lnTo>
                <a:lnTo>
                  <a:pt x="12507" y="4818"/>
                </a:lnTo>
                <a:lnTo>
                  <a:pt x="12629" y="5232"/>
                </a:lnTo>
                <a:lnTo>
                  <a:pt x="12702" y="5645"/>
                </a:lnTo>
                <a:lnTo>
                  <a:pt x="12750" y="6059"/>
                </a:lnTo>
                <a:lnTo>
                  <a:pt x="12775" y="6473"/>
                </a:lnTo>
                <a:lnTo>
                  <a:pt x="12775" y="6911"/>
                </a:lnTo>
                <a:lnTo>
                  <a:pt x="12726" y="7324"/>
                </a:lnTo>
                <a:lnTo>
                  <a:pt x="12653" y="7762"/>
                </a:lnTo>
                <a:lnTo>
                  <a:pt x="12556" y="8176"/>
                </a:lnTo>
                <a:lnTo>
                  <a:pt x="12434" y="8589"/>
                </a:lnTo>
                <a:lnTo>
                  <a:pt x="12264" y="9003"/>
                </a:lnTo>
                <a:lnTo>
                  <a:pt x="12045" y="9465"/>
                </a:lnTo>
                <a:lnTo>
                  <a:pt x="11801" y="9903"/>
                </a:lnTo>
                <a:lnTo>
                  <a:pt x="11534" y="10293"/>
                </a:lnTo>
                <a:lnTo>
                  <a:pt x="11217" y="10682"/>
                </a:lnTo>
                <a:lnTo>
                  <a:pt x="10901" y="11047"/>
                </a:lnTo>
                <a:lnTo>
                  <a:pt x="10536" y="11388"/>
                </a:lnTo>
                <a:lnTo>
                  <a:pt x="10171" y="11680"/>
                </a:lnTo>
                <a:lnTo>
                  <a:pt x="9782" y="11947"/>
                </a:lnTo>
                <a:lnTo>
                  <a:pt x="9368" y="12191"/>
                </a:lnTo>
                <a:lnTo>
                  <a:pt x="8930" y="12385"/>
                </a:lnTo>
                <a:lnTo>
                  <a:pt x="8468" y="12556"/>
                </a:lnTo>
                <a:lnTo>
                  <a:pt x="8006" y="12677"/>
                </a:lnTo>
                <a:lnTo>
                  <a:pt x="7543" y="12750"/>
                </a:lnTo>
                <a:lnTo>
                  <a:pt x="7032" y="12775"/>
                </a:lnTo>
                <a:lnTo>
                  <a:pt x="6546" y="12775"/>
                </a:lnTo>
                <a:lnTo>
                  <a:pt x="6035" y="12702"/>
                </a:lnTo>
                <a:lnTo>
                  <a:pt x="5597" y="12604"/>
                </a:lnTo>
                <a:lnTo>
                  <a:pt x="5159" y="12483"/>
                </a:lnTo>
                <a:lnTo>
                  <a:pt x="4721" y="12337"/>
                </a:lnTo>
                <a:lnTo>
                  <a:pt x="4307" y="12166"/>
                </a:lnTo>
                <a:lnTo>
                  <a:pt x="3893" y="11947"/>
                </a:lnTo>
                <a:lnTo>
                  <a:pt x="3504" y="11728"/>
                </a:lnTo>
                <a:lnTo>
                  <a:pt x="3115" y="11485"/>
                </a:lnTo>
                <a:lnTo>
                  <a:pt x="2774" y="11193"/>
                </a:lnTo>
                <a:lnTo>
                  <a:pt x="2434" y="10901"/>
                </a:lnTo>
                <a:lnTo>
                  <a:pt x="2117" y="10560"/>
                </a:lnTo>
                <a:lnTo>
                  <a:pt x="1825" y="10220"/>
                </a:lnTo>
                <a:lnTo>
                  <a:pt x="1558" y="9855"/>
                </a:lnTo>
                <a:lnTo>
                  <a:pt x="1314" y="9465"/>
                </a:lnTo>
                <a:lnTo>
                  <a:pt x="1095" y="9052"/>
                </a:lnTo>
                <a:lnTo>
                  <a:pt x="925" y="8638"/>
                </a:lnTo>
                <a:lnTo>
                  <a:pt x="779" y="8200"/>
                </a:lnTo>
                <a:lnTo>
                  <a:pt x="682" y="7811"/>
                </a:lnTo>
                <a:lnTo>
                  <a:pt x="609" y="7446"/>
                </a:lnTo>
                <a:lnTo>
                  <a:pt x="560" y="7081"/>
                </a:lnTo>
                <a:lnTo>
                  <a:pt x="560" y="6716"/>
                </a:lnTo>
                <a:lnTo>
                  <a:pt x="560" y="6351"/>
                </a:lnTo>
                <a:lnTo>
                  <a:pt x="584" y="5986"/>
                </a:lnTo>
                <a:lnTo>
                  <a:pt x="633" y="5645"/>
                </a:lnTo>
                <a:lnTo>
                  <a:pt x="706" y="5305"/>
                </a:lnTo>
                <a:lnTo>
                  <a:pt x="803" y="4964"/>
                </a:lnTo>
                <a:lnTo>
                  <a:pt x="925" y="4648"/>
                </a:lnTo>
                <a:lnTo>
                  <a:pt x="1047" y="4307"/>
                </a:lnTo>
                <a:lnTo>
                  <a:pt x="1217" y="3991"/>
                </a:lnTo>
                <a:lnTo>
                  <a:pt x="1387" y="3674"/>
                </a:lnTo>
                <a:lnTo>
                  <a:pt x="1606" y="3382"/>
                </a:lnTo>
                <a:lnTo>
                  <a:pt x="1825" y="3090"/>
                </a:lnTo>
                <a:lnTo>
                  <a:pt x="2069" y="2798"/>
                </a:lnTo>
                <a:lnTo>
                  <a:pt x="2361" y="2506"/>
                </a:lnTo>
                <a:lnTo>
                  <a:pt x="2726" y="2190"/>
                </a:lnTo>
                <a:lnTo>
                  <a:pt x="3163" y="1849"/>
                </a:lnTo>
                <a:lnTo>
                  <a:pt x="3674" y="1509"/>
                </a:lnTo>
                <a:lnTo>
                  <a:pt x="4210" y="1217"/>
                </a:lnTo>
                <a:lnTo>
                  <a:pt x="4502" y="1071"/>
                </a:lnTo>
                <a:lnTo>
                  <a:pt x="4794" y="949"/>
                </a:lnTo>
                <a:lnTo>
                  <a:pt x="5110" y="852"/>
                </a:lnTo>
                <a:lnTo>
                  <a:pt x="5402" y="754"/>
                </a:lnTo>
                <a:lnTo>
                  <a:pt x="5718" y="681"/>
                </a:lnTo>
                <a:lnTo>
                  <a:pt x="6035" y="633"/>
                </a:lnTo>
                <a:lnTo>
                  <a:pt x="6400" y="608"/>
                </a:lnTo>
                <a:lnTo>
                  <a:pt x="6789" y="584"/>
                </a:lnTo>
                <a:close/>
                <a:moveTo>
                  <a:pt x="11704" y="10998"/>
                </a:moveTo>
                <a:lnTo>
                  <a:pt x="11923" y="11315"/>
                </a:lnTo>
                <a:lnTo>
                  <a:pt x="11874" y="11339"/>
                </a:lnTo>
                <a:lnTo>
                  <a:pt x="11850" y="11363"/>
                </a:lnTo>
                <a:lnTo>
                  <a:pt x="11607" y="11607"/>
                </a:lnTo>
                <a:lnTo>
                  <a:pt x="11339" y="11826"/>
                </a:lnTo>
                <a:lnTo>
                  <a:pt x="11071" y="11996"/>
                </a:lnTo>
                <a:lnTo>
                  <a:pt x="10950" y="12093"/>
                </a:lnTo>
                <a:lnTo>
                  <a:pt x="10925" y="12166"/>
                </a:lnTo>
                <a:lnTo>
                  <a:pt x="10901" y="12239"/>
                </a:lnTo>
                <a:lnTo>
                  <a:pt x="10901" y="12264"/>
                </a:lnTo>
                <a:lnTo>
                  <a:pt x="10974" y="12288"/>
                </a:lnTo>
                <a:lnTo>
                  <a:pt x="11047" y="12288"/>
                </a:lnTo>
                <a:lnTo>
                  <a:pt x="11217" y="12264"/>
                </a:lnTo>
                <a:lnTo>
                  <a:pt x="11363" y="12191"/>
                </a:lnTo>
                <a:lnTo>
                  <a:pt x="11509" y="12093"/>
                </a:lnTo>
                <a:lnTo>
                  <a:pt x="11826" y="11899"/>
                </a:lnTo>
                <a:lnTo>
                  <a:pt x="11972" y="11777"/>
                </a:lnTo>
                <a:lnTo>
                  <a:pt x="11850" y="11899"/>
                </a:lnTo>
                <a:lnTo>
                  <a:pt x="11728" y="11996"/>
                </a:lnTo>
                <a:lnTo>
                  <a:pt x="11485" y="12191"/>
                </a:lnTo>
                <a:lnTo>
                  <a:pt x="11363" y="12288"/>
                </a:lnTo>
                <a:lnTo>
                  <a:pt x="11339" y="12361"/>
                </a:lnTo>
                <a:lnTo>
                  <a:pt x="11339" y="12434"/>
                </a:lnTo>
                <a:lnTo>
                  <a:pt x="11363" y="12483"/>
                </a:lnTo>
                <a:lnTo>
                  <a:pt x="11412" y="12531"/>
                </a:lnTo>
                <a:lnTo>
                  <a:pt x="11485" y="12556"/>
                </a:lnTo>
                <a:lnTo>
                  <a:pt x="11558" y="12531"/>
                </a:lnTo>
                <a:lnTo>
                  <a:pt x="11728" y="12483"/>
                </a:lnTo>
                <a:lnTo>
                  <a:pt x="11874" y="12385"/>
                </a:lnTo>
                <a:lnTo>
                  <a:pt x="12020" y="12288"/>
                </a:lnTo>
                <a:lnTo>
                  <a:pt x="12239" y="12118"/>
                </a:lnTo>
                <a:lnTo>
                  <a:pt x="12361" y="12020"/>
                </a:lnTo>
                <a:lnTo>
                  <a:pt x="12434" y="11899"/>
                </a:lnTo>
                <a:lnTo>
                  <a:pt x="12507" y="11947"/>
                </a:lnTo>
                <a:lnTo>
                  <a:pt x="12288" y="12142"/>
                </a:lnTo>
                <a:lnTo>
                  <a:pt x="12069" y="12337"/>
                </a:lnTo>
                <a:lnTo>
                  <a:pt x="11826" y="12556"/>
                </a:lnTo>
                <a:lnTo>
                  <a:pt x="11728" y="12677"/>
                </a:lnTo>
                <a:lnTo>
                  <a:pt x="11655" y="12823"/>
                </a:lnTo>
                <a:lnTo>
                  <a:pt x="11631" y="12896"/>
                </a:lnTo>
                <a:lnTo>
                  <a:pt x="11680" y="12969"/>
                </a:lnTo>
                <a:lnTo>
                  <a:pt x="11753" y="12994"/>
                </a:lnTo>
                <a:lnTo>
                  <a:pt x="11826" y="12994"/>
                </a:lnTo>
                <a:lnTo>
                  <a:pt x="11972" y="12945"/>
                </a:lnTo>
                <a:lnTo>
                  <a:pt x="12118" y="12848"/>
                </a:lnTo>
                <a:lnTo>
                  <a:pt x="12385" y="12629"/>
                </a:lnTo>
                <a:lnTo>
                  <a:pt x="12604" y="12458"/>
                </a:lnTo>
                <a:lnTo>
                  <a:pt x="12823" y="12264"/>
                </a:lnTo>
                <a:lnTo>
                  <a:pt x="12872" y="12312"/>
                </a:lnTo>
                <a:lnTo>
                  <a:pt x="12604" y="12702"/>
                </a:lnTo>
                <a:lnTo>
                  <a:pt x="12483" y="12848"/>
                </a:lnTo>
                <a:lnTo>
                  <a:pt x="12361" y="12969"/>
                </a:lnTo>
                <a:lnTo>
                  <a:pt x="12215" y="13067"/>
                </a:lnTo>
                <a:lnTo>
                  <a:pt x="12093" y="13213"/>
                </a:lnTo>
                <a:lnTo>
                  <a:pt x="12093" y="13261"/>
                </a:lnTo>
                <a:lnTo>
                  <a:pt x="12093" y="13310"/>
                </a:lnTo>
                <a:lnTo>
                  <a:pt x="12118" y="13334"/>
                </a:lnTo>
                <a:lnTo>
                  <a:pt x="12166" y="13359"/>
                </a:lnTo>
                <a:lnTo>
                  <a:pt x="12312" y="13359"/>
                </a:lnTo>
                <a:lnTo>
                  <a:pt x="12458" y="13334"/>
                </a:lnTo>
                <a:lnTo>
                  <a:pt x="12604" y="13261"/>
                </a:lnTo>
                <a:lnTo>
                  <a:pt x="12750" y="13140"/>
                </a:lnTo>
                <a:lnTo>
                  <a:pt x="12896" y="13042"/>
                </a:lnTo>
                <a:lnTo>
                  <a:pt x="12994" y="12896"/>
                </a:lnTo>
                <a:lnTo>
                  <a:pt x="13115" y="12750"/>
                </a:lnTo>
                <a:lnTo>
                  <a:pt x="13188" y="12604"/>
                </a:lnTo>
                <a:lnTo>
                  <a:pt x="13505" y="12872"/>
                </a:lnTo>
                <a:lnTo>
                  <a:pt x="13407" y="12945"/>
                </a:lnTo>
                <a:lnTo>
                  <a:pt x="13310" y="13018"/>
                </a:lnTo>
                <a:lnTo>
                  <a:pt x="13115" y="13213"/>
                </a:lnTo>
                <a:lnTo>
                  <a:pt x="12896" y="13359"/>
                </a:lnTo>
                <a:lnTo>
                  <a:pt x="12677" y="13529"/>
                </a:lnTo>
                <a:lnTo>
                  <a:pt x="12653" y="13553"/>
                </a:lnTo>
                <a:lnTo>
                  <a:pt x="12629" y="13602"/>
                </a:lnTo>
                <a:lnTo>
                  <a:pt x="12653" y="13651"/>
                </a:lnTo>
                <a:lnTo>
                  <a:pt x="12677" y="13699"/>
                </a:lnTo>
                <a:lnTo>
                  <a:pt x="12750" y="13724"/>
                </a:lnTo>
                <a:lnTo>
                  <a:pt x="12848" y="13748"/>
                </a:lnTo>
                <a:lnTo>
                  <a:pt x="12921" y="13748"/>
                </a:lnTo>
                <a:lnTo>
                  <a:pt x="12994" y="13724"/>
                </a:lnTo>
                <a:lnTo>
                  <a:pt x="13140" y="13651"/>
                </a:lnTo>
                <a:lnTo>
                  <a:pt x="13286" y="13578"/>
                </a:lnTo>
                <a:lnTo>
                  <a:pt x="13407" y="13480"/>
                </a:lnTo>
                <a:lnTo>
                  <a:pt x="13553" y="13383"/>
                </a:lnTo>
                <a:lnTo>
                  <a:pt x="13675" y="13237"/>
                </a:lnTo>
                <a:lnTo>
                  <a:pt x="13724" y="13164"/>
                </a:lnTo>
                <a:lnTo>
                  <a:pt x="13748" y="13091"/>
                </a:lnTo>
                <a:lnTo>
                  <a:pt x="13943" y="13286"/>
                </a:lnTo>
                <a:lnTo>
                  <a:pt x="13918" y="13286"/>
                </a:lnTo>
                <a:lnTo>
                  <a:pt x="13772" y="13383"/>
                </a:lnTo>
                <a:lnTo>
                  <a:pt x="13675" y="13505"/>
                </a:lnTo>
                <a:lnTo>
                  <a:pt x="13456" y="13748"/>
                </a:lnTo>
                <a:lnTo>
                  <a:pt x="13237" y="13967"/>
                </a:lnTo>
                <a:lnTo>
                  <a:pt x="13140" y="14064"/>
                </a:lnTo>
                <a:lnTo>
                  <a:pt x="13067" y="14210"/>
                </a:lnTo>
                <a:lnTo>
                  <a:pt x="13042" y="14235"/>
                </a:lnTo>
                <a:lnTo>
                  <a:pt x="13067" y="14259"/>
                </a:lnTo>
                <a:lnTo>
                  <a:pt x="13067" y="14308"/>
                </a:lnTo>
                <a:lnTo>
                  <a:pt x="13115" y="14308"/>
                </a:lnTo>
                <a:lnTo>
                  <a:pt x="13261" y="14259"/>
                </a:lnTo>
                <a:lnTo>
                  <a:pt x="13407" y="14210"/>
                </a:lnTo>
                <a:lnTo>
                  <a:pt x="13651" y="14040"/>
                </a:lnTo>
                <a:lnTo>
                  <a:pt x="13797" y="13918"/>
                </a:lnTo>
                <a:lnTo>
                  <a:pt x="13943" y="13797"/>
                </a:lnTo>
                <a:lnTo>
                  <a:pt x="14064" y="13626"/>
                </a:lnTo>
                <a:lnTo>
                  <a:pt x="14137" y="13480"/>
                </a:lnTo>
                <a:lnTo>
                  <a:pt x="14332" y="13675"/>
                </a:lnTo>
                <a:lnTo>
                  <a:pt x="14186" y="13918"/>
                </a:lnTo>
                <a:lnTo>
                  <a:pt x="14089" y="14040"/>
                </a:lnTo>
                <a:lnTo>
                  <a:pt x="13991" y="14137"/>
                </a:lnTo>
                <a:lnTo>
                  <a:pt x="13870" y="14235"/>
                </a:lnTo>
                <a:lnTo>
                  <a:pt x="13748" y="14308"/>
                </a:lnTo>
                <a:lnTo>
                  <a:pt x="13626" y="14381"/>
                </a:lnTo>
                <a:lnTo>
                  <a:pt x="13505" y="14454"/>
                </a:lnTo>
                <a:lnTo>
                  <a:pt x="13505" y="14502"/>
                </a:lnTo>
                <a:lnTo>
                  <a:pt x="13480" y="14527"/>
                </a:lnTo>
                <a:lnTo>
                  <a:pt x="13505" y="14600"/>
                </a:lnTo>
                <a:lnTo>
                  <a:pt x="13602" y="14648"/>
                </a:lnTo>
                <a:lnTo>
                  <a:pt x="13675" y="14673"/>
                </a:lnTo>
                <a:lnTo>
                  <a:pt x="13772" y="14673"/>
                </a:lnTo>
                <a:lnTo>
                  <a:pt x="13894" y="14648"/>
                </a:lnTo>
                <a:lnTo>
                  <a:pt x="14089" y="14551"/>
                </a:lnTo>
                <a:lnTo>
                  <a:pt x="14235" y="14454"/>
                </a:lnTo>
                <a:lnTo>
                  <a:pt x="14356" y="14356"/>
                </a:lnTo>
                <a:lnTo>
                  <a:pt x="14454" y="14235"/>
                </a:lnTo>
                <a:lnTo>
                  <a:pt x="14575" y="14113"/>
                </a:lnTo>
                <a:lnTo>
                  <a:pt x="14648" y="13967"/>
                </a:lnTo>
                <a:lnTo>
                  <a:pt x="14867" y="14210"/>
                </a:lnTo>
                <a:lnTo>
                  <a:pt x="14843" y="14210"/>
                </a:lnTo>
                <a:lnTo>
                  <a:pt x="14721" y="14259"/>
                </a:lnTo>
                <a:lnTo>
                  <a:pt x="14624" y="14332"/>
                </a:lnTo>
                <a:lnTo>
                  <a:pt x="14454" y="14527"/>
                </a:lnTo>
                <a:lnTo>
                  <a:pt x="14235" y="14746"/>
                </a:lnTo>
                <a:lnTo>
                  <a:pt x="14113" y="14867"/>
                </a:lnTo>
                <a:lnTo>
                  <a:pt x="13991" y="14940"/>
                </a:lnTo>
                <a:lnTo>
                  <a:pt x="13967" y="14989"/>
                </a:lnTo>
                <a:lnTo>
                  <a:pt x="13967" y="15038"/>
                </a:lnTo>
                <a:lnTo>
                  <a:pt x="14016" y="15086"/>
                </a:lnTo>
                <a:lnTo>
                  <a:pt x="14064" y="15086"/>
                </a:lnTo>
                <a:lnTo>
                  <a:pt x="14356" y="15013"/>
                </a:lnTo>
                <a:lnTo>
                  <a:pt x="14478" y="14940"/>
                </a:lnTo>
                <a:lnTo>
                  <a:pt x="14624" y="14867"/>
                </a:lnTo>
                <a:lnTo>
                  <a:pt x="14867" y="14648"/>
                </a:lnTo>
                <a:lnTo>
                  <a:pt x="14965" y="14527"/>
                </a:lnTo>
                <a:lnTo>
                  <a:pt x="15038" y="14405"/>
                </a:lnTo>
                <a:lnTo>
                  <a:pt x="15038" y="14381"/>
                </a:lnTo>
                <a:lnTo>
                  <a:pt x="15330" y="14673"/>
                </a:lnTo>
                <a:lnTo>
                  <a:pt x="15111" y="14867"/>
                </a:lnTo>
                <a:lnTo>
                  <a:pt x="14892" y="15062"/>
                </a:lnTo>
                <a:lnTo>
                  <a:pt x="14648" y="15232"/>
                </a:lnTo>
                <a:lnTo>
                  <a:pt x="14527" y="15330"/>
                </a:lnTo>
                <a:lnTo>
                  <a:pt x="14429" y="15427"/>
                </a:lnTo>
                <a:lnTo>
                  <a:pt x="14405" y="15451"/>
                </a:lnTo>
                <a:lnTo>
                  <a:pt x="14405" y="15500"/>
                </a:lnTo>
                <a:lnTo>
                  <a:pt x="14429" y="15524"/>
                </a:lnTo>
                <a:lnTo>
                  <a:pt x="14454" y="15549"/>
                </a:lnTo>
                <a:lnTo>
                  <a:pt x="14624" y="15573"/>
                </a:lnTo>
                <a:lnTo>
                  <a:pt x="14770" y="15549"/>
                </a:lnTo>
                <a:lnTo>
                  <a:pt x="14940" y="15476"/>
                </a:lnTo>
                <a:lnTo>
                  <a:pt x="15086" y="15378"/>
                </a:lnTo>
                <a:lnTo>
                  <a:pt x="15232" y="15281"/>
                </a:lnTo>
                <a:lnTo>
                  <a:pt x="15354" y="15159"/>
                </a:lnTo>
                <a:lnTo>
                  <a:pt x="15573" y="14916"/>
                </a:lnTo>
                <a:lnTo>
                  <a:pt x="15743" y="15111"/>
                </a:lnTo>
                <a:lnTo>
                  <a:pt x="15476" y="15378"/>
                </a:lnTo>
                <a:lnTo>
                  <a:pt x="15330" y="15476"/>
                </a:lnTo>
                <a:lnTo>
                  <a:pt x="15184" y="15573"/>
                </a:lnTo>
                <a:lnTo>
                  <a:pt x="15038" y="15670"/>
                </a:lnTo>
                <a:lnTo>
                  <a:pt x="14892" y="15792"/>
                </a:lnTo>
                <a:lnTo>
                  <a:pt x="14843" y="15840"/>
                </a:lnTo>
                <a:lnTo>
                  <a:pt x="14867" y="15913"/>
                </a:lnTo>
                <a:lnTo>
                  <a:pt x="14892" y="15986"/>
                </a:lnTo>
                <a:lnTo>
                  <a:pt x="14940" y="16011"/>
                </a:lnTo>
                <a:lnTo>
                  <a:pt x="15038" y="16035"/>
                </a:lnTo>
                <a:lnTo>
                  <a:pt x="15159" y="16011"/>
                </a:lnTo>
                <a:lnTo>
                  <a:pt x="15354" y="15962"/>
                </a:lnTo>
                <a:lnTo>
                  <a:pt x="15524" y="15865"/>
                </a:lnTo>
                <a:lnTo>
                  <a:pt x="15695" y="15767"/>
                </a:lnTo>
                <a:lnTo>
                  <a:pt x="15889" y="15597"/>
                </a:lnTo>
                <a:lnTo>
                  <a:pt x="16060" y="15427"/>
                </a:lnTo>
                <a:lnTo>
                  <a:pt x="16352" y="15694"/>
                </a:lnTo>
                <a:lnTo>
                  <a:pt x="16181" y="15865"/>
                </a:lnTo>
                <a:lnTo>
                  <a:pt x="16011" y="16011"/>
                </a:lnTo>
                <a:lnTo>
                  <a:pt x="15743" y="16157"/>
                </a:lnTo>
                <a:lnTo>
                  <a:pt x="15500" y="16303"/>
                </a:lnTo>
                <a:lnTo>
                  <a:pt x="15451" y="16327"/>
                </a:lnTo>
                <a:lnTo>
                  <a:pt x="15451" y="16376"/>
                </a:lnTo>
                <a:lnTo>
                  <a:pt x="15476" y="16400"/>
                </a:lnTo>
                <a:lnTo>
                  <a:pt x="15524" y="16424"/>
                </a:lnTo>
                <a:lnTo>
                  <a:pt x="15719" y="16424"/>
                </a:lnTo>
                <a:lnTo>
                  <a:pt x="15889" y="16449"/>
                </a:lnTo>
                <a:lnTo>
                  <a:pt x="16084" y="16400"/>
                </a:lnTo>
                <a:lnTo>
                  <a:pt x="16254" y="16351"/>
                </a:lnTo>
                <a:lnTo>
                  <a:pt x="16400" y="16254"/>
                </a:lnTo>
                <a:lnTo>
                  <a:pt x="16522" y="16157"/>
                </a:lnTo>
                <a:lnTo>
                  <a:pt x="16498" y="16254"/>
                </a:lnTo>
                <a:lnTo>
                  <a:pt x="16400" y="16376"/>
                </a:lnTo>
                <a:lnTo>
                  <a:pt x="16279" y="16473"/>
                </a:lnTo>
                <a:lnTo>
                  <a:pt x="16133" y="16546"/>
                </a:lnTo>
                <a:lnTo>
                  <a:pt x="15987" y="16619"/>
                </a:lnTo>
                <a:lnTo>
                  <a:pt x="15768" y="16668"/>
                </a:lnTo>
                <a:lnTo>
                  <a:pt x="15451" y="16765"/>
                </a:lnTo>
                <a:lnTo>
                  <a:pt x="15427" y="16692"/>
                </a:lnTo>
                <a:lnTo>
                  <a:pt x="15354" y="16643"/>
                </a:lnTo>
                <a:lnTo>
                  <a:pt x="15208" y="16546"/>
                </a:lnTo>
                <a:lnTo>
                  <a:pt x="15062" y="16400"/>
                </a:lnTo>
                <a:lnTo>
                  <a:pt x="14770" y="16132"/>
                </a:lnTo>
                <a:lnTo>
                  <a:pt x="14016" y="15524"/>
                </a:lnTo>
                <a:lnTo>
                  <a:pt x="13626" y="15159"/>
                </a:lnTo>
                <a:lnTo>
                  <a:pt x="13261" y="14770"/>
                </a:lnTo>
                <a:lnTo>
                  <a:pt x="12556" y="14016"/>
                </a:lnTo>
                <a:lnTo>
                  <a:pt x="12312" y="13772"/>
                </a:lnTo>
                <a:lnTo>
                  <a:pt x="12045" y="13553"/>
                </a:lnTo>
                <a:lnTo>
                  <a:pt x="11485" y="13140"/>
                </a:lnTo>
                <a:lnTo>
                  <a:pt x="11217" y="12921"/>
                </a:lnTo>
                <a:lnTo>
                  <a:pt x="10950" y="12677"/>
                </a:lnTo>
                <a:lnTo>
                  <a:pt x="10707" y="12434"/>
                </a:lnTo>
                <a:lnTo>
                  <a:pt x="10512" y="12166"/>
                </a:lnTo>
                <a:lnTo>
                  <a:pt x="10828" y="11899"/>
                </a:lnTo>
                <a:lnTo>
                  <a:pt x="11144" y="11607"/>
                </a:lnTo>
                <a:lnTo>
                  <a:pt x="11436" y="11315"/>
                </a:lnTo>
                <a:lnTo>
                  <a:pt x="11704" y="10998"/>
                </a:lnTo>
                <a:close/>
                <a:moveTo>
                  <a:pt x="6400" y="0"/>
                </a:moveTo>
                <a:lnTo>
                  <a:pt x="5791" y="73"/>
                </a:lnTo>
                <a:lnTo>
                  <a:pt x="5183" y="170"/>
                </a:lnTo>
                <a:lnTo>
                  <a:pt x="4891" y="243"/>
                </a:lnTo>
                <a:lnTo>
                  <a:pt x="4599" y="341"/>
                </a:lnTo>
                <a:lnTo>
                  <a:pt x="4258" y="462"/>
                </a:lnTo>
                <a:lnTo>
                  <a:pt x="3918" y="633"/>
                </a:lnTo>
                <a:lnTo>
                  <a:pt x="3601" y="827"/>
                </a:lnTo>
                <a:lnTo>
                  <a:pt x="3285" y="1022"/>
                </a:lnTo>
                <a:lnTo>
                  <a:pt x="2969" y="1241"/>
                </a:lnTo>
                <a:lnTo>
                  <a:pt x="2677" y="1484"/>
                </a:lnTo>
                <a:lnTo>
                  <a:pt x="2117" y="1971"/>
                </a:lnTo>
                <a:lnTo>
                  <a:pt x="1850" y="2239"/>
                </a:lnTo>
                <a:lnTo>
                  <a:pt x="1606" y="2506"/>
                </a:lnTo>
                <a:lnTo>
                  <a:pt x="1363" y="2798"/>
                </a:lnTo>
                <a:lnTo>
                  <a:pt x="1168" y="3066"/>
                </a:lnTo>
                <a:lnTo>
                  <a:pt x="949" y="3382"/>
                </a:lnTo>
                <a:lnTo>
                  <a:pt x="779" y="3699"/>
                </a:lnTo>
                <a:lnTo>
                  <a:pt x="609" y="4015"/>
                </a:lnTo>
                <a:lnTo>
                  <a:pt x="463" y="4331"/>
                </a:lnTo>
                <a:lnTo>
                  <a:pt x="341" y="4672"/>
                </a:lnTo>
                <a:lnTo>
                  <a:pt x="244" y="5013"/>
                </a:lnTo>
                <a:lnTo>
                  <a:pt x="146" y="5353"/>
                </a:lnTo>
                <a:lnTo>
                  <a:pt x="73" y="5718"/>
                </a:lnTo>
                <a:lnTo>
                  <a:pt x="25" y="6083"/>
                </a:lnTo>
                <a:lnTo>
                  <a:pt x="0" y="6448"/>
                </a:lnTo>
                <a:lnTo>
                  <a:pt x="0" y="6813"/>
                </a:lnTo>
                <a:lnTo>
                  <a:pt x="0" y="7203"/>
                </a:lnTo>
                <a:lnTo>
                  <a:pt x="25" y="7592"/>
                </a:lnTo>
                <a:lnTo>
                  <a:pt x="98" y="7957"/>
                </a:lnTo>
                <a:lnTo>
                  <a:pt x="171" y="8346"/>
                </a:lnTo>
                <a:lnTo>
                  <a:pt x="268" y="8711"/>
                </a:lnTo>
                <a:lnTo>
                  <a:pt x="390" y="9076"/>
                </a:lnTo>
                <a:lnTo>
                  <a:pt x="560" y="9441"/>
                </a:lnTo>
                <a:lnTo>
                  <a:pt x="730" y="9782"/>
                </a:lnTo>
                <a:lnTo>
                  <a:pt x="925" y="10122"/>
                </a:lnTo>
                <a:lnTo>
                  <a:pt x="1168" y="10463"/>
                </a:lnTo>
                <a:lnTo>
                  <a:pt x="1436" y="10804"/>
                </a:lnTo>
                <a:lnTo>
                  <a:pt x="1704" y="11096"/>
                </a:lnTo>
                <a:lnTo>
                  <a:pt x="1996" y="11363"/>
                </a:lnTo>
                <a:lnTo>
                  <a:pt x="2312" y="11631"/>
                </a:lnTo>
                <a:lnTo>
                  <a:pt x="2628" y="11874"/>
                </a:lnTo>
                <a:lnTo>
                  <a:pt x="2969" y="12093"/>
                </a:lnTo>
                <a:lnTo>
                  <a:pt x="3334" y="12312"/>
                </a:lnTo>
                <a:lnTo>
                  <a:pt x="3747" y="12531"/>
                </a:lnTo>
                <a:lnTo>
                  <a:pt x="4161" y="12726"/>
                </a:lnTo>
                <a:lnTo>
                  <a:pt x="4599" y="12896"/>
                </a:lnTo>
                <a:lnTo>
                  <a:pt x="5037" y="13042"/>
                </a:lnTo>
                <a:lnTo>
                  <a:pt x="5499" y="13164"/>
                </a:lnTo>
                <a:lnTo>
                  <a:pt x="5937" y="13261"/>
                </a:lnTo>
                <a:lnTo>
                  <a:pt x="6400" y="13334"/>
                </a:lnTo>
                <a:lnTo>
                  <a:pt x="6862" y="13383"/>
                </a:lnTo>
                <a:lnTo>
                  <a:pt x="7324" y="13383"/>
                </a:lnTo>
                <a:lnTo>
                  <a:pt x="7787" y="13334"/>
                </a:lnTo>
                <a:lnTo>
                  <a:pt x="8225" y="13261"/>
                </a:lnTo>
                <a:lnTo>
                  <a:pt x="8638" y="13140"/>
                </a:lnTo>
                <a:lnTo>
                  <a:pt x="9076" y="12994"/>
                </a:lnTo>
                <a:lnTo>
                  <a:pt x="9466" y="12799"/>
                </a:lnTo>
                <a:lnTo>
                  <a:pt x="9879" y="12580"/>
                </a:lnTo>
                <a:lnTo>
                  <a:pt x="10269" y="12337"/>
                </a:lnTo>
                <a:lnTo>
                  <a:pt x="10293" y="12458"/>
                </a:lnTo>
                <a:lnTo>
                  <a:pt x="10317" y="12580"/>
                </a:lnTo>
                <a:lnTo>
                  <a:pt x="10390" y="12677"/>
                </a:lnTo>
                <a:lnTo>
                  <a:pt x="10463" y="12775"/>
                </a:lnTo>
                <a:lnTo>
                  <a:pt x="10658" y="12969"/>
                </a:lnTo>
                <a:lnTo>
                  <a:pt x="10828" y="13140"/>
                </a:lnTo>
                <a:lnTo>
                  <a:pt x="11120" y="13383"/>
                </a:lnTo>
                <a:lnTo>
                  <a:pt x="11412" y="13602"/>
                </a:lnTo>
                <a:lnTo>
                  <a:pt x="11704" y="13845"/>
                </a:lnTo>
                <a:lnTo>
                  <a:pt x="11972" y="14089"/>
                </a:lnTo>
                <a:lnTo>
                  <a:pt x="12385" y="14502"/>
                </a:lnTo>
                <a:lnTo>
                  <a:pt x="12775" y="14916"/>
                </a:lnTo>
                <a:lnTo>
                  <a:pt x="13164" y="15330"/>
                </a:lnTo>
                <a:lnTo>
                  <a:pt x="13553" y="15743"/>
                </a:lnTo>
                <a:lnTo>
                  <a:pt x="13772" y="15938"/>
                </a:lnTo>
                <a:lnTo>
                  <a:pt x="13991" y="16132"/>
                </a:lnTo>
                <a:lnTo>
                  <a:pt x="14429" y="16473"/>
                </a:lnTo>
                <a:lnTo>
                  <a:pt x="14770" y="16789"/>
                </a:lnTo>
                <a:lnTo>
                  <a:pt x="14916" y="16935"/>
                </a:lnTo>
                <a:lnTo>
                  <a:pt x="15111" y="17081"/>
                </a:lnTo>
                <a:lnTo>
                  <a:pt x="15184" y="17106"/>
                </a:lnTo>
                <a:lnTo>
                  <a:pt x="15232" y="17154"/>
                </a:lnTo>
                <a:lnTo>
                  <a:pt x="15305" y="17179"/>
                </a:lnTo>
                <a:lnTo>
                  <a:pt x="15451" y="17227"/>
                </a:lnTo>
                <a:lnTo>
                  <a:pt x="15646" y="17203"/>
                </a:lnTo>
                <a:lnTo>
                  <a:pt x="15841" y="17179"/>
                </a:lnTo>
                <a:lnTo>
                  <a:pt x="16035" y="17106"/>
                </a:lnTo>
                <a:lnTo>
                  <a:pt x="16230" y="17033"/>
                </a:lnTo>
                <a:lnTo>
                  <a:pt x="16498" y="16911"/>
                </a:lnTo>
                <a:lnTo>
                  <a:pt x="16644" y="16814"/>
                </a:lnTo>
                <a:lnTo>
                  <a:pt x="16790" y="16668"/>
                </a:lnTo>
                <a:lnTo>
                  <a:pt x="16911" y="16497"/>
                </a:lnTo>
                <a:lnTo>
                  <a:pt x="17009" y="16327"/>
                </a:lnTo>
                <a:lnTo>
                  <a:pt x="17057" y="16132"/>
                </a:lnTo>
                <a:lnTo>
                  <a:pt x="17082" y="15938"/>
                </a:lnTo>
                <a:lnTo>
                  <a:pt x="17057" y="15840"/>
                </a:lnTo>
                <a:lnTo>
                  <a:pt x="17033" y="15767"/>
                </a:lnTo>
                <a:lnTo>
                  <a:pt x="17009" y="15670"/>
                </a:lnTo>
                <a:lnTo>
                  <a:pt x="16936" y="15597"/>
                </a:lnTo>
                <a:lnTo>
                  <a:pt x="16887" y="15549"/>
                </a:lnTo>
                <a:lnTo>
                  <a:pt x="15500" y="14137"/>
                </a:lnTo>
                <a:lnTo>
                  <a:pt x="14819" y="13432"/>
                </a:lnTo>
                <a:lnTo>
                  <a:pt x="14089" y="12750"/>
                </a:lnTo>
                <a:lnTo>
                  <a:pt x="13772" y="12458"/>
                </a:lnTo>
                <a:lnTo>
                  <a:pt x="13432" y="12166"/>
                </a:lnTo>
                <a:lnTo>
                  <a:pt x="13091" y="11899"/>
                </a:lnTo>
                <a:lnTo>
                  <a:pt x="12775" y="11582"/>
                </a:lnTo>
                <a:lnTo>
                  <a:pt x="12580" y="11363"/>
                </a:lnTo>
                <a:lnTo>
                  <a:pt x="12385" y="11120"/>
                </a:lnTo>
                <a:lnTo>
                  <a:pt x="12166" y="10901"/>
                </a:lnTo>
                <a:lnTo>
                  <a:pt x="12045" y="10804"/>
                </a:lnTo>
                <a:lnTo>
                  <a:pt x="11923" y="10706"/>
                </a:lnTo>
                <a:lnTo>
                  <a:pt x="12191" y="10317"/>
                </a:lnTo>
                <a:lnTo>
                  <a:pt x="12434" y="9928"/>
                </a:lnTo>
                <a:lnTo>
                  <a:pt x="12629" y="9490"/>
                </a:lnTo>
                <a:lnTo>
                  <a:pt x="12823" y="9076"/>
                </a:lnTo>
                <a:lnTo>
                  <a:pt x="12969" y="8614"/>
                </a:lnTo>
                <a:lnTo>
                  <a:pt x="13091" y="8176"/>
                </a:lnTo>
                <a:lnTo>
                  <a:pt x="13188" y="7713"/>
                </a:lnTo>
                <a:lnTo>
                  <a:pt x="13261" y="7251"/>
                </a:lnTo>
                <a:lnTo>
                  <a:pt x="13310" y="6765"/>
                </a:lnTo>
                <a:lnTo>
                  <a:pt x="13310" y="6302"/>
                </a:lnTo>
                <a:lnTo>
                  <a:pt x="13286" y="5840"/>
                </a:lnTo>
                <a:lnTo>
                  <a:pt x="13237" y="5378"/>
                </a:lnTo>
                <a:lnTo>
                  <a:pt x="13164" y="4891"/>
                </a:lnTo>
                <a:lnTo>
                  <a:pt x="13042" y="4453"/>
                </a:lnTo>
                <a:lnTo>
                  <a:pt x="12896" y="3991"/>
                </a:lnTo>
                <a:lnTo>
                  <a:pt x="12702" y="3553"/>
                </a:lnTo>
                <a:lnTo>
                  <a:pt x="12580" y="3285"/>
                </a:lnTo>
                <a:lnTo>
                  <a:pt x="12434" y="3042"/>
                </a:lnTo>
                <a:lnTo>
                  <a:pt x="12288" y="2798"/>
                </a:lnTo>
                <a:lnTo>
                  <a:pt x="12118" y="2579"/>
                </a:lnTo>
                <a:lnTo>
                  <a:pt x="11753" y="2141"/>
                </a:lnTo>
                <a:lnTo>
                  <a:pt x="11339" y="1728"/>
                </a:lnTo>
                <a:lnTo>
                  <a:pt x="10901" y="1363"/>
                </a:lnTo>
                <a:lnTo>
                  <a:pt x="10415" y="1046"/>
                </a:lnTo>
                <a:lnTo>
                  <a:pt x="9904" y="754"/>
                </a:lnTo>
                <a:lnTo>
                  <a:pt x="9368" y="511"/>
                </a:lnTo>
                <a:lnTo>
                  <a:pt x="8784" y="316"/>
                </a:lnTo>
                <a:lnTo>
                  <a:pt x="8225" y="170"/>
                </a:lnTo>
                <a:lnTo>
                  <a:pt x="7616" y="73"/>
                </a:lnTo>
                <a:lnTo>
                  <a:pt x="7008" y="0"/>
                </a:lnTo>
                <a:close/>
              </a:path>
            </a:pathLst>
          </a:cu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Freeform: Shape 10">
            <a:extLst>
              <a:ext uri="{FF2B5EF4-FFF2-40B4-BE49-F238E27FC236}">
                <a16:creationId xmlns:a16="http://schemas.microsoft.com/office/drawing/2014/main" id="{484651ED-824F-8055-F94A-E4A676473EE3}"/>
              </a:ext>
            </a:extLst>
          </p:cNvPr>
          <p:cNvSpPr/>
          <p:nvPr/>
        </p:nvSpPr>
        <p:spPr>
          <a:xfrm>
            <a:off x="4032123" y="1365123"/>
            <a:ext cx="4127754" cy="4127754"/>
          </a:xfrm>
          <a:custGeom>
            <a:avLst/>
            <a:gdLst>
              <a:gd name="connsiteX0" fmla="*/ 4127754 w 4127754"/>
              <a:gd name="connsiteY0" fmla="*/ 2063877 h 4127754"/>
              <a:gd name="connsiteX1" fmla="*/ 2063877 w 4127754"/>
              <a:gd name="connsiteY1" fmla="*/ 4127754 h 4127754"/>
              <a:gd name="connsiteX2" fmla="*/ 0 w 4127754"/>
              <a:gd name="connsiteY2" fmla="*/ 2063877 h 4127754"/>
              <a:gd name="connsiteX3" fmla="*/ 2063877 w 4127754"/>
              <a:gd name="connsiteY3" fmla="*/ 0 h 4127754"/>
              <a:gd name="connsiteX4" fmla="*/ 4127754 w 4127754"/>
              <a:gd name="connsiteY4" fmla="*/ 2063877 h 4127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7754" h="4127754">
                <a:moveTo>
                  <a:pt x="4127754" y="2063877"/>
                </a:moveTo>
                <a:cubicBezTo>
                  <a:pt x="4127754" y="3203725"/>
                  <a:pt x="3203725" y="4127754"/>
                  <a:pt x="2063877" y="4127754"/>
                </a:cubicBezTo>
                <a:cubicBezTo>
                  <a:pt x="924029" y="4127754"/>
                  <a:pt x="0" y="3203725"/>
                  <a:pt x="0" y="2063877"/>
                </a:cubicBezTo>
                <a:cubicBezTo>
                  <a:pt x="0" y="924029"/>
                  <a:pt x="924029" y="0"/>
                  <a:pt x="2063877" y="0"/>
                </a:cubicBezTo>
                <a:cubicBezTo>
                  <a:pt x="3203725" y="0"/>
                  <a:pt x="4127754" y="924029"/>
                  <a:pt x="4127754" y="2063877"/>
                </a:cubicBezTo>
                <a:close/>
              </a:path>
            </a:pathLst>
          </a:custGeom>
          <a:solidFill>
            <a:schemeClr val="accent3"/>
          </a:solidFill>
          <a:ln w="0" cap="flat">
            <a:noFill/>
            <a:prstDash val="solid"/>
            <a:miter/>
          </a:ln>
        </p:spPr>
        <p:txBody>
          <a:bodyPr rtlCol="0" anchor="ctr"/>
          <a:lstStyle/>
          <a:p>
            <a:endParaRPr lang="da-DK"/>
          </a:p>
        </p:txBody>
      </p:sp>
      <p:sp>
        <p:nvSpPr>
          <p:cNvPr id="12" name="Freeform: Shape 11">
            <a:extLst>
              <a:ext uri="{FF2B5EF4-FFF2-40B4-BE49-F238E27FC236}">
                <a16:creationId xmlns:a16="http://schemas.microsoft.com/office/drawing/2014/main" id="{CFFF4F64-1472-B8C4-C758-3056CDB9AA62}"/>
              </a:ext>
            </a:extLst>
          </p:cNvPr>
          <p:cNvSpPr/>
          <p:nvPr/>
        </p:nvSpPr>
        <p:spPr>
          <a:xfrm>
            <a:off x="4263914" y="1828800"/>
            <a:ext cx="3664172" cy="3664172"/>
          </a:xfrm>
          <a:custGeom>
            <a:avLst/>
            <a:gdLst>
              <a:gd name="connsiteX0" fmla="*/ 3715131 w 3715131"/>
              <a:gd name="connsiteY0" fmla="*/ 1857566 h 3715131"/>
              <a:gd name="connsiteX1" fmla="*/ 1857566 w 3715131"/>
              <a:gd name="connsiteY1" fmla="*/ 3715131 h 3715131"/>
              <a:gd name="connsiteX2" fmla="*/ 0 w 3715131"/>
              <a:gd name="connsiteY2" fmla="*/ 1857565 h 3715131"/>
              <a:gd name="connsiteX3" fmla="*/ 1857566 w 3715131"/>
              <a:gd name="connsiteY3" fmla="*/ 0 h 3715131"/>
              <a:gd name="connsiteX4" fmla="*/ 3715131 w 3715131"/>
              <a:gd name="connsiteY4" fmla="*/ 1857566 h 371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5131" h="3715131">
                <a:moveTo>
                  <a:pt x="3715131" y="1857566"/>
                </a:moveTo>
                <a:cubicBezTo>
                  <a:pt x="3715131" y="2883471"/>
                  <a:pt x="2883471" y="3715131"/>
                  <a:pt x="1857566" y="3715131"/>
                </a:cubicBezTo>
                <a:cubicBezTo>
                  <a:pt x="831660" y="3715131"/>
                  <a:pt x="0" y="2883471"/>
                  <a:pt x="0" y="1857565"/>
                </a:cubicBezTo>
                <a:cubicBezTo>
                  <a:pt x="0" y="831660"/>
                  <a:pt x="831660" y="0"/>
                  <a:pt x="1857566" y="0"/>
                </a:cubicBezTo>
                <a:cubicBezTo>
                  <a:pt x="2883471" y="0"/>
                  <a:pt x="3715131" y="831660"/>
                  <a:pt x="3715131" y="1857566"/>
                </a:cubicBezTo>
                <a:close/>
              </a:path>
            </a:pathLst>
          </a:custGeom>
          <a:solidFill>
            <a:schemeClr val="accent4"/>
          </a:solidFill>
          <a:ln w="0" cap="flat">
            <a:noFill/>
            <a:prstDash val="solid"/>
            <a:miter/>
          </a:ln>
        </p:spPr>
        <p:txBody>
          <a:bodyPr rtlCol="0" anchor="ctr"/>
          <a:lstStyle/>
          <a:p>
            <a:endParaRPr lang="da-DK"/>
          </a:p>
        </p:txBody>
      </p:sp>
      <p:sp>
        <p:nvSpPr>
          <p:cNvPr id="13" name="Freeform: Shape 12">
            <a:extLst>
              <a:ext uri="{FF2B5EF4-FFF2-40B4-BE49-F238E27FC236}">
                <a16:creationId xmlns:a16="http://schemas.microsoft.com/office/drawing/2014/main" id="{98CE5F03-51FE-64FB-95A3-F3B2D9AF66E6}"/>
              </a:ext>
            </a:extLst>
          </p:cNvPr>
          <p:cNvSpPr/>
          <p:nvPr/>
        </p:nvSpPr>
        <p:spPr>
          <a:xfrm>
            <a:off x="4541519" y="2383915"/>
            <a:ext cx="3108962" cy="3108962"/>
          </a:xfrm>
          <a:custGeom>
            <a:avLst/>
            <a:gdLst>
              <a:gd name="connsiteX0" fmla="*/ 3302318 w 3302317"/>
              <a:gd name="connsiteY0" fmla="*/ 1651159 h 3302317"/>
              <a:gd name="connsiteX1" fmla="*/ 1651159 w 3302317"/>
              <a:gd name="connsiteY1" fmla="*/ 3302318 h 3302317"/>
              <a:gd name="connsiteX2" fmla="*/ 0 w 3302317"/>
              <a:gd name="connsiteY2" fmla="*/ 1651159 h 3302317"/>
              <a:gd name="connsiteX3" fmla="*/ 1651159 w 3302317"/>
              <a:gd name="connsiteY3" fmla="*/ 0 h 3302317"/>
              <a:gd name="connsiteX4" fmla="*/ 3302318 w 3302317"/>
              <a:gd name="connsiteY4" fmla="*/ 1651159 h 3302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2317" h="3302317">
                <a:moveTo>
                  <a:pt x="3302318" y="1651159"/>
                </a:moveTo>
                <a:cubicBezTo>
                  <a:pt x="3302318" y="2563069"/>
                  <a:pt x="2563069" y="3302318"/>
                  <a:pt x="1651159" y="3302318"/>
                </a:cubicBezTo>
                <a:cubicBezTo>
                  <a:pt x="739249" y="3302318"/>
                  <a:pt x="0" y="2563069"/>
                  <a:pt x="0" y="1651159"/>
                </a:cubicBezTo>
                <a:cubicBezTo>
                  <a:pt x="0" y="739249"/>
                  <a:pt x="739249" y="0"/>
                  <a:pt x="1651159" y="0"/>
                </a:cubicBezTo>
                <a:cubicBezTo>
                  <a:pt x="2563069" y="0"/>
                  <a:pt x="3302318" y="739249"/>
                  <a:pt x="3302318" y="1651159"/>
                </a:cubicBezTo>
                <a:close/>
              </a:path>
            </a:pathLst>
          </a:custGeom>
          <a:solidFill>
            <a:schemeClr val="accent6"/>
          </a:solidFill>
          <a:ln w="0" cap="flat">
            <a:noFill/>
            <a:prstDash val="solid"/>
            <a:miter/>
          </a:ln>
        </p:spPr>
        <p:txBody>
          <a:bodyPr rtlCol="0" anchor="ctr"/>
          <a:lstStyle/>
          <a:p>
            <a:endParaRPr lang="da-DK" dirty="0"/>
          </a:p>
        </p:txBody>
      </p:sp>
      <p:sp>
        <p:nvSpPr>
          <p:cNvPr id="14" name="Freeform: Shape 13">
            <a:extLst>
              <a:ext uri="{FF2B5EF4-FFF2-40B4-BE49-F238E27FC236}">
                <a16:creationId xmlns:a16="http://schemas.microsoft.com/office/drawing/2014/main" id="{83E8F3C1-A248-EE07-AC18-91183BF03554}"/>
              </a:ext>
            </a:extLst>
          </p:cNvPr>
          <p:cNvSpPr/>
          <p:nvPr/>
        </p:nvSpPr>
        <p:spPr>
          <a:xfrm>
            <a:off x="4838212" y="2977302"/>
            <a:ext cx="2515576" cy="2515576"/>
          </a:xfrm>
          <a:custGeom>
            <a:avLst/>
            <a:gdLst>
              <a:gd name="connsiteX0" fmla="*/ 2889504 w 2889504"/>
              <a:gd name="connsiteY0" fmla="*/ 1444752 h 2889504"/>
              <a:gd name="connsiteX1" fmla="*/ 1444752 w 2889504"/>
              <a:gd name="connsiteY1" fmla="*/ 2889504 h 2889504"/>
              <a:gd name="connsiteX2" fmla="*/ 0 w 2889504"/>
              <a:gd name="connsiteY2" fmla="*/ 1444752 h 2889504"/>
              <a:gd name="connsiteX3" fmla="*/ 1444752 w 2889504"/>
              <a:gd name="connsiteY3" fmla="*/ 0 h 2889504"/>
              <a:gd name="connsiteX4" fmla="*/ 2889504 w 2889504"/>
              <a:gd name="connsiteY4" fmla="*/ 1444752 h 2889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9504" h="2889504">
                <a:moveTo>
                  <a:pt x="2889504" y="1444752"/>
                </a:moveTo>
                <a:cubicBezTo>
                  <a:pt x="2889504" y="2242667"/>
                  <a:pt x="2242666" y="2889504"/>
                  <a:pt x="1444752" y="2889504"/>
                </a:cubicBezTo>
                <a:cubicBezTo>
                  <a:pt x="646837" y="2889504"/>
                  <a:pt x="0" y="2242667"/>
                  <a:pt x="0" y="1444752"/>
                </a:cubicBezTo>
                <a:cubicBezTo>
                  <a:pt x="0" y="646838"/>
                  <a:pt x="646837" y="0"/>
                  <a:pt x="1444752" y="0"/>
                </a:cubicBezTo>
                <a:cubicBezTo>
                  <a:pt x="2242666" y="0"/>
                  <a:pt x="2889504" y="646838"/>
                  <a:pt x="2889504" y="1444752"/>
                </a:cubicBezTo>
                <a:close/>
              </a:path>
            </a:pathLst>
          </a:custGeom>
          <a:solidFill>
            <a:schemeClr val="accent2"/>
          </a:solidFill>
          <a:ln w="0" cap="flat">
            <a:noFill/>
            <a:prstDash val="solid"/>
            <a:miter/>
          </a:ln>
        </p:spPr>
        <p:txBody>
          <a:bodyPr rtlCol="0" anchor="ctr"/>
          <a:lstStyle/>
          <a:p>
            <a:endParaRPr lang="da-DK"/>
          </a:p>
        </p:txBody>
      </p:sp>
      <p:sp>
        <p:nvSpPr>
          <p:cNvPr id="15" name="TextBox 14">
            <a:extLst>
              <a:ext uri="{FF2B5EF4-FFF2-40B4-BE49-F238E27FC236}">
                <a16:creationId xmlns:a16="http://schemas.microsoft.com/office/drawing/2014/main" id="{2780B1DA-CD25-5375-4D28-20FD631D51D9}"/>
              </a:ext>
            </a:extLst>
          </p:cNvPr>
          <p:cNvSpPr txBox="1"/>
          <p:nvPr/>
        </p:nvSpPr>
        <p:spPr>
          <a:xfrm>
            <a:off x="5323957" y="3989798"/>
            <a:ext cx="1544084" cy="553998"/>
          </a:xfrm>
          <a:prstGeom prst="rect">
            <a:avLst/>
          </a:prstGeom>
          <a:noFill/>
        </p:spPr>
        <p:txBody>
          <a:bodyPr wrap="square">
            <a:spAutoFit/>
          </a:bodyPr>
          <a:lstStyle/>
          <a:p>
            <a:pPr algn="ctr" defTabSz="1219170">
              <a:lnSpc>
                <a:spcPct val="100000"/>
              </a:lnSpc>
              <a:buClr>
                <a:srgbClr val="273F68"/>
              </a:buClr>
              <a:buSzPct val="100000"/>
            </a:pPr>
            <a:r>
              <a:rPr lang="da-DK" sz="1500" b="0" kern="0">
                <a:solidFill>
                  <a:schemeClr val="bg1"/>
                </a:solidFill>
                <a:latin typeface="Quicksand"/>
              </a:rPr>
              <a:t>Elevernes perspektiver</a:t>
            </a:r>
          </a:p>
        </p:txBody>
      </p:sp>
      <p:sp>
        <p:nvSpPr>
          <p:cNvPr id="16" name="TextBox 15">
            <a:extLst>
              <a:ext uri="{FF2B5EF4-FFF2-40B4-BE49-F238E27FC236}">
                <a16:creationId xmlns:a16="http://schemas.microsoft.com/office/drawing/2014/main" id="{16DA3DED-1E7A-710E-EA92-34BFBBBEDC81}"/>
              </a:ext>
            </a:extLst>
          </p:cNvPr>
          <p:cNvSpPr txBox="1"/>
          <p:nvPr/>
        </p:nvSpPr>
        <p:spPr>
          <a:xfrm>
            <a:off x="4904267" y="2715845"/>
            <a:ext cx="2383463" cy="1899017"/>
          </a:xfrm>
          <a:prstGeom prst="rect">
            <a:avLst/>
          </a:prstGeom>
          <a:noFill/>
        </p:spPr>
        <p:txBody>
          <a:bodyPr wrap="square">
            <a:prstTxWarp prst="textArchUp">
              <a:avLst/>
            </a:prstTxWarp>
            <a:spAutoFit/>
          </a:bodyPr>
          <a:lstStyle/>
          <a:p>
            <a:pPr algn="ctr" defTabSz="1219170">
              <a:lnSpc>
                <a:spcPct val="100000"/>
              </a:lnSpc>
              <a:buClr>
                <a:srgbClr val="273F68"/>
              </a:buClr>
              <a:buSzPct val="100000"/>
            </a:pPr>
            <a:r>
              <a:rPr lang="da-DK" sz="1500" b="0" kern="0">
                <a:solidFill>
                  <a:schemeClr val="bg1"/>
                </a:solidFill>
                <a:latin typeface="Quicksand"/>
              </a:rPr>
              <a:t>Tegn på forandring i praksis</a:t>
            </a:r>
          </a:p>
        </p:txBody>
      </p:sp>
      <p:sp>
        <p:nvSpPr>
          <p:cNvPr id="17" name="TextBox 16">
            <a:extLst>
              <a:ext uri="{FF2B5EF4-FFF2-40B4-BE49-F238E27FC236}">
                <a16:creationId xmlns:a16="http://schemas.microsoft.com/office/drawing/2014/main" id="{7DE039E3-09C1-F8B3-3B56-D16E94FC8C38}"/>
              </a:ext>
            </a:extLst>
          </p:cNvPr>
          <p:cNvSpPr txBox="1"/>
          <p:nvPr/>
        </p:nvSpPr>
        <p:spPr>
          <a:xfrm>
            <a:off x="4935896" y="2132226"/>
            <a:ext cx="2383463" cy="1622002"/>
          </a:xfrm>
          <a:prstGeom prst="rect">
            <a:avLst/>
          </a:prstGeom>
          <a:noFill/>
        </p:spPr>
        <p:txBody>
          <a:bodyPr wrap="square">
            <a:prstTxWarp prst="textArchUp">
              <a:avLst/>
            </a:prstTxWarp>
            <a:spAutoFit/>
          </a:bodyPr>
          <a:lstStyle/>
          <a:p>
            <a:pPr algn="ctr" defTabSz="1219170">
              <a:lnSpc>
                <a:spcPct val="100000"/>
              </a:lnSpc>
              <a:buClr>
                <a:srgbClr val="273F68"/>
              </a:buClr>
              <a:buSzPct val="100000"/>
            </a:pPr>
            <a:r>
              <a:rPr lang="da-DK" sz="1500" b="0" kern="0">
                <a:solidFill>
                  <a:schemeClr val="bg1"/>
                </a:solidFill>
                <a:latin typeface="Quicksand"/>
              </a:rPr>
              <a:t>Samarbejde og kapacitet</a:t>
            </a:r>
          </a:p>
        </p:txBody>
      </p:sp>
      <p:sp>
        <p:nvSpPr>
          <p:cNvPr id="18" name="TextBox 17">
            <a:extLst>
              <a:ext uri="{FF2B5EF4-FFF2-40B4-BE49-F238E27FC236}">
                <a16:creationId xmlns:a16="http://schemas.microsoft.com/office/drawing/2014/main" id="{DCF04AEA-B8C4-5E9A-1E53-E6D3C85CC1FD}"/>
              </a:ext>
            </a:extLst>
          </p:cNvPr>
          <p:cNvSpPr txBox="1"/>
          <p:nvPr/>
        </p:nvSpPr>
        <p:spPr>
          <a:xfrm>
            <a:off x="4770033" y="1656780"/>
            <a:ext cx="2728535" cy="1431954"/>
          </a:xfrm>
          <a:prstGeom prst="rect">
            <a:avLst/>
          </a:prstGeom>
          <a:noFill/>
        </p:spPr>
        <p:txBody>
          <a:bodyPr wrap="square">
            <a:prstTxWarp prst="textArchUp">
              <a:avLst/>
            </a:prstTxWarp>
            <a:spAutoFit/>
          </a:bodyPr>
          <a:lstStyle/>
          <a:p>
            <a:pPr algn="ctr" defTabSz="1219170">
              <a:lnSpc>
                <a:spcPct val="100000"/>
              </a:lnSpc>
              <a:buClr>
                <a:srgbClr val="273F68"/>
              </a:buClr>
              <a:buSzPct val="100000"/>
            </a:pPr>
            <a:r>
              <a:rPr lang="da-DK" sz="1500" b="0" kern="0">
                <a:solidFill>
                  <a:schemeClr val="bg1"/>
                </a:solidFill>
                <a:latin typeface="Quicksand"/>
              </a:rPr>
              <a:t>Rammer, organisering og ledelse</a:t>
            </a:r>
          </a:p>
        </p:txBody>
      </p:sp>
    </p:spTree>
    <p:extLst>
      <p:ext uri="{BB962C8B-B14F-4D97-AF65-F5344CB8AC3E}">
        <p14:creationId xmlns:p14="http://schemas.microsoft.com/office/powerpoint/2010/main" val="1127262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387A61-43FE-46B6-8C73-F239F7BF43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6" name="Object 5" hidden="1">
                        <a:extLst>
                          <a:ext uri="{FF2B5EF4-FFF2-40B4-BE49-F238E27FC236}">
                            <a16:creationId xmlns:a16="http://schemas.microsoft.com/office/drawing/2014/main" id="{04387A61-43FE-46B6-8C73-F239F7BF43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8" name="Google Shape;994;p40">
            <a:extLst>
              <a:ext uri="{FF2B5EF4-FFF2-40B4-BE49-F238E27FC236}">
                <a16:creationId xmlns:a16="http://schemas.microsoft.com/office/drawing/2014/main" id="{F7505CCF-6B2D-4791-8B8E-A8068ECE6AE7}"/>
              </a:ext>
            </a:extLst>
          </p:cNvPr>
          <p:cNvSpPr txBox="1">
            <a:spLocks/>
          </p:cNvSpPr>
          <p:nvPr/>
        </p:nvSpPr>
        <p:spPr>
          <a:xfrm>
            <a:off x="0" y="370872"/>
            <a:ext cx="12192000" cy="71435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1pPr>
            <a:lvl2pPr marR="0" lvl="1"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2pPr>
            <a:lvl3pPr marR="0" lvl="2"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3pPr>
            <a:lvl4pPr marR="0" lvl="3"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4pPr>
            <a:lvl5pPr marR="0" lvl="4"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5pPr>
            <a:lvl6pPr marR="0" lvl="5"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6pPr>
            <a:lvl7pPr marR="0" lvl="6"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7pPr>
            <a:lvl8pPr marR="0" lvl="7"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8pPr>
            <a:lvl9pPr marR="0" lvl="8" algn="ctr" rtl="0">
              <a:lnSpc>
                <a:spcPct val="90000"/>
              </a:lnSpc>
              <a:spcBef>
                <a:spcPts val="0"/>
              </a:spcBef>
              <a:spcAft>
                <a:spcPts val="0"/>
              </a:spcAft>
              <a:buClr>
                <a:schemeClr val="dk1"/>
              </a:buClr>
              <a:buSzPts val="3000"/>
              <a:buFont typeface="Amatic SC"/>
              <a:buNone/>
              <a:defRPr sz="3000" b="1" i="0" u="none" strike="noStrike" cap="none">
                <a:solidFill>
                  <a:schemeClr val="dk1"/>
                </a:solidFill>
                <a:latin typeface="Amatic SC"/>
                <a:ea typeface="Amatic SC"/>
                <a:cs typeface="Amatic SC"/>
                <a:sym typeface="Amatic SC"/>
              </a:defRPr>
            </a:lvl9pPr>
          </a:lstStyle>
          <a:p>
            <a:pPr marL="0" marR="0" lvl="0" indent="0" algn="ctr" defTabSz="914400" eaLnBrk="1" fontAlgn="auto" latinLnBrk="0" hangingPunct="1">
              <a:lnSpc>
                <a:spcPct val="90000"/>
              </a:lnSpc>
              <a:spcBef>
                <a:spcPts val="0"/>
              </a:spcBef>
              <a:spcAft>
                <a:spcPts val="0"/>
              </a:spcAft>
              <a:buClr>
                <a:srgbClr val="273F68"/>
              </a:buClr>
              <a:buSzPts val="3000"/>
              <a:buFont typeface="Amatic SC"/>
              <a:buNone/>
              <a:tabLst/>
              <a:defRPr/>
            </a:pPr>
            <a:r>
              <a:rPr kumimoji="0" lang="da-DK" sz="4000" b="1" i="0" u="none" strike="noStrike" kern="0" cap="none" spc="0" normalizeH="0" baseline="0" noProof="0">
                <a:ln>
                  <a:noFill/>
                </a:ln>
                <a:solidFill>
                  <a:srgbClr val="273F68"/>
                </a:solidFill>
                <a:effectLst/>
                <a:uLnTx/>
                <a:uFillTx/>
                <a:latin typeface="Amatic SC"/>
                <a:cs typeface="Amatic SC"/>
                <a:sym typeface="Amatic SC"/>
              </a:rPr>
              <a:t>resultaterne bygger på…</a:t>
            </a:r>
          </a:p>
        </p:txBody>
      </p:sp>
      <p:sp>
        <p:nvSpPr>
          <p:cNvPr id="41" name="Slide Number Placeholder 3">
            <a:extLst>
              <a:ext uri="{FF2B5EF4-FFF2-40B4-BE49-F238E27FC236}">
                <a16:creationId xmlns:a16="http://schemas.microsoft.com/office/drawing/2014/main" id="{7DD1BEFE-FF04-46C0-8C82-875A228C70F3}"/>
              </a:ext>
            </a:extLst>
          </p:cNvPr>
          <p:cNvSpPr txBox="1">
            <a:spLocks/>
          </p:cNvSpPr>
          <p:nvPr/>
        </p:nvSpPr>
        <p:spPr>
          <a:xfrm>
            <a:off x="11565600" y="6682205"/>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da-DK" smtClean="0"/>
              <a:pPr/>
              <a:t>4</a:t>
            </a:fld>
            <a:endParaRPr lang="da-DK"/>
          </a:p>
        </p:txBody>
      </p:sp>
      <p:sp>
        <p:nvSpPr>
          <p:cNvPr id="3" name="TextBox 2">
            <a:extLst>
              <a:ext uri="{FF2B5EF4-FFF2-40B4-BE49-F238E27FC236}">
                <a16:creationId xmlns:a16="http://schemas.microsoft.com/office/drawing/2014/main" id="{0CC0EF36-5596-87B3-06F9-45F28C6BE8FA}"/>
              </a:ext>
            </a:extLst>
          </p:cNvPr>
          <p:cNvSpPr txBox="1"/>
          <p:nvPr/>
        </p:nvSpPr>
        <p:spPr>
          <a:xfrm>
            <a:off x="382889" y="2040683"/>
            <a:ext cx="3983542" cy="1138773"/>
          </a:xfrm>
          <a:custGeom>
            <a:avLst/>
            <a:gdLst>
              <a:gd name="connsiteX0" fmla="*/ 0 w 3983542"/>
              <a:gd name="connsiteY0" fmla="*/ 0 h 1138773"/>
              <a:gd name="connsiteX1" fmla="*/ 624088 w 3983542"/>
              <a:gd name="connsiteY1" fmla="*/ 0 h 1138773"/>
              <a:gd name="connsiteX2" fmla="*/ 1168506 w 3983542"/>
              <a:gd name="connsiteY2" fmla="*/ 0 h 1138773"/>
              <a:gd name="connsiteX3" fmla="*/ 1752758 w 3983542"/>
              <a:gd name="connsiteY3" fmla="*/ 0 h 1138773"/>
              <a:gd name="connsiteX4" fmla="*/ 2456518 w 3983542"/>
              <a:gd name="connsiteY4" fmla="*/ 0 h 1138773"/>
              <a:gd name="connsiteX5" fmla="*/ 3080606 w 3983542"/>
              <a:gd name="connsiteY5" fmla="*/ 0 h 1138773"/>
              <a:gd name="connsiteX6" fmla="*/ 3983542 w 3983542"/>
              <a:gd name="connsiteY6" fmla="*/ 0 h 1138773"/>
              <a:gd name="connsiteX7" fmla="*/ 3983542 w 3983542"/>
              <a:gd name="connsiteY7" fmla="*/ 580774 h 1138773"/>
              <a:gd name="connsiteX8" fmla="*/ 3983542 w 3983542"/>
              <a:gd name="connsiteY8" fmla="*/ 1138773 h 1138773"/>
              <a:gd name="connsiteX9" fmla="*/ 3319618 w 3983542"/>
              <a:gd name="connsiteY9" fmla="*/ 1138773 h 1138773"/>
              <a:gd name="connsiteX10" fmla="*/ 2735366 w 3983542"/>
              <a:gd name="connsiteY10" fmla="*/ 1138773 h 1138773"/>
              <a:gd name="connsiteX11" fmla="*/ 1991771 w 3983542"/>
              <a:gd name="connsiteY11" fmla="*/ 1138773 h 1138773"/>
              <a:gd name="connsiteX12" fmla="*/ 1367683 w 3983542"/>
              <a:gd name="connsiteY12" fmla="*/ 1138773 h 1138773"/>
              <a:gd name="connsiteX13" fmla="*/ 823265 w 3983542"/>
              <a:gd name="connsiteY13" fmla="*/ 1138773 h 1138773"/>
              <a:gd name="connsiteX14" fmla="*/ 0 w 3983542"/>
              <a:gd name="connsiteY14" fmla="*/ 1138773 h 1138773"/>
              <a:gd name="connsiteX15" fmla="*/ 0 w 3983542"/>
              <a:gd name="connsiteY15" fmla="*/ 592162 h 1138773"/>
              <a:gd name="connsiteX16" fmla="*/ 0 w 3983542"/>
              <a:gd name="connsiteY16" fmla="*/ 0 h 1138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83542" h="1138773" fill="none" extrusionOk="0">
                <a:moveTo>
                  <a:pt x="0" y="0"/>
                </a:moveTo>
                <a:cubicBezTo>
                  <a:pt x="175172" y="19026"/>
                  <a:pt x="491872" y="986"/>
                  <a:pt x="624088" y="0"/>
                </a:cubicBezTo>
                <a:cubicBezTo>
                  <a:pt x="756304" y="-986"/>
                  <a:pt x="970804" y="-24125"/>
                  <a:pt x="1168506" y="0"/>
                </a:cubicBezTo>
                <a:cubicBezTo>
                  <a:pt x="1366208" y="24125"/>
                  <a:pt x="1595551" y="-779"/>
                  <a:pt x="1752758" y="0"/>
                </a:cubicBezTo>
                <a:cubicBezTo>
                  <a:pt x="1909965" y="779"/>
                  <a:pt x="2169218" y="17519"/>
                  <a:pt x="2456518" y="0"/>
                </a:cubicBezTo>
                <a:cubicBezTo>
                  <a:pt x="2743818" y="-17519"/>
                  <a:pt x="2825365" y="30170"/>
                  <a:pt x="3080606" y="0"/>
                </a:cubicBezTo>
                <a:cubicBezTo>
                  <a:pt x="3335847" y="-30170"/>
                  <a:pt x="3538799" y="10122"/>
                  <a:pt x="3983542" y="0"/>
                </a:cubicBezTo>
                <a:cubicBezTo>
                  <a:pt x="3996608" y="142718"/>
                  <a:pt x="3988751" y="417710"/>
                  <a:pt x="3983542" y="580774"/>
                </a:cubicBezTo>
                <a:cubicBezTo>
                  <a:pt x="3978333" y="743838"/>
                  <a:pt x="3975887" y="908054"/>
                  <a:pt x="3983542" y="1138773"/>
                </a:cubicBezTo>
                <a:cubicBezTo>
                  <a:pt x="3822737" y="1164691"/>
                  <a:pt x="3640133" y="1107046"/>
                  <a:pt x="3319618" y="1138773"/>
                </a:cubicBezTo>
                <a:cubicBezTo>
                  <a:pt x="2999103" y="1170500"/>
                  <a:pt x="2865956" y="1138087"/>
                  <a:pt x="2735366" y="1138773"/>
                </a:cubicBezTo>
                <a:cubicBezTo>
                  <a:pt x="2604776" y="1139459"/>
                  <a:pt x="2271699" y="1110818"/>
                  <a:pt x="1991771" y="1138773"/>
                </a:cubicBezTo>
                <a:cubicBezTo>
                  <a:pt x="1711844" y="1166728"/>
                  <a:pt x="1528213" y="1123666"/>
                  <a:pt x="1367683" y="1138773"/>
                </a:cubicBezTo>
                <a:cubicBezTo>
                  <a:pt x="1207153" y="1153880"/>
                  <a:pt x="1027367" y="1140773"/>
                  <a:pt x="823265" y="1138773"/>
                </a:cubicBezTo>
                <a:cubicBezTo>
                  <a:pt x="619163" y="1136773"/>
                  <a:pt x="351160" y="1106383"/>
                  <a:pt x="0" y="1138773"/>
                </a:cubicBezTo>
                <a:cubicBezTo>
                  <a:pt x="16967" y="893096"/>
                  <a:pt x="24017" y="777443"/>
                  <a:pt x="0" y="592162"/>
                </a:cubicBezTo>
                <a:cubicBezTo>
                  <a:pt x="-24017" y="406881"/>
                  <a:pt x="-18451" y="243262"/>
                  <a:pt x="0" y="0"/>
                </a:cubicBezTo>
                <a:close/>
              </a:path>
              <a:path w="3983542" h="1138773" stroke="0" extrusionOk="0">
                <a:moveTo>
                  <a:pt x="0" y="0"/>
                </a:moveTo>
                <a:cubicBezTo>
                  <a:pt x="190069" y="-942"/>
                  <a:pt x="451638" y="-10539"/>
                  <a:pt x="624088" y="0"/>
                </a:cubicBezTo>
                <a:cubicBezTo>
                  <a:pt x="796538" y="10539"/>
                  <a:pt x="1052379" y="-11014"/>
                  <a:pt x="1168506" y="0"/>
                </a:cubicBezTo>
                <a:cubicBezTo>
                  <a:pt x="1284633" y="11014"/>
                  <a:pt x="1709312" y="-29525"/>
                  <a:pt x="1912100" y="0"/>
                </a:cubicBezTo>
                <a:cubicBezTo>
                  <a:pt x="2114888" y="29525"/>
                  <a:pt x="2247442" y="-13296"/>
                  <a:pt x="2536188" y="0"/>
                </a:cubicBezTo>
                <a:cubicBezTo>
                  <a:pt x="2824934" y="13296"/>
                  <a:pt x="2898649" y="-8150"/>
                  <a:pt x="3160277" y="0"/>
                </a:cubicBezTo>
                <a:cubicBezTo>
                  <a:pt x="3421905" y="8150"/>
                  <a:pt x="3638395" y="-16312"/>
                  <a:pt x="3983542" y="0"/>
                </a:cubicBezTo>
                <a:cubicBezTo>
                  <a:pt x="3968243" y="179832"/>
                  <a:pt x="3977322" y="410773"/>
                  <a:pt x="3983542" y="546611"/>
                </a:cubicBezTo>
                <a:cubicBezTo>
                  <a:pt x="3989762" y="682449"/>
                  <a:pt x="3955488" y="915014"/>
                  <a:pt x="3983542" y="1138773"/>
                </a:cubicBezTo>
                <a:cubicBezTo>
                  <a:pt x="3796523" y="1120332"/>
                  <a:pt x="3517458" y="1122595"/>
                  <a:pt x="3399289" y="1138773"/>
                </a:cubicBezTo>
                <a:cubicBezTo>
                  <a:pt x="3281120" y="1154951"/>
                  <a:pt x="2908294" y="1158942"/>
                  <a:pt x="2735366" y="1138773"/>
                </a:cubicBezTo>
                <a:cubicBezTo>
                  <a:pt x="2562438" y="1118604"/>
                  <a:pt x="2396756" y="1123984"/>
                  <a:pt x="2071442" y="1138773"/>
                </a:cubicBezTo>
                <a:cubicBezTo>
                  <a:pt x="1746128" y="1153562"/>
                  <a:pt x="1612495" y="1143111"/>
                  <a:pt x="1447354" y="1138773"/>
                </a:cubicBezTo>
                <a:cubicBezTo>
                  <a:pt x="1282213" y="1134435"/>
                  <a:pt x="889877" y="1108596"/>
                  <a:pt x="703759" y="1138773"/>
                </a:cubicBezTo>
                <a:cubicBezTo>
                  <a:pt x="517642" y="1168950"/>
                  <a:pt x="190619" y="1146504"/>
                  <a:pt x="0" y="1138773"/>
                </a:cubicBezTo>
                <a:cubicBezTo>
                  <a:pt x="4955" y="952548"/>
                  <a:pt x="-11190" y="781940"/>
                  <a:pt x="0" y="592162"/>
                </a:cubicBezTo>
                <a:cubicBezTo>
                  <a:pt x="11190" y="402384"/>
                  <a:pt x="-13630" y="264830"/>
                  <a:pt x="0" y="0"/>
                </a:cubicBezTo>
                <a:close/>
              </a:path>
            </a:pathLst>
          </a:custGeom>
          <a:solidFill>
            <a:schemeClr val="tx2">
              <a:lumMod val="20000"/>
              <a:lumOff val="80000"/>
            </a:schemeClr>
          </a:solidFill>
          <a:ln>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72000" tIns="72000" rIns="72000" bIns="72000" rtlCol="0">
            <a:noAutofit/>
          </a:bodyPr>
          <a:lstStyle/>
          <a:p>
            <a:pPr algn="ctr"/>
            <a:r>
              <a:rPr lang="da-DK" sz="2400" b="1" dirty="0">
                <a:latin typeface="Amatic SC" panose="00000500000000000000" pitchFamily="2" charset="-79"/>
                <a:cs typeface="Amatic SC" panose="00000500000000000000" pitchFamily="2" charset="-79"/>
              </a:rPr>
              <a:t>Spørgeskema</a:t>
            </a:r>
          </a:p>
          <a:p>
            <a:pPr marL="252000" lvl="1"/>
            <a:r>
              <a:rPr lang="da-DK" sz="1200" b="1" dirty="0">
                <a:latin typeface="Quicksand" panose="020B0604020202020204" charset="0"/>
                <a:cs typeface="Amatic SC" panose="00000500000000000000" pitchFamily="2" charset="-79"/>
              </a:rPr>
              <a:t>Spørgeskemaundersøgelse </a:t>
            </a:r>
            <a:r>
              <a:rPr lang="da-DK" sz="1200" dirty="0">
                <a:latin typeface="Quicksand" panose="020B0604020202020204" charset="0"/>
                <a:cs typeface="Amatic SC" panose="00000500000000000000" pitchFamily="2" charset="-79"/>
              </a:rPr>
              <a:t>blandt </a:t>
            </a:r>
            <a:r>
              <a:rPr lang="da-DK" sz="1200" dirty="0">
                <a:latin typeface="Quicksand" panose="020B0604020202020204" charset="0"/>
                <a:ea typeface="Verdana" pitchFamily="34" charset="0"/>
                <a:cs typeface="Amatic SC" panose="00000500000000000000" pitchFamily="2" charset="-79"/>
              </a:rPr>
              <a:t>pædagogisk </a:t>
            </a:r>
            <a:br>
              <a:rPr lang="da-DK" sz="1200" dirty="0">
                <a:latin typeface="Quicksand" panose="020B0604020202020204" charset="0"/>
                <a:ea typeface="Verdana" pitchFamily="34" charset="0"/>
                <a:cs typeface="Amatic SC" panose="00000500000000000000" pitchFamily="2" charset="-79"/>
              </a:rPr>
            </a:br>
            <a:r>
              <a:rPr lang="da-DK" sz="1200" dirty="0">
                <a:latin typeface="Quicksand" panose="020B0604020202020204" charset="0"/>
                <a:ea typeface="Verdana" pitchFamily="34" charset="0"/>
                <a:cs typeface="Amatic SC" panose="00000500000000000000" pitchFamily="2" charset="-79"/>
              </a:rPr>
              <a:t>personale på alle skoler i de 11 nordjyske kommuner </a:t>
            </a:r>
            <a:r>
              <a:rPr lang="da-DK" sz="1200" dirty="0">
                <a:latin typeface="Quicksand" panose="020B0604020202020204" charset="0"/>
                <a:cs typeface="Amatic SC" panose="00000500000000000000" pitchFamily="2" charset="-79"/>
              </a:rPr>
              <a:t>i april-maj 2024.</a:t>
            </a:r>
          </a:p>
          <a:p>
            <a:pPr marL="342900" indent="-342900">
              <a:buFontTx/>
              <a:buChar char="-"/>
            </a:pPr>
            <a:endParaRPr lang="da-DK" sz="1400" b="1" dirty="0">
              <a:latin typeface="Quicksand" panose="020B0604020202020204" charset="0"/>
              <a:cs typeface="Amatic SC" panose="00000500000000000000" pitchFamily="2" charset="-79"/>
            </a:endParaRPr>
          </a:p>
        </p:txBody>
      </p:sp>
      <p:sp>
        <p:nvSpPr>
          <p:cNvPr id="4" name="TextBox 3">
            <a:extLst>
              <a:ext uri="{FF2B5EF4-FFF2-40B4-BE49-F238E27FC236}">
                <a16:creationId xmlns:a16="http://schemas.microsoft.com/office/drawing/2014/main" id="{2C434F6C-E91D-3DB7-EF57-ACCDEFF78CF9}"/>
              </a:ext>
            </a:extLst>
          </p:cNvPr>
          <p:cNvSpPr txBox="1"/>
          <p:nvPr/>
        </p:nvSpPr>
        <p:spPr>
          <a:xfrm>
            <a:off x="380272" y="4189320"/>
            <a:ext cx="3991371" cy="1477328"/>
          </a:xfrm>
          <a:custGeom>
            <a:avLst/>
            <a:gdLst>
              <a:gd name="connsiteX0" fmla="*/ 0 w 3991371"/>
              <a:gd name="connsiteY0" fmla="*/ 0 h 1477328"/>
              <a:gd name="connsiteX1" fmla="*/ 585401 w 3991371"/>
              <a:gd name="connsiteY1" fmla="*/ 0 h 1477328"/>
              <a:gd name="connsiteX2" fmla="*/ 1290543 w 3991371"/>
              <a:gd name="connsiteY2" fmla="*/ 0 h 1477328"/>
              <a:gd name="connsiteX3" fmla="*/ 1915858 w 3991371"/>
              <a:gd name="connsiteY3" fmla="*/ 0 h 1477328"/>
              <a:gd name="connsiteX4" fmla="*/ 2501259 w 3991371"/>
              <a:gd name="connsiteY4" fmla="*/ 0 h 1477328"/>
              <a:gd name="connsiteX5" fmla="*/ 3206401 w 3991371"/>
              <a:gd name="connsiteY5" fmla="*/ 0 h 1477328"/>
              <a:gd name="connsiteX6" fmla="*/ 3991371 w 3991371"/>
              <a:gd name="connsiteY6" fmla="*/ 0 h 1477328"/>
              <a:gd name="connsiteX7" fmla="*/ 3991371 w 3991371"/>
              <a:gd name="connsiteY7" fmla="*/ 492443 h 1477328"/>
              <a:gd name="connsiteX8" fmla="*/ 3991371 w 3991371"/>
              <a:gd name="connsiteY8" fmla="*/ 955339 h 1477328"/>
              <a:gd name="connsiteX9" fmla="*/ 3991371 w 3991371"/>
              <a:gd name="connsiteY9" fmla="*/ 1477328 h 1477328"/>
              <a:gd name="connsiteX10" fmla="*/ 3405970 w 3991371"/>
              <a:gd name="connsiteY10" fmla="*/ 1477328 h 1477328"/>
              <a:gd name="connsiteX11" fmla="*/ 2860483 w 3991371"/>
              <a:gd name="connsiteY11" fmla="*/ 1477328 h 1477328"/>
              <a:gd name="connsiteX12" fmla="*/ 2155340 w 3991371"/>
              <a:gd name="connsiteY12" fmla="*/ 1477328 h 1477328"/>
              <a:gd name="connsiteX13" fmla="*/ 1569939 w 3991371"/>
              <a:gd name="connsiteY13" fmla="*/ 1477328 h 1477328"/>
              <a:gd name="connsiteX14" fmla="*/ 864797 w 3991371"/>
              <a:gd name="connsiteY14" fmla="*/ 1477328 h 1477328"/>
              <a:gd name="connsiteX15" fmla="*/ 0 w 3991371"/>
              <a:gd name="connsiteY15" fmla="*/ 1477328 h 1477328"/>
              <a:gd name="connsiteX16" fmla="*/ 0 w 3991371"/>
              <a:gd name="connsiteY16" fmla="*/ 999659 h 1477328"/>
              <a:gd name="connsiteX17" fmla="*/ 0 w 3991371"/>
              <a:gd name="connsiteY17" fmla="*/ 492443 h 1477328"/>
              <a:gd name="connsiteX18" fmla="*/ 0 w 3991371"/>
              <a:gd name="connsiteY18" fmla="*/ 0 h 147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91371" h="1477328" fill="none" extrusionOk="0">
                <a:moveTo>
                  <a:pt x="0" y="0"/>
                </a:moveTo>
                <a:cubicBezTo>
                  <a:pt x="174483" y="13242"/>
                  <a:pt x="411434" y="21092"/>
                  <a:pt x="585401" y="0"/>
                </a:cubicBezTo>
                <a:cubicBezTo>
                  <a:pt x="759368" y="-21092"/>
                  <a:pt x="1010112" y="-14217"/>
                  <a:pt x="1290543" y="0"/>
                </a:cubicBezTo>
                <a:cubicBezTo>
                  <a:pt x="1570974" y="14217"/>
                  <a:pt x="1783008" y="-28860"/>
                  <a:pt x="1915858" y="0"/>
                </a:cubicBezTo>
                <a:cubicBezTo>
                  <a:pt x="2048708" y="28860"/>
                  <a:pt x="2374879" y="1458"/>
                  <a:pt x="2501259" y="0"/>
                </a:cubicBezTo>
                <a:cubicBezTo>
                  <a:pt x="2627639" y="-1458"/>
                  <a:pt x="3045144" y="4099"/>
                  <a:pt x="3206401" y="0"/>
                </a:cubicBezTo>
                <a:cubicBezTo>
                  <a:pt x="3367658" y="-4099"/>
                  <a:pt x="3795806" y="12049"/>
                  <a:pt x="3991371" y="0"/>
                </a:cubicBezTo>
                <a:cubicBezTo>
                  <a:pt x="4003807" y="232773"/>
                  <a:pt x="4007742" y="377088"/>
                  <a:pt x="3991371" y="492443"/>
                </a:cubicBezTo>
                <a:cubicBezTo>
                  <a:pt x="3975000" y="607798"/>
                  <a:pt x="3992306" y="858827"/>
                  <a:pt x="3991371" y="955339"/>
                </a:cubicBezTo>
                <a:cubicBezTo>
                  <a:pt x="3990436" y="1051851"/>
                  <a:pt x="4010507" y="1310649"/>
                  <a:pt x="3991371" y="1477328"/>
                </a:cubicBezTo>
                <a:cubicBezTo>
                  <a:pt x="3784387" y="1448722"/>
                  <a:pt x="3698238" y="1489805"/>
                  <a:pt x="3405970" y="1477328"/>
                </a:cubicBezTo>
                <a:cubicBezTo>
                  <a:pt x="3113702" y="1464851"/>
                  <a:pt x="3052605" y="1486056"/>
                  <a:pt x="2860483" y="1477328"/>
                </a:cubicBezTo>
                <a:cubicBezTo>
                  <a:pt x="2668361" y="1468600"/>
                  <a:pt x="2442460" y="1508128"/>
                  <a:pt x="2155340" y="1477328"/>
                </a:cubicBezTo>
                <a:cubicBezTo>
                  <a:pt x="1868220" y="1446528"/>
                  <a:pt x="1761633" y="1463693"/>
                  <a:pt x="1569939" y="1477328"/>
                </a:cubicBezTo>
                <a:cubicBezTo>
                  <a:pt x="1378245" y="1490963"/>
                  <a:pt x="1064754" y="1501927"/>
                  <a:pt x="864797" y="1477328"/>
                </a:cubicBezTo>
                <a:cubicBezTo>
                  <a:pt x="664840" y="1452729"/>
                  <a:pt x="367745" y="1513639"/>
                  <a:pt x="0" y="1477328"/>
                </a:cubicBezTo>
                <a:cubicBezTo>
                  <a:pt x="-19723" y="1258529"/>
                  <a:pt x="2659" y="1187436"/>
                  <a:pt x="0" y="999659"/>
                </a:cubicBezTo>
                <a:cubicBezTo>
                  <a:pt x="-2659" y="811882"/>
                  <a:pt x="5087" y="688364"/>
                  <a:pt x="0" y="492443"/>
                </a:cubicBezTo>
                <a:cubicBezTo>
                  <a:pt x="-5087" y="296522"/>
                  <a:pt x="19499" y="141125"/>
                  <a:pt x="0" y="0"/>
                </a:cubicBezTo>
                <a:close/>
              </a:path>
              <a:path w="3991371" h="1477328" stroke="0" extrusionOk="0">
                <a:moveTo>
                  <a:pt x="0" y="0"/>
                </a:moveTo>
                <a:cubicBezTo>
                  <a:pt x="176038" y="30478"/>
                  <a:pt x="459887" y="-1171"/>
                  <a:pt x="625315" y="0"/>
                </a:cubicBezTo>
                <a:cubicBezTo>
                  <a:pt x="790744" y="1171"/>
                  <a:pt x="987973" y="10331"/>
                  <a:pt x="1170802" y="0"/>
                </a:cubicBezTo>
                <a:cubicBezTo>
                  <a:pt x="1353631" y="-10331"/>
                  <a:pt x="1608836" y="999"/>
                  <a:pt x="1915858" y="0"/>
                </a:cubicBezTo>
                <a:cubicBezTo>
                  <a:pt x="2222880" y="-999"/>
                  <a:pt x="2243155" y="28192"/>
                  <a:pt x="2541173" y="0"/>
                </a:cubicBezTo>
                <a:cubicBezTo>
                  <a:pt x="2839191" y="-28192"/>
                  <a:pt x="2961449" y="-24306"/>
                  <a:pt x="3166488" y="0"/>
                </a:cubicBezTo>
                <a:cubicBezTo>
                  <a:pt x="3371528" y="24306"/>
                  <a:pt x="3820207" y="4180"/>
                  <a:pt x="3991371" y="0"/>
                </a:cubicBezTo>
                <a:cubicBezTo>
                  <a:pt x="3995540" y="108949"/>
                  <a:pt x="3997444" y="293481"/>
                  <a:pt x="3991371" y="462896"/>
                </a:cubicBezTo>
                <a:cubicBezTo>
                  <a:pt x="3985298" y="632311"/>
                  <a:pt x="3982678" y="754333"/>
                  <a:pt x="3991371" y="955339"/>
                </a:cubicBezTo>
                <a:cubicBezTo>
                  <a:pt x="4000064" y="1156345"/>
                  <a:pt x="3992547" y="1251853"/>
                  <a:pt x="3991371" y="1477328"/>
                </a:cubicBezTo>
                <a:cubicBezTo>
                  <a:pt x="3831651" y="1468602"/>
                  <a:pt x="3635672" y="1473735"/>
                  <a:pt x="3405970" y="1477328"/>
                </a:cubicBezTo>
                <a:cubicBezTo>
                  <a:pt x="3176268" y="1480921"/>
                  <a:pt x="2977234" y="1448746"/>
                  <a:pt x="2740741" y="1477328"/>
                </a:cubicBezTo>
                <a:cubicBezTo>
                  <a:pt x="2504248" y="1505910"/>
                  <a:pt x="2373207" y="1461524"/>
                  <a:pt x="2115427" y="1477328"/>
                </a:cubicBezTo>
                <a:cubicBezTo>
                  <a:pt x="1857647" y="1493132"/>
                  <a:pt x="1526751" y="1456894"/>
                  <a:pt x="1370371" y="1477328"/>
                </a:cubicBezTo>
                <a:cubicBezTo>
                  <a:pt x="1213991" y="1497762"/>
                  <a:pt x="794556" y="1458533"/>
                  <a:pt x="625315" y="1477328"/>
                </a:cubicBezTo>
                <a:cubicBezTo>
                  <a:pt x="456074" y="1496123"/>
                  <a:pt x="254021" y="1448902"/>
                  <a:pt x="0" y="1477328"/>
                </a:cubicBezTo>
                <a:cubicBezTo>
                  <a:pt x="3028" y="1249424"/>
                  <a:pt x="15679" y="1210974"/>
                  <a:pt x="0" y="984885"/>
                </a:cubicBezTo>
                <a:cubicBezTo>
                  <a:pt x="-15679" y="758796"/>
                  <a:pt x="-22811" y="637841"/>
                  <a:pt x="0" y="507216"/>
                </a:cubicBezTo>
                <a:cubicBezTo>
                  <a:pt x="22811" y="376591"/>
                  <a:pt x="-11239" y="149112"/>
                  <a:pt x="0" y="0"/>
                </a:cubicBezTo>
                <a:close/>
              </a:path>
            </a:pathLst>
          </a:custGeom>
          <a:solidFill>
            <a:schemeClr val="tx2">
              <a:lumMod val="20000"/>
              <a:lumOff val="80000"/>
            </a:schemeClr>
          </a:solidFill>
          <a:ln>
            <a:solidFill>
              <a:schemeClr val="accent4"/>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3"/>
          </a:lnRef>
          <a:fillRef idx="1">
            <a:schemeClr val="lt1"/>
          </a:fillRef>
          <a:effectRef idx="0">
            <a:schemeClr val="accent3"/>
          </a:effectRef>
          <a:fontRef idx="minor">
            <a:schemeClr val="dk1"/>
          </a:fontRef>
        </p:style>
        <p:txBody>
          <a:bodyPr wrap="square" lIns="0" tIns="72000" rIns="0" bIns="0" rtlCol="0">
            <a:noAutofit/>
          </a:bodyPr>
          <a:lstStyle/>
          <a:p>
            <a:pPr algn="ctr"/>
            <a:r>
              <a:rPr lang="da-DK" sz="2400" b="1" dirty="0">
                <a:latin typeface="Amatic SC" panose="00000500000000000000" pitchFamily="2" charset="-79"/>
                <a:cs typeface="Amatic SC" panose="00000500000000000000" pitchFamily="2" charset="-79"/>
              </a:rPr>
              <a:t>Dialogværktøjer</a:t>
            </a:r>
          </a:p>
          <a:p>
            <a:pPr marL="252000" lvl="1"/>
            <a:r>
              <a:rPr lang="da-DK" sz="1200" b="1" dirty="0">
                <a:latin typeface="Quicksand" panose="020B0604020202020204" charset="0"/>
                <a:cs typeface="Amatic SC" panose="00000500000000000000" pitchFamily="2" charset="-79"/>
              </a:rPr>
              <a:t>Fire lydoptagelser </a:t>
            </a:r>
            <a:r>
              <a:rPr lang="da-DK" sz="1200" dirty="0">
                <a:latin typeface="Quicksand" panose="020B0604020202020204" charset="0"/>
                <a:cs typeface="Amatic SC" panose="00000500000000000000" pitchFamily="2" charset="-79"/>
              </a:rPr>
              <a:t>af dialoger i ledelsesteams fra</a:t>
            </a:r>
            <a:br>
              <a:rPr lang="da-DK" sz="1200" dirty="0">
                <a:latin typeface="Quicksand" panose="020B0604020202020204" charset="0"/>
                <a:cs typeface="Amatic SC" panose="00000500000000000000" pitchFamily="2" charset="-79"/>
              </a:rPr>
            </a:br>
            <a:r>
              <a:rPr lang="da-DK" sz="1200" dirty="0">
                <a:latin typeface="Quicksand" panose="020B0604020202020204" charset="0"/>
                <a:cs typeface="Amatic SC" panose="00000500000000000000" pitchFamily="2" charset="-79"/>
              </a:rPr>
              <a:t>forskellige skoler.</a:t>
            </a:r>
          </a:p>
          <a:p>
            <a:pPr lvl="1"/>
            <a:endParaRPr lang="da-DK" sz="1200" dirty="0">
              <a:latin typeface="Quicksand" panose="020B0604020202020204" charset="0"/>
              <a:cs typeface="Amatic SC" panose="00000500000000000000" pitchFamily="2" charset="-79"/>
            </a:endParaRPr>
          </a:p>
          <a:p>
            <a:pPr marL="252000" lvl="1"/>
            <a:r>
              <a:rPr lang="da-DK" sz="1200" b="1" dirty="0">
                <a:latin typeface="Quicksand" panose="020B0604020202020204" charset="0"/>
                <a:cs typeface="Amatic SC" panose="00000500000000000000" pitchFamily="2" charset="-79"/>
              </a:rPr>
              <a:t>Fire lydoptagelser </a:t>
            </a:r>
            <a:r>
              <a:rPr lang="da-DK" sz="1200" dirty="0">
                <a:latin typeface="Quicksand" panose="020B0604020202020204" charset="0"/>
                <a:cs typeface="Amatic SC" panose="00000500000000000000" pitchFamily="2" charset="-79"/>
              </a:rPr>
              <a:t>af dialoger i teams (pædagogisk personale) fra forskellige skoler.</a:t>
            </a:r>
          </a:p>
          <a:p>
            <a:pPr marL="800100" lvl="1" indent="-342900">
              <a:buFontTx/>
              <a:buChar char="-"/>
            </a:pPr>
            <a:endParaRPr lang="da-DK" sz="1200" b="1" dirty="0">
              <a:latin typeface="Quicksand" panose="020B0604020202020204" charset="0"/>
              <a:cs typeface="Amatic SC" panose="00000500000000000000" pitchFamily="2" charset="-79"/>
            </a:endParaRPr>
          </a:p>
        </p:txBody>
      </p:sp>
      <p:sp>
        <p:nvSpPr>
          <p:cNvPr id="5" name="TextBox 4">
            <a:extLst>
              <a:ext uri="{FF2B5EF4-FFF2-40B4-BE49-F238E27FC236}">
                <a16:creationId xmlns:a16="http://schemas.microsoft.com/office/drawing/2014/main" id="{F8011E77-FD52-8D59-DF69-25DB95D1DA2D}"/>
              </a:ext>
            </a:extLst>
          </p:cNvPr>
          <p:cNvSpPr txBox="1"/>
          <p:nvPr/>
        </p:nvSpPr>
        <p:spPr>
          <a:xfrm>
            <a:off x="4792256" y="2034885"/>
            <a:ext cx="3191855" cy="3631763"/>
          </a:xfrm>
          <a:custGeom>
            <a:avLst/>
            <a:gdLst>
              <a:gd name="connsiteX0" fmla="*/ 0 w 3191855"/>
              <a:gd name="connsiteY0" fmla="*/ 0 h 3631763"/>
              <a:gd name="connsiteX1" fmla="*/ 702208 w 3191855"/>
              <a:gd name="connsiteY1" fmla="*/ 0 h 3631763"/>
              <a:gd name="connsiteX2" fmla="*/ 1372498 w 3191855"/>
              <a:gd name="connsiteY2" fmla="*/ 0 h 3631763"/>
              <a:gd name="connsiteX3" fmla="*/ 2010869 w 3191855"/>
              <a:gd name="connsiteY3" fmla="*/ 0 h 3631763"/>
              <a:gd name="connsiteX4" fmla="*/ 3191855 w 3191855"/>
              <a:gd name="connsiteY4" fmla="*/ 0 h 3631763"/>
              <a:gd name="connsiteX5" fmla="*/ 3191855 w 3191855"/>
              <a:gd name="connsiteY5" fmla="*/ 677929 h 3631763"/>
              <a:gd name="connsiteX6" fmla="*/ 3191855 w 3191855"/>
              <a:gd name="connsiteY6" fmla="*/ 1319541 h 3631763"/>
              <a:gd name="connsiteX7" fmla="*/ 3191855 w 3191855"/>
              <a:gd name="connsiteY7" fmla="*/ 1852199 h 3631763"/>
              <a:gd name="connsiteX8" fmla="*/ 3191855 w 3191855"/>
              <a:gd name="connsiteY8" fmla="*/ 2493811 h 3631763"/>
              <a:gd name="connsiteX9" fmla="*/ 3191855 w 3191855"/>
              <a:gd name="connsiteY9" fmla="*/ 2990152 h 3631763"/>
              <a:gd name="connsiteX10" fmla="*/ 3191855 w 3191855"/>
              <a:gd name="connsiteY10" fmla="*/ 3631763 h 3631763"/>
              <a:gd name="connsiteX11" fmla="*/ 2617321 w 3191855"/>
              <a:gd name="connsiteY11" fmla="*/ 3631763 h 3631763"/>
              <a:gd name="connsiteX12" fmla="*/ 1915113 w 3191855"/>
              <a:gd name="connsiteY12" fmla="*/ 3631763 h 3631763"/>
              <a:gd name="connsiteX13" fmla="*/ 1308661 w 3191855"/>
              <a:gd name="connsiteY13" fmla="*/ 3631763 h 3631763"/>
              <a:gd name="connsiteX14" fmla="*/ 606452 w 3191855"/>
              <a:gd name="connsiteY14" fmla="*/ 3631763 h 3631763"/>
              <a:gd name="connsiteX15" fmla="*/ 0 w 3191855"/>
              <a:gd name="connsiteY15" fmla="*/ 3631763 h 3631763"/>
              <a:gd name="connsiteX16" fmla="*/ 0 w 3191855"/>
              <a:gd name="connsiteY16" fmla="*/ 3135422 h 3631763"/>
              <a:gd name="connsiteX17" fmla="*/ 0 w 3191855"/>
              <a:gd name="connsiteY17" fmla="*/ 2493811 h 3631763"/>
              <a:gd name="connsiteX18" fmla="*/ 0 w 3191855"/>
              <a:gd name="connsiteY18" fmla="*/ 1997470 h 3631763"/>
              <a:gd name="connsiteX19" fmla="*/ 0 w 3191855"/>
              <a:gd name="connsiteY19" fmla="*/ 1501129 h 3631763"/>
              <a:gd name="connsiteX20" fmla="*/ 0 w 3191855"/>
              <a:gd name="connsiteY20" fmla="*/ 823200 h 3631763"/>
              <a:gd name="connsiteX21" fmla="*/ 0 w 3191855"/>
              <a:gd name="connsiteY21" fmla="*/ 0 h 3631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91855" h="3631763" fill="none" extrusionOk="0">
                <a:moveTo>
                  <a:pt x="0" y="0"/>
                </a:moveTo>
                <a:cubicBezTo>
                  <a:pt x="247222" y="15772"/>
                  <a:pt x="408195" y="2755"/>
                  <a:pt x="702208" y="0"/>
                </a:cubicBezTo>
                <a:cubicBezTo>
                  <a:pt x="996221" y="-2755"/>
                  <a:pt x="1229379" y="-7637"/>
                  <a:pt x="1372498" y="0"/>
                </a:cubicBezTo>
                <a:cubicBezTo>
                  <a:pt x="1515617" y="7637"/>
                  <a:pt x="1862230" y="-6227"/>
                  <a:pt x="2010869" y="0"/>
                </a:cubicBezTo>
                <a:cubicBezTo>
                  <a:pt x="2159508" y="6227"/>
                  <a:pt x="2848726" y="-12682"/>
                  <a:pt x="3191855" y="0"/>
                </a:cubicBezTo>
                <a:cubicBezTo>
                  <a:pt x="3177757" y="233322"/>
                  <a:pt x="3214380" y="399907"/>
                  <a:pt x="3191855" y="677929"/>
                </a:cubicBezTo>
                <a:cubicBezTo>
                  <a:pt x="3169330" y="955951"/>
                  <a:pt x="3167288" y="1060612"/>
                  <a:pt x="3191855" y="1319541"/>
                </a:cubicBezTo>
                <a:cubicBezTo>
                  <a:pt x="3216422" y="1578470"/>
                  <a:pt x="3193400" y="1667830"/>
                  <a:pt x="3191855" y="1852199"/>
                </a:cubicBezTo>
                <a:cubicBezTo>
                  <a:pt x="3190310" y="2036568"/>
                  <a:pt x="3207606" y="2275692"/>
                  <a:pt x="3191855" y="2493811"/>
                </a:cubicBezTo>
                <a:cubicBezTo>
                  <a:pt x="3176104" y="2711930"/>
                  <a:pt x="3170735" y="2827623"/>
                  <a:pt x="3191855" y="2990152"/>
                </a:cubicBezTo>
                <a:cubicBezTo>
                  <a:pt x="3212975" y="3152681"/>
                  <a:pt x="3223013" y="3500952"/>
                  <a:pt x="3191855" y="3631763"/>
                </a:cubicBezTo>
                <a:cubicBezTo>
                  <a:pt x="2981844" y="3642880"/>
                  <a:pt x="2777422" y="3618145"/>
                  <a:pt x="2617321" y="3631763"/>
                </a:cubicBezTo>
                <a:cubicBezTo>
                  <a:pt x="2457220" y="3645381"/>
                  <a:pt x="2127662" y="3616476"/>
                  <a:pt x="1915113" y="3631763"/>
                </a:cubicBezTo>
                <a:cubicBezTo>
                  <a:pt x="1702564" y="3647050"/>
                  <a:pt x="1542716" y="3645856"/>
                  <a:pt x="1308661" y="3631763"/>
                </a:cubicBezTo>
                <a:cubicBezTo>
                  <a:pt x="1074606" y="3617670"/>
                  <a:pt x="818282" y="3607296"/>
                  <a:pt x="606452" y="3631763"/>
                </a:cubicBezTo>
                <a:cubicBezTo>
                  <a:pt x="394622" y="3656230"/>
                  <a:pt x="280538" y="3641037"/>
                  <a:pt x="0" y="3631763"/>
                </a:cubicBezTo>
                <a:cubicBezTo>
                  <a:pt x="-22579" y="3463511"/>
                  <a:pt x="-1889" y="3353787"/>
                  <a:pt x="0" y="3135422"/>
                </a:cubicBezTo>
                <a:cubicBezTo>
                  <a:pt x="1889" y="2917057"/>
                  <a:pt x="-5638" y="2656833"/>
                  <a:pt x="0" y="2493811"/>
                </a:cubicBezTo>
                <a:cubicBezTo>
                  <a:pt x="5638" y="2330789"/>
                  <a:pt x="13787" y="2183556"/>
                  <a:pt x="0" y="1997470"/>
                </a:cubicBezTo>
                <a:cubicBezTo>
                  <a:pt x="-13787" y="1811384"/>
                  <a:pt x="1087" y="1720051"/>
                  <a:pt x="0" y="1501129"/>
                </a:cubicBezTo>
                <a:cubicBezTo>
                  <a:pt x="-1087" y="1282207"/>
                  <a:pt x="14923" y="1114852"/>
                  <a:pt x="0" y="823200"/>
                </a:cubicBezTo>
                <a:cubicBezTo>
                  <a:pt x="-14923" y="531548"/>
                  <a:pt x="15101" y="185124"/>
                  <a:pt x="0" y="0"/>
                </a:cubicBezTo>
                <a:close/>
              </a:path>
              <a:path w="3191855" h="3631763" stroke="0" extrusionOk="0">
                <a:moveTo>
                  <a:pt x="0" y="0"/>
                </a:moveTo>
                <a:cubicBezTo>
                  <a:pt x="148733" y="5662"/>
                  <a:pt x="323181" y="-29486"/>
                  <a:pt x="606452" y="0"/>
                </a:cubicBezTo>
                <a:cubicBezTo>
                  <a:pt x="889723" y="29486"/>
                  <a:pt x="884118" y="3669"/>
                  <a:pt x="1149068" y="0"/>
                </a:cubicBezTo>
                <a:cubicBezTo>
                  <a:pt x="1414018" y="-3669"/>
                  <a:pt x="1535308" y="30514"/>
                  <a:pt x="1851276" y="0"/>
                </a:cubicBezTo>
                <a:cubicBezTo>
                  <a:pt x="2167244" y="-30514"/>
                  <a:pt x="2175792" y="-14065"/>
                  <a:pt x="2457728" y="0"/>
                </a:cubicBezTo>
                <a:cubicBezTo>
                  <a:pt x="2739664" y="14065"/>
                  <a:pt x="2953605" y="-18183"/>
                  <a:pt x="3191855" y="0"/>
                </a:cubicBezTo>
                <a:cubicBezTo>
                  <a:pt x="3171361" y="157538"/>
                  <a:pt x="3184552" y="388594"/>
                  <a:pt x="3191855" y="677929"/>
                </a:cubicBezTo>
                <a:cubicBezTo>
                  <a:pt x="3199158" y="967264"/>
                  <a:pt x="3196235" y="1073328"/>
                  <a:pt x="3191855" y="1283223"/>
                </a:cubicBezTo>
                <a:cubicBezTo>
                  <a:pt x="3187475" y="1493118"/>
                  <a:pt x="3162025" y="1747110"/>
                  <a:pt x="3191855" y="1888517"/>
                </a:cubicBezTo>
                <a:cubicBezTo>
                  <a:pt x="3221685" y="2029924"/>
                  <a:pt x="3185470" y="2280649"/>
                  <a:pt x="3191855" y="2421175"/>
                </a:cubicBezTo>
                <a:cubicBezTo>
                  <a:pt x="3198240" y="2561701"/>
                  <a:pt x="3172585" y="2809797"/>
                  <a:pt x="3191855" y="2953834"/>
                </a:cubicBezTo>
                <a:cubicBezTo>
                  <a:pt x="3211125" y="3097871"/>
                  <a:pt x="3198108" y="3439381"/>
                  <a:pt x="3191855" y="3631763"/>
                </a:cubicBezTo>
                <a:cubicBezTo>
                  <a:pt x="2908947" y="3601457"/>
                  <a:pt x="2691100" y="3645183"/>
                  <a:pt x="2521565" y="3631763"/>
                </a:cubicBezTo>
                <a:cubicBezTo>
                  <a:pt x="2352030" y="3618344"/>
                  <a:pt x="2049592" y="3620210"/>
                  <a:pt x="1819357" y="3631763"/>
                </a:cubicBezTo>
                <a:cubicBezTo>
                  <a:pt x="1589122" y="3643316"/>
                  <a:pt x="1384764" y="3625677"/>
                  <a:pt x="1117149" y="3631763"/>
                </a:cubicBezTo>
                <a:cubicBezTo>
                  <a:pt x="849534" y="3637849"/>
                  <a:pt x="557516" y="3579962"/>
                  <a:pt x="0" y="3631763"/>
                </a:cubicBezTo>
                <a:cubicBezTo>
                  <a:pt x="18178" y="3474992"/>
                  <a:pt x="16179" y="3166028"/>
                  <a:pt x="0" y="3026469"/>
                </a:cubicBezTo>
                <a:cubicBezTo>
                  <a:pt x="-16179" y="2886910"/>
                  <a:pt x="11626" y="2650557"/>
                  <a:pt x="0" y="2457493"/>
                </a:cubicBezTo>
                <a:cubicBezTo>
                  <a:pt x="-11626" y="2264429"/>
                  <a:pt x="-24216" y="2181398"/>
                  <a:pt x="0" y="1961152"/>
                </a:cubicBezTo>
                <a:cubicBezTo>
                  <a:pt x="24216" y="1740906"/>
                  <a:pt x="-12269" y="1571218"/>
                  <a:pt x="0" y="1428493"/>
                </a:cubicBezTo>
                <a:cubicBezTo>
                  <a:pt x="12269" y="1285768"/>
                  <a:pt x="17895" y="1044807"/>
                  <a:pt x="0" y="895835"/>
                </a:cubicBezTo>
                <a:cubicBezTo>
                  <a:pt x="-17895" y="746863"/>
                  <a:pt x="19059" y="442557"/>
                  <a:pt x="0" y="0"/>
                </a:cubicBezTo>
                <a:close/>
              </a:path>
            </a:pathLst>
          </a:custGeom>
          <a:solidFill>
            <a:schemeClr val="tx2">
              <a:lumMod val="20000"/>
              <a:lumOff val="80000"/>
            </a:schemeClr>
          </a:solidFill>
          <a:ln>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3"/>
          </a:lnRef>
          <a:fillRef idx="1">
            <a:schemeClr val="lt1"/>
          </a:fillRef>
          <a:effectRef idx="0">
            <a:schemeClr val="accent3"/>
          </a:effectRef>
          <a:fontRef idx="minor">
            <a:schemeClr val="dk1"/>
          </a:fontRef>
        </p:style>
        <p:txBody>
          <a:bodyPr wrap="square" lIns="0" tIns="72000" rIns="0" bIns="0" rtlCol="0">
            <a:noAutofit/>
          </a:bodyPr>
          <a:lstStyle/>
          <a:p>
            <a:pPr algn="ctr"/>
            <a:r>
              <a:rPr lang="da-DK" sz="2400" b="1">
                <a:latin typeface="Amatic SC" panose="00000500000000000000" pitchFamily="2" charset="-79"/>
                <a:cs typeface="Amatic SC" panose="00000500000000000000" pitchFamily="2" charset="-79"/>
              </a:rPr>
              <a:t>Casebesøg på skoler</a:t>
            </a:r>
          </a:p>
          <a:p>
            <a:pPr algn="ctr"/>
            <a:endParaRPr lang="da-DK" sz="2400" b="1">
              <a:latin typeface="Amatic SC" panose="00000500000000000000" pitchFamily="2" charset="-79"/>
              <a:cs typeface="Amatic SC" panose="00000500000000000000" pitchFamily="2" charset="-79"/>
            </a:endParaRPr>
          </a:p>
          <a:p>
            <a:pPr algn="ctr"/>
            <a:endParaRPr lang="da-DK" sz="2400" b="1">
              <a:latin typeface="Amatic SC" panose="00000500000000000000" pitchFamily="2" charset="-79"/>
              <a:cs typeface="Amatic SC" panose="00000500000000000000" pitchFamily="2" charset="-79"/>
            </a:endParaRPr>
          </a:p>
          <a:p>
            <a:pPr algn="ctr"/>
            <a:endParaRPr lang="da-DK" sz="2400" b="1">
              <a:latin typeface="Amatic SC" panose="00000500000000000000" pitchFamily="2" charset="-79"/>
              <a:cs typeface="Amatic SC" panose="00000500000000000000" pitchFamily="2" charset="-79"/>
            </a:endParaRPr>
          </a:p>
          <a:p>
            <a:pPr lvl="1"/>
            <a:endParaRPr lang="da-DK" sz="2000">
              <a:latin typeface="Amatic SC" panose="00000500000000000000" pitchFamily="2" charset="-79"/>
              <a:cs typeface="Amatic SC" panose="00000500000000000000" pitchFamily="2" charset="-79"/>
            </a:endParaRPr>
          </a:p>
          <a:p>
            <a:pPr algn="ctr"/>
            <a:endParaRPr lang="da-DK" sz="2400" b="1">
              <a:latin typeface="Amatic SC" panose="00000500000000000000" pitchFamily="2" charset="-79"/>
              <a:cs typeface="Amatic SC" panose="00000500000000000000" pitchFamily="2" charset="-79"/>
            </a:endParaRPr>
          </a:p>
          <a:p>
            <a:pPr algn="ctr"/>
            <a:endParaRPr lang="da-DK" sz="2400" b="1">
              <a:latin typeface="Amatic SC" panose="00000500000000000000" pitchFamily="2" charset="-79"/>
              <a:cs typeface="Amatic SC" panose="00000500000000000000" pitchFamily="2" charset="-79"/>
            </a:endParaRPr>
          </a:p>
          <a:p>
            <a:pPr algn="ctr"/>
            <a:endParaRPr lang="da-DK" sz="2400" b="1">
              <a:latin typeface="Amatic SC" panose="00000500000000000000" pitchFamily="2" charset="-79"/>
              <a:cs typeface="Amatic SC" panose="00000500000000000000" pitchFamily="2" charset="-79"/>
            </a:endParaRPr>
          </a:p>
          <a:p>
            <a:pPr algn="ctr"/>
            <a:endParaRPr lang="da-DK" sz="2400" b="1">
              <a:latin typeface="Amatic SC" panose="00000500000000000000" pitchFamily="2" charset="-79"/>
              <a:cs typeface="Amatic SC" panose="00000500000000000000" pitchFamily="2" charset="-79"/>
            </a:endParaRPr>
          </a:p>
          <a:p>
            <a:pPr algn="ctr"/>
            <a:endParaRPr lang="da-DK" sz="2400" b="1">
              <a:latin typeface="Amatic SC" panose="00000500000000000000" pitchFamily="2" charset="-79"/>
              <a:cs typeface="Amatic SC" panose="00000500000000000000" pitchFamily="2" charset="-79"/>
            </a:endParaRPr>
          </a:p>
        </p:txBody>
      </p:sp>
      <p:sp>
        <p:nvSpPr>
          <p:cNvPr id="7" name="TextBox 6">
            <a:extLst>
              <a:ext uri="{FF2B5EF4-FFF2-40B4-BE49-F238E27FC236}">
                <a16:creationId xmlns:a16="http://schemas.microsoft.com/office/drawing/2014/main" id="{C6DC51C9-021A-D41E-8C13-B63BF5F64C2F}"/>
              </a:ext>
            </a:extLst>
          </p:cNvPr>
          <p:cNvSpPr txBox="1"/>
          <p:nvPr/>
        </p:nvSpPr>
        <p:spPr>
          <a:xfrm>
            <a:off x="5087162" y="4260474"/>
            <a:ext cx="2571738" cy="369332"/>
          </a:xfrm>
          <a:custGeom>
            <a:avLst/>
            <a:gdLst>
              <a:gd name="connsiteX0" fmla="*/ 0 w 2571738"/>
              <a:gd name="connsiteY0" fmla="*/ 0 h 369332"/>
              <a:gd name="connsiteX1" fmla="*/ 617217 w 2571738"/>
              <a:gd name="connsiteY1" fmla="*/ 0 h 369332"/>
              <a:gd name="connsiteX2" fmla="*/ 1182999 w 2571738"/>
              <a:gd name="connsiteY2" fmla="*/ 0 h 369332"/>
              <a:gd name="connsiteX3" fmla="*/ 1877369 w 2571738"/>
              <a:gd name="connsiteY3" fmla="*/ 0 h 369332"/>
              <a:gd name="connsiteX4" fmla="*/ 2571738 w 2571738"/>
              <a:gd name="connsiteY4" fmla="*/ 0 h 369332"/>
              <a:gd name="connsiteX5" fmla="*/ 2571738 w 2571738"/>
              <a:gd name="connsiteY5" fmla="*/ 369332 h 369332"/>
              <a:gd name="connsiteX6" fmla="*/ 1980238 w 2571738"/>
              <a:gd name="connsiteY6" fmla="*/ 369332 h 369332"/>
              <a:gd name="connsiteX7" fmla="*/ 1388739 w 2571738"/>
              <a:gd name="connsiteY7" fmla="*/ 369332 h 369332"/>
              <a:gd name="connsiteX8" fmla="*/ 694369 w 2571738"/>
              <a:gd name="connsiteY8" fmla="*/ 369332 h 369332"/>
              <a:gd name="connsiteX9" fmla="*/ 0 w 2571738"/>
              <a:gd name="connsiteY9" fmla="*/ 369332 h 369332"/>
              <a:gd name="connsiteX10" fmla="*/ 0 w 2571738"/>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1738" h="369332" extrusionOk="0">
                <a:moveTo>
                  <a:pt x="0" y="0"/>
                </a:moveTo>
                <a:cubicBezTo>
                  <a:pt x="222907" y="-13606"/>
                  <a:pt x="488073" y="-28567"/>
                  <a:pt x="617217" y="0"/>
                </a:cubicBezTo>
                <a:cubicBezTo>
                  <a:pt x="746361" y="28567"/>
                  <a:pt x="1059442" y="10673"/>
                  <a:pt x="1182999" y="0"/>
                </a:cubicBezTo>
                <a:cubicBezTo>
                  <a:pt x="1306556" y="-10673"/>
                  <a:pt x="1569008" y="11899"/>
                  <a:pt x="1877369" y="0"/>
                </a:cubicBezTo>
                <a:cubicBezTo>
                  <a:pt x="2185730" y="-11899"/>
                  <a:pt x="2431630" y="31249"/>
                  <a:pt x="2571738" y="0"/>
                </a:cubicBezTo>
                <a:cubicBezTo>
                  <a:pt x="2588844" y="91456"/>
                  <a:pt x="2589897" y="211595"/>
                  <a:pt x="2571738" y="369332"/>
                </a:cubicBezTo>
                <a:cubicBezTo>
                  <a:pt x="2451904" y="398746"/>
                  <a:pt x="2207214" y="349778"/>
                  <a:pt x="1980238" y="369332"/>
                </a:cubicBezTo>
                <a:cubicBezTo>
                  <a:pt x="1753262" y="388886"/>
                  <a:pt x="1670905" y="371552"/>
                  <a:pt x="1388739" y="369332"/>
                </a:cubicBezTo>
                <a:cubicBezTo>
                  <a:pt x="1106573" y="367112"/>
                  <a:pt x="972365" y="343507"/>
                  <a:pt x="694369" y="369332"/>
                </a:cubicBezTo>
                <a:cubicBezTo>
                  <a:pt x="416373" y="395158"/>
                  <a:pt x="222865" y="337236"/>
                  <a:pt x="0" y="369332"/>
                </a:cubicBezTo>
                <a:cubicBezTo>
                  <a:pt x="11387" y="231265"/>
                  <a:pt x="-12011" y="175783"/>
                  <a:pt x="0" y="0"/>
                </a:cubicBezTo>
                <a:close/>
              </a:path>
            </a:pathLst>
          </a:custGeom>
          <a:noFill/>
          <a:ln>
            <a:solidFill>
              <a:schemeClr val="accent3"/>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3"/>
          </a:lnRef>
          <a:fillRef idx="1">
            <a:schemeClr val="lt1"/>
          </a:fillRef>
          <a:effectRef idx="0">
            <a:schemeClr val="accent3"/>
          </a:effectRef>
          <a:fontRef idx="minor">
            <a:schemeClr val="dk1"/>
          </a:fontRef>
        </p:style>
        <p:txBody>
          <a:bodyPr wrap="square" lIns="0" tIns="0" rIns="0" bIns="0" rtlCol="0">
            <a:noAutofit/>
          </a:bodyPr>
          <a:lstStyle/>
          <a:p>
            <a:pPr algn="ctr"/>
            <a:r>
              <a:rPr lang="da-DK" sz="2400" b="1">
                <a:latin typeface="Amatic SC" panose="00000500000000000000" pitchFamily="2" charset="-79"/>
                <a:cs typeface="Amatic SC" panose="00000500000000000000" pitchFamily="2" charset="-79"/>
              </a:rPr>
              <a:t>Observationer</a:t>
            </a:r>
          </a:p>
        </p:txBody>
      </p:sp>
      <p:sp>
        <p:nvSpPr>
          <p:cNvPr id="11" name="TextBox 10">
            <a:extLst>
              <a:ext uri="{FF2B5EF4-FFF2-40B4-BE49-F238E27FC236}">
                <a16:creationId xmlns:a16="http://schemas.microsoft.com/office/drawing/2014/main" id="{6F1F60EC-D9D6-4AA9-32FC-3E3409DB52CB}"/>
              </a:ext>
            </a:extLst>
          </p:cNvPr>
          <p:cNvSpPr txBox="1"/>
          <p:nvPr/>
        </p:nvSpPr>
        <p:spPr>
          <a:xfrm>
            <a:off x="5087162" y="4743318"/>
            <a:ext cx="2648452" cy="369332"/>
          </a:xfrm>
          <a:prstGeom prst="rect">
            <a:avLst/>
          </a:prstGeom>
          <a:noFill/>
        </p:spPr>
        <p:txBody>
          <a:bodyPr wrap="square" lIns="0" tIns="0" rIns="0" bIns="0" rtlCol="0">
            <a:spAutoFit/>
          </a:bodyPr>
          <a:lstStyle/>
          <a:p>
            <a:pPr marL="252000"/>
            <a:r>
              <a:rPr lang="da-DK" sz="1200" dirty="0">
                <a:latin typeface="Quicksand" panose="020B0604020202020204" charset="0"/>
                <a:cs typeface="Amatic SC" panose="00000500000000000000" pitchFamily="2" charset="-79"/>
              </a:rPr>
              <a:t>Udført som led i</a:t>
            </a:r>
            <a:r>
              <a:rPr lang="da-DK" sz="1200" b="1" dirty="0">
                <a:latin typeface="Quicksand" panose="020B0604020202020204" charset="0"/>
                <a:cs typeface="Amatic SC" panose="00000500000000000000" pitchFamily="2" charset="-79"/>
              </a:rPr>
              <a:t> casebesøg på fem udvalgte skoler </a:t>
            </a:r>
            <a:r>
              <a:rPr lang="da-DK" sz="1200" dirty="0">
                <a:latin typeface="Quicksand" panose="020B0604020202020204" charset="0"/>
                <a:cs typeface="Amatic SC" panose="00000500000000000000" pitchFamily="2" charset="-79"/>
              </a:rPr>
              <a:t>i udvalgte kommuner.</a:t>
            </a:r>
          </a:p>
        </p:txBody>
      </p:sp>
      <p:pic>
        <p:nvPicPr>
          <p:cNvPr id="12" name="Graphic 11" descr="Eyes outline">
            <a:extLst>
              <a:ext uri="{FF2B5EF4-FFF2-40B4-BE49-F238E27FC236}">
                <a16:creationId xmlns:a16="http://schemas.microsoft.com/office/drawing/2014/main" id="{9A6D265D-5073-204C-9231-09CB8F6403D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30983" y="3628236"/>
            <a:ext cx="914400" cy="914400"/>
          </a:xfrm>
          <a:prstGeom prst="rect">
            <a:avLst/>
          </a:prstGeom>
        </p:spPr>
      </p:pic>
      <p:pic>
        <p:nvPicPr>
          <p:cNvPr id="18" name="Graphic 17" descr="Clipboard Partially Checked with solid fill">
            <a:extLst>
              <a:ext uri="{FF2B5EF4-FFF2-40B4-BE49-F238E27FC236}">
                <a16:creationId xmlns:a16="http://schemas.microsoft.com/office/drawing/2014/main" id="{802D8400-1442-75D1-FC9E-9E823AD9A55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017485" y="1253842"/>
            <a:ext cx="714350" cy="714350"/>
          </a:xfrm>
          <a:prstGeom prst="rect">
            <a:avLst/>
          </a:prstGeom>
        </p:spPr>
      </p:pic>
      <p:pic>
        <p:nvPicPr>
          <p:cNvPr id="13" name="Graphic 12" descr="Chat with solid fill">
            <a:extLst>
              <a:ext uri="{FF2B5EF4-FFF2-40B4-BE49-F238E27FC236}">
                <a16:creationId xmlns:a16="http://schemas.microsoft.com/office/drawing/2014/main" id="{D7D8C319-BCC4-62B1-4202-276D8B9AB4C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917460" y="3387136"/>
            <a:ext cx="914400" cy="914400"/>
          </a:xfrm>
          <a:prstGeom prst="rect">
            <a:avLst/>
          </a:prstGeom>
        </p:spPr>
      </p:pic>
      <p:pic>
        <p:nvPicPr>
          <p:cNvPr id="19" name="Graphic 18" descr="Users with solid fill">
            <a:extLst>
              <a:ext uri="{FF2B5EF4-FFF2-40B4-BE49-F238E27FC236}">
                <a16:creationId xmlns:a16="http://schemas.microsoft.com/office/drawing/2014/main" id="{A4CDCBF3-7806-8C4D-73D9-E24747E3802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11122" y="1228788"/>
            <a:ext cx="914400" cy="914400"/>
          </a:xfrm>
          <a:prstGeom prst="rect">
            <a:avLst/>
          </a:prstGeom>
        </p:spPr>
      </p:pic>
      <p:pic>
        <p:nvPicPr>
          <p:cNvPr id="20" name="Graphic 19" descr="Schoolhouse with solid fill">
            <a:extLst>
              <a:ext uri="{FF2B5EF4-FFF2-40B4-BE49-F238E27FC236}">
                <a16:creationId xmlns:a16="http://schemas.microsoft.com/office/drawing/2014/main" id="{6F597099-16CC-790D-A288-A62EF10D5A8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915831" y="1162321"/>
            <a:ext cx="914400" cy="914400"/>
          </a:xfrm>
          <a:prstGeom prst="rect">
            <a:avLst/>
          </a:prstGeom>
        </p:spPr>
      </p:pic>
      <p:sp>
        <p:nvSpPr>
          <p:cNvPr id="21" name="TextBox 20">
            <a:extLst>
              <a:ext uri="{FF2B5EF4-FFF2-40B4-BE49-F238E27FC236}">
                <a16:creationId xmlns:a16="http://schemas.microsoft.com/office/drawing/2014/main" id="{7B941C82-DB62-49AB-642A-17C6EBEEA8EF}"/>
              </a:ext>
            </a:extLst>
          </p:cNvPr>
          <p:cNvSpPr txBox="1"/>
          <p:nvPr/>
        </p:nvSpPr>
        <p:spPr>
          <a:xfrm>
            <a:off x="8457771" y="2020270"/>
            <a:ext cx="3402218" cy="1477328"/>
          </a:xfrm>
          <a:custGeom>
            <a:avLst/>
            <a:gdLst>
              <a:gd name="connsiteX0" fmla="*/ 0 w 3402218"/>
              <a:gd name="connsiteY0" fmla="*/ 0 h 1477328"/>
              <a:gd name="connsiteX1" fmla="*/ 646421 w 3402218"/>
              <a:gd name="connsiteY1" fmla="*/ 0 h 1477328"/>
              <a:gd name="connsiteX2" fmla="*/ 1224798 w 3402218"/>
              <a:gd name="connsiteY2" fmla="*/ 0 h 1477328"/>
              <a:gd name="connsiteX3" fmla="*/ 1837198 w 3402218"/>
              <a:gd name="connsiteY3" fmla="*/ 0 h 1477328"/>
              <a:gd name="connsiteX4" fmla="*/ 2551664 w 3402218"/>
              <a:gd name="connsiteY4" fmla="*/ 0 h 1477328"/>
              <a:gd name="connsiteX5" fmla="*/ 3402218 w 3402218"/>
              <a:gd name="connsiteY5" fmla="*/ 0 h 1477328"/>
              <a:gd name="connsiteX6" fmla="*/ 3402218 w 3402218"/>
              <a:gd name="connsiteY6" fmla="*/ 462896 h 1477328"/>
              <a:gd name="connsiteX7" fmla="*/ 3402218 w 3402218"/>
              <a:gd name="connsiteY7" fmla="*/ 911019 h 1477328"/>
              <a:gd name="connsiteX8" fmla="*/ 3402218 w 3402218"/>
              <a:gd name="connsiteY8" fmla="*/ 1477328 h 1477328"/>
              <a:gd name="connsiteX9" fmla="*/ 2721774 w 3402218"/>
              <a:gd name="connsiteY9" fmla="*/ 1477328 h 1477328"/>
              <a:gd name="connsiteX10" fmla="*/ 2109375 w 3402218"/>
              <a:gd name="connsiteY10" fmla="*/ 1477328 h 1477328"/>
              <a:gd name="connsiteX11" fmla="*/ 1360887 w 3402218"/>
              <a:gd name="connsiteY11" fmla="*/ 1477328 h 1477328"/>
              <a:gd name="connsiteX12" fmla="*/ 714466 w 3402218"/>
              <a:gd name="connsiteY12" fmla="*/ 1477328 h 1477328"/>
              <a:gd name="connsiteX13" fmla="*/ 0 w 3402218"/>
              <a:gd name="connsiteY13" fmla="*/ 1477328 h 1477328"/>
              <a:gd name="connsiteX14" fmla="*/ 0 w 3402218"/>
              <a:gd name="connsiteY14" fmla="*/ 970112 h 1477328"/>
              <a:gd name="connsiteX15" fmla="*/ 0 w 3402218"/>
              <a:gd name="connsiteY15" fmla="*/ 492443 h 1477328"/>
              <a:gd name="connsiteX16" fmla="*/ 0 w 3402218"/>
              <a:gd name="connsiteY16" fmla="*/ 0 h 147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02218" h="1477328" fill="none" extrusionOk="0">
                <a:moveTo>
                  <a:pt x="0" y="0"/>
                </a:moveTo>
                <a:cubicBezTo>
                  <a:pt x="157255" y="-3612"/>
                  <a:pt x="422009" y="20585"/>
                  <a:pt x="646421" y="0"/>
                </a:cubicBezTo>
                <a:cubicBezTo>
                  <a:pt x="870833" y="-20585"/>
                  <a:pt x="1104704" y="-10731"/>
                  <a:pt x="1224798" y="0"/>
                </a:cubicBezTo>
                <a:cubicBezTo>
                  <a:pt x="1344892" y="10731"/>
                  <a:pt x="1703691" y="-16967"/>
                  <a:pt x="1837198" y="0"/>
                </a:cubicBezTo>
                <a:cubicBezTo>
                  <a:pt x="1970705" y="16967"/>
                  <a:pt x="2393532" y="9818"/>
                  <a:pt x="2551664" y="0"/>
                </a:cubicBezTo>
                <a:cubicBezTo>
                  <a:pt x="2709796" y="-9818"/>
                  <a:pt x="3163675" y="35131"/>
                  <a:pt x="3402218" y="0"/>
                </a:cubicBezTo>
                <a:cubicBezTo>
                  <a:pt x="3389768" y="210285"/>
                  <a:pt x="3407916" y="272749"/>
                  <a:pt x="3402218" y="462896"/>
                </a:cubicBezTo>
                <a:cubicBezTo>
                  <a:pt x="3396520" y="653043"/>
                  <a:pt x="3381063" y="817031"/>
                  <a:pt x="3402218" y="911019"/>
                </a:cubicBezTo>
                <a:cubicBezTo>
                  <a:pt x="3423373" y="1005007"/>
                  <a:pt x="3422212" y="1359959"/>
                  <a:pt x="3402218" y="1477328"/>
                </a:cubicBezTo>
                <a:cubicBezTo>
                  <a:pt x="3192359" y="1507729"/>
                  <a:pt x="2887991" y="1504717"/>
                  <a:pt x="2721774" y="1477328"/>
                </a:cubicBezTo>
                <a:cubicBezTo>
                  <a:pt x="2555557" y="1449939"/>
                  <a:pt x="2388479" y="1500500"/>
                  <a:pt x="2109375" y="1477328"/>
                </a:cubicBezTo>
                <a:cubicBezTo>
                  <a:pt x="1830271" y="1454156"/>
                  <a:pt x="1591010" y="1449864"/>
                  <a:pt x="1360887" y="1477328"/>
                </a:cubicBezTo>
                <a:cubicBezTo>
                  <a:pt x="1130764" y="1504792"/>
                  <a:pt x="1030515" y="1450470"/>
                  <a:pt x="714466" y="1477328"/>
                </a:cubicBezTo>
                <a:cubicBezTo>
                  <a:pt x="398417" y="1504186"/>
                  <a:pt x="280664" y="1447103"/>
                  <a:pt x="0" y="1477328"/>
                </a:cubicBezTo>
                <a:cubicBezTo>
                  <a:pt x="-11209" y="1282722"/>
                  <a:pt x="5083" y="1158167"/>
                  <a:pt x="0" y="970112"/>
                </a:cubicBezTo>
                <a:cubicBezTo>
                  <a:pt x="-5083" y="782057"/>
                  <a:pt x="-5470" y="714060"/>
                  <a:pt x="0" y="492443"/>
                </a:cubicBezTo>
                <a:cubicBezTo>
                  <a:pt x="5470" y="270826"/>
                  <a:pt x="-15039" y="164193"/>
                  <a:pt x="0" y="0"/>
                </a:cubicBezTo>
                <a:close/>
              </a:path>
              <a:path w="3402218" h="1477328" stroke="0" extrusionOk="0">
                <a:moveTo>
                  <a:pt x="0" y="0"/>
                </a:moveTo>
                <a:cubicBezTo>
                  <a:pt x="149681" y="19544"/>
                  <a:pt x="345904" y="31350"/>
                  <a:pt x="646421" y="0"/>
                </a:cubicBezTo>
                <a:cubicBezTo>
                  <a:pt x="946938" y="-31350"/>
                  <a:pt x="984550" y="-19106"/>
                  <a:pt x="1224798" y="0"/>
                </a:cubicBezTo>
                <a:cubicBezTo>
                  <a:pt x="1465046" y="19106"/>
                  <a:pt x="1799364" y="5975"/>
                  <a:pt x="1973286" y="0"/>
                </a:cubicBezTo>
                <a:cubicBezTo>
                  <a:pt x="2147208" y="-5975"/>
                  <a:pt x="2333475" y="-8471"/>
                  <a:pt x="2619708" y="0"/>
                </a:cubicBezTo>
                <a:cubicBezTo>
                  <a:pt x="2905941" y="8471"/>
                  <a:pt x="3208583" y="-27001"/>
                  <a:pt x="3402218" y="0"/>
                </a:cubicBezTo>
                <a:cubicBezTo>
                  <a:pt x="3396234" y="155912"/>
                  <a:pt x="3381467" y="377797"/>
                  <a:pt x="3402218" y="521989"/>
                </a:cubicBezTo>
                <a:cubicBezTo>
                  <a:pt x="3422969" y="666181"/>
                  <a:pt x="3405446" y="799293"/>
                  <a:pt x="3402218" y="1014432"/>
                </a:cubicBezTo>
                <a:cubicBezTo>
                  <a:pt x="3398990" y="1229571"/>
                  <a:pt x="3383960" y="1288622"/>
                  <a:pt x="3402218" y="1477328"/>
                </a:cubicBezTo>
                <a:cubicBezTo>
                  <a:pt x="3235732" y="1449995"/>
                  <a:pt x="2992376" y="1479078"/>
                  <a:pt x="2789819" y="1477328"/>
                </a:cubicBezTo>
                <a:cubicBezTo>
                  <a:pt x="2587262" y="1475578"/>
                  <a:pt x="2265837" y="1508379"/>
                  <a:pt x="2109375" y="1477328"/>
                </a:cubicBezTo>
                <a:cubicBezTo>
                  <a:pt x="1952913" y="1446277"/>
                  <a:pt x="1701897" y="1492771"/>
                  <a:pt x="1428932" y="1477328"/>
                </a:cubicBezTo>
                <a:cubicBezTo>
                  <a:pt x="1155967" y="1461885"/>
                  <a:pt x="1001602" y="1470407"/>
                  <a:pt x="782510" y="1477328"/>
                </a:cubicBezTo>
                <a:cubicBezTo>
                  <a:pt x="563418" y="1484249"/>
                  <a:pt x="345636" y="1515011"/>
                  <a:pt x="0" y="1477328"/>
                </a:cubicBezTo>
                <a:cubicBezTo>
                  <a:pt x="-15161" y="1358578"/>
                  <a:pt x="-15650" y="1162627"/>
                  <a:pt x="0" y="955339"/>
                </a:cubicBezTo>
                <a:cubicBezTo>
                  <a:pt x="15650" y="748051"/>
                  <a:pt x="536" y="598938"/>
                  <a:pt x="0" y="433350"/>
                </a:cubicBezTo>
                <a:cubicBezTo>
                  <a:pt x="-536" y="267762"/>
                  <a:pt x="-13318" y="173744"/>
                  <a:pt x="0" y="0"/>
                </a:cubicBezTo>
                <a:close/>
              </a:path>
            </a:pathLst>
          </a:custGeom>
          <a:solidFill>
            <a:schemeClr val="tx2">
              <a:lumMod val="20000"/>
              <a:lumOff val="80000"/>
            </a:schemeClr>
          </a:solidFill>
          <a:ln>
            <a:solidFill>
              <a:schemeClr val="accent6"/>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3"/>
          </a:lnRef>
          <a:fillRef idx="1">
            <a:schemeClr val="lt1"/>
          </a:fillRef>
          <a:effectRef idx="0">
            <a:schemeClr val="accent3"/>
          </a:effectRef>
          <a:fontRef idx="minor">
            <a:schemeClr val="dk1"/>
          </a:fontRef>
        </p:style>
        <p:txBody>
          <a:bodyPr wrap="square" lIns="0" tIns="72000" rIns="0" bIns="0" rtlCol="0">
            <a:noAutofit/>
          </a:bodyPr>
          <a:lstStyle/>
          <a:p>
            <a:pPr algn="ctr"/>
            <a:r>
              <a:rPr lang="da-DK" sz="2400" b="1" dirty="0">
                <a:latin typeface="Amatic SC" panose="00000500000000000000" pitchFamily="2" charset="-79"/>
                <a:cs typeface="Amatic SC" panose="00000500000000000000" pitchFamily="2" charset="-79"/>
              </a:rPr>
              <a:t>Valideringsworkshops</a:t>
            </a:r>
          </a:p>
          <a:p>
            <a:endParaRPr lang="da-DK" sz="1200" dirty="0">
              <a:latin typeface="Quicksand" panose="020B0604020202020204" charset="0"/>
              <a:cs typeface="Amatic SC" panose="00000500000000000000" pitchFamily="2" charset="-79"/>
            </a:endParaRPr>
          </a:p>
          <a:p>
            <a:pPr marL="252000"/>
            <a:r>
              <a:rPr lang="da-DK" sz="1200" dirty="0">
                <a:latin typeface="Quicksand" panose="020B0604020202020204" charset="0"/>
                <a:cs typeface="Amatic SC" panose="00000500000000000000" pitchFamily="2" charset="-79"/>
              </a:rPr>
              <a:t>Udført som </a:t>
            </a:r>
            <a:r>
              <a:rPr lang="da-DK" sz="1200" b="1" dirty="0">
                <a:latin typeface="Quicksand" panose="020B0604020202020204" charset="0"/>
                <a:cs typeface="Amatic SC" panose="00000500000000000000" pitchFamily="2" charset="-79"/>
              </a:rPr>
              <a:t>interviews med repræsentanter </a:t>
            </a:r>
            <a:r>
              <a:rPr lang="da-DK" sz="1200" dirty="0">
                <a:latin typeface="Quicksand" panose="020B0604020202020204" charset="0"/>
                <a:cs typeface="Amatic SC" panose="00000500000000000000" pitchFamily="2" charset="-79"/>
              </a:rPr>
              <a:t>(pædagogisk personale, vejledere og ledere) </a:t>
            </a:r>
            <a:br>
              <a:rPr lang="da-DK" sz="1200" dirty="0">
                <a:latin typeface="Quicksand" panose="020B0604020202020204" charset="0"/>
                <a:cs typeface="Amatic SC" panose="00000500000000000000" pitchFamily="2" charset="-79"/>
              </a:rPr>
            </a:br>
            <a:r>
              <a:rPr lang="da-DK" sz="1200" b="1" dirty="0">
                <a:latin typeface="Quicksand" panose="020B0604020202020204" charset="0"/>
                <a:cs typeface="Amatic SC" panose="00000500000000000000" pitchFamily="2" charset="-79"/>
              </a:rPr>
              <a:t>fra fem skoler </a:t>
            </a:r>
            <a:r>
              <a:rPr lang="da-DK" sz="1200" dirty="0">
                <a:latin typeface="Quicksand" panose="020B0604020202020204" charset="0"/>
                <a:cs typeface="Amatic SC" panose="00000500000000000000" pitchFamily="2" charset="-79"/>
              </a:rPr>
              <a:t>inden for hver af de udvalgte kommuner.</a:t>
            </a:r>
          </a:p>
          <a:p>
            <a:endParaRPr lang="da-DK" sz="1200" dirty="0">
              <a:latin typeface="Quicksand" panose="020B0604020202020204" charset="0"/>
              <a:cs typeface="Amatic SC" panose="00000500000000000000" pitchFamily="2" charset="-79"/>
            </a:endParaRPr>
          </a:p>
        </p:txBody>
      </p:sp>
      <p:grpSp>
        <p:nvGrpSpPr>
          <p:cNvPr id="8" name="Group 7">
            <a:extLst>
              <a:ext uri="{FF2B5EF4-FFF2-40B4-BE49-F238E27FC236}">
                <a16:creationId xmlns:a16="http://schemas.microsoft.com/office/drawing/2014/main" id="{F45E9660-60A1-5ACA-9EB0-3DE743587F2F}"/>
              </a:ext>
            </a:extLst>
          </p:cNvPr>
          <p:cNvGrpSpPr/>
          <p:nvPr/>
        </p:nvGrpSpPr>
        <p:grpSpPr>
          <a:xfrm>
            <a:off x="9732054" y="3776195"/>
            <a:ext cx="872536" cy="526886"/>
            <a:chOff x="9728765" y="3776195"/>
            <a:chExt cx="872536" cy="526886"/>
          </a:xfrm>
        </p:grpSpPr>
        <p:pic>
          <p:nvPicPr>
            <p:cNvPr id="26" name="Graphic 25" descr="Laptop with solid fill">
              <a:extLst>
                <a:ext uri="{FF2B5EF4-FFF2-40B4-BE49-F238E27FC236}">
                  <a16:creationId xmlns:a16="http://schemas.microsoft.com/office/drawing/2014/main" id="{81BB8BFE-E0DB-3831-4034-247D932C931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217363" y="3919143"/>
              <a:ext cx="383938" cy="383938"/>
            </a:xfrm>
            <a:prstGeom prst="rect">
              <a:avLst/>
            </a:prstGeom>
          </p:spPr>
        </p:pic>
        <p:pic>
          <p:nvPicPr>
            <p:cNvPr id="23" name="Graphic 22" descr="User with solid fill">
              <a:extLst>
                <a:ext uri="{FF2B5EF4-FFF2-40B4-BE49-F238E27FC236}">
                  <a16:creationId xmlns:a16="http://schemas.microsoft.com/office/drawing/2014/main" id="{71302C10-9A40-2FDA-3673-8FF96DACD91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728765" y="3776195"/>
              <a:ext cx="526886" cy="526886"/>
            </a:xfrm>
            <a:prstGeom prst="rect">
              <a:avLst/>
            </a:prstGeom>
          </p:spPr>
        </p:pic>
      </p:grpSp>
      <p:sp>
        <p:nvSpPr>
          <p:cNvPr id="24" name="TextBox 23">
            <a:extLst>
              <a:ext uri="{FF2B5EF4-FFF2-40B4-BE49-F238E27FC236}">
                <a16:creationId xmlns:a16="http://schemas.microsoft.com/office/drawing/2014/main" id="{D0E09C07-26C5-0545-BCE2-7C821B5D7E05}"/>
              </a:ext>
            </a:extLst>
          </p:cNvPr>
          <p:cNvSpPr txBox="1"/>
          <p:nvPr/>
        </p:nvSpPr>
        <p:spPr>
          <a:xfrm>
            <a:off x="8400240" y="4351237"/>
            <a:ext cx="3402218" cy="1292662"/>
          </a:xfrm>
          <a:custGeom>
            <a:avLst/>
            <a:gdLst>
              <a:gd name="connsiteX0" fmla="*/ 0 w 3402218"/>
              <a:gd name="connsiteY0" fmla="*/ 0 h 1292662"/>
              <a:gd name="connsiteX1" fmla="*/ 748488 w 3402218"/>
              <a:gd name="connsiteY1" fmla="*/ 0 h 1292662"/>
              <a:gd name="connsiteX2" fmla="*/ 1462954 w 3402218"/>
              <a:gd name="connsiteY2" fmla="*/ 0 h 1292662"/>
              <a:gd name="connsiteX3" fmla="*/ 2177420 w 3402218"/>
              <a:gd name="connsiteY3" fmla="*/ 0 h 1292662"/>
              <a:gd name="connsiteX4" fmla="*/ 2755797 w 3402218"/>
              <a:gd name="connsiteY4" fmla="*/ 0 h 1292662"/>
              <a:gd name="connsiteX5" fmla="*/ 3402218 w 3402218"/>
              <a:gd name="connsiteY5" fmla="*/ 0 h 1292662"/>
              <a:gd name="connsiteX6" fmla="*/ 3402218 w 3402218"/>
              <a:gd name="connsiteY6" fmla="*/ 659258 h 1292662"/>
              <a:gd name="connsiteX7" fmla="*/ 3402218 w 3402218"/>
              <a:gd name="connsiteY7" fmla="*/ 1292662 h 1292662"/>
              <a:gd name="connsiteX8" fmla="*/ 2721774 w 3402218"/>
              <a:gd name="connsiteY8" fmla="*/ 1292662 h 1292662"/>
              <a:gd name="connsiteX9" fmla="*/ 2143397 w 3402218"/>
              <a:gd name="connsiteY9" fmla="*/ 1292662 h 1292662"/>
              <a:gd name="connsiteX10" fmla="*/ 1565020 w 3402218"/>
              <a:gd name="connsiteY10" fmla="*/ 1292662 h 1292662"/>
              <a:gd name="connsiteX11" fmla="*/ 850555 w 3402218"/>
              <a:gd name="connsiteY11" fmla="*/ 1292662 h 1292662"/>
              <a:gd name="connsiteX12" fmla="*/ 0 w 3402218"/>
              <a:gd name="connsiteY12" fmla="*/ 1292662 h 1292662"/>
              <a:gd name="connsiteX13" fmla="*/ 0 w 3402218"/>
              <a:gd name="connsiteY13" fmla="*/ 620478 h 1292662"/>
              <a:gd name="connsiteX14" fmla="*/ 0 w 3402218"/>
              <a:gd name="connsiteY14" fmla="*/ 0 h 129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02218" h="1292662" fill="none" extrusionOk="0">
                <a:moveTo>
                  <a:pt x="0" y="0"/>
                </a:moveTo>
                <a:cubicBezTo>
                  <a:pt x="249552" y="21984"/>
                  <a:pt x="429847" y="36671"/>
                  <a:pt x="748488" y="0"/>
                </a:cubicBezTo>
                <a:cubicBezTo>
                  <a:pt x="1067129" y="-36671"/>
                  <a:pt x="1143131" y="-913"/>
                  <a:pt x="1462954" y="0"/>
                </a:cubicBezTo>
                <a:cubicBezTo>
                  <a:pt x="1782777" y="913"/>
                  <a:pt x="1898063" y="-22952"/>
                  <a:pt x="2177420" y="0"/>
                </a:cubicBezTo>
                <a:cubicBezTo>
                  <a:pt x="2456777" y="22952"/>
                  <a:pt x="2635703" y="-10731"/>
                  <a:pt x="2755797" y="0"/>
                </a:cubicBezTo>
                <a:cubicBezTo>
                  <a:pt x="2875891" y="10731"/>
                  <a:pt x="3117963" y="19411"/>
                  <a:pt x="3402218" y="0"/>
                </a:cubicBezTo>
                <a:cubicBezTo>
                  <a:pt x="3410997" y="238240"/>
                  <a:pt x="3398344" y="354427"/>
                  <a:pt x="3402218" y="659258"/>
                </a:cubicBezTo>
                <a:cubicBezTo>
                  <a:pt x="3406092" y="964089"/>
                  <a:pt x="3403649" y="1054407"/>
                  <a:pt x="3402218" y="1292662"/>
                </a:cubicBezTo>
                <a:cubicBezTo>
                  <a:pt x="3213500" y="1286829"/>
                  <a:pt x="2980870" y="1316778"/>
                  <a:pt x="2721774" y="1292662"/>
                </a:cubicBezTo>
                <a:cubicBezTo>
                  <a:pt x="2462678" y="1268546"/>
                  <a:pt x="2372497" y="1304394"/>
                  <a:pt x="2143397" y="1292662"/>
                </a:cubicBezTo>
                <a:cubicBezTo>
                  <a:pt x="1914297" y="1280930"/>
                  <a:pt x="1841516" y="1269169"/>
                  <a:pt x="1565020" y="1292662"/>
                </a:cubicBezTo>
                <a:cubicBezTo>
                  <a:pt x="1288524" y="1316155"/>
                  <a:pt x="1068753" y="1314685"/>
                  <a:pt x="850555" y="1292662"/>
                </a:cubicBezTo>
                <a:cubicBezTo>
                  <a:pt x="632358" y="1270639"/>
                  <a:pt x="213939" y="1283995"/>
                  <a:pt x="0" y="1292662"/>
                </a:cubicBezTo>
                <a:cubicBezTo>
                  <a:pt x="-32946" y="1143432"/>
                  <a:pt x="-23406" y="899433"/>
                  <a:pt x="0" y="620478"/>
                </a:cubicBezTo>
                <a:cubicBezTo>
                  <a:pt x="23406" y="341523"/>
                  <a:pt x="-14010" y="206789"/>
                  <a:pt x="0" y="0"/>
                </a:cubicBezTo>
                <a:close/>
              </a:path>
              <a:path w="3402218" h="1292662" stroke="0" extrusionOk="0">
                <a:moveTo>
                  <a:pt x="0" y="0"/>
                </a:moveTo>
                <a:cubicBezTo>
                  <a:pt x="149681" y="19544"/>
                  <a:pt x="345904" y="31350"/>
                  <a:pt x="646421" y="0"/>
                </a:cubicBezTo>
                <a:cubicBezTo>
                  <a:pt x="946938" y="-31350"/>
                  <a:pt x="984550" y="-19106"/>
                  <a:pt x="1224798" y="0"/>
                </a:cubicBezTo>
                <a:cubicBezTo>
                  <a:pt x="1465046" y="19106"/>
                  <a:pt x="1799364" y="5975"/>
                  <a:pt x="1973286" y="0"/>
                </a:cubicBezTo>
                <a:cubicBezTo>
                  <a:pt x="2147208" y="-5975"/>
                  <a:pt x="2333475" y="-8471"/>
                  <a:pt x="2619708" y="0"/>
                </a:cubicBezTo>
                <a:cubicBezTo>
                  <a:pt x="2905941" y="8471"/>
                  <a:pt x="3208583" y="-27001"/>
                  <a:pt x="3402218" y="0"/>
                </a:cubicBezTo>
                <a:cubicBezTo>
                  <a:pt x="3376393" y="183033"/>
                  <a:pt x="3370879" y="388438"/>
                  <a:pt x="3402218" y="672184"/>
                </a:cubicBezTo>
                <a:cubicBezTo>
                  <a:pt x="3433557" y="955930"/>
                  <a:pt x="3401177" y="1065763"/>
                  <a:pt x="3402218" y="1292662"/>
                </a:cubicBezTo>
                <a:cubicBezTo>
                  <a:pt x="3115461" y="1283524"/>
                  <a:pt x="3017012" y="1325234"/>
                  <a:pt x="2721774" y="1292662"/>
                </a:cubicBezTo>
                <a:cubicBezTo>
                  <a:pt x="2426536" y="1260090"/>
                  <a:pt x="2290181" y="1292994"/>
                  <a:pt x="2143397" y="1292662"/>
                </a:cubicBezTo>
                <a:cubicBezTo>
                  <a:pt x="1996613" y="1292330"/>
                  <a:pt x="1618127" y="1319365"/>
                  <a:pt x="1462954" y="1292662"/>
                </a:cubicBezTo>
                <a:cubicBezTo>
                  <a:pt x="1307781" y="1265959"/>
                  <a:pt x="1056304" y="1310483"/>
                  <a:pt x="782510" y="1292662"/>
                </a:cubicBezTo>
                <a:cubicBezTo>
                  <a:pt x="508716" y="1274841"/>
                  <a:pt x="263427" y="1306622"/>
                  <a:pt x="0" y="1292662"/>
                </a:cubicBezTo>
                <a:cubicBezTo>
                  <a:pt x="13436" y="1155277"/>
                  <a:pt x="7190" y="885609"/>
                  <a:pt x="0" y="620478"/>
                </a:cubicBezTo>
                <a:cubicBezTo>
                  <a:pt x="-7190" y="355347"/>
                  <a:pt x="6469" y="309290"/>
                  <a:pt x="0" y="0"/>
                </a:cubicBezTo>
                <a:close/>
              </a:path>
            </a:pathLst>
          </a:custGeom>
          <a:solidFill>
            <a:schemeClr val="tx2">
              <a:lumMod val="20000"/>
              <a:lumOff val="80000"/>
            </a:schemeClr>
          </a:solidFill>
          <a:ln>
            <a:solidFill>
              <a:schemeClr val="tx2"/>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3"/>
          </a:lnRef>
          <a:fillRef idx="1">
            <a:schemeClr val="lt1"/>
          </a:fillRef>
          <a:effectRef idx="0">
            <a:schemeClr val="accent3"/>
          </a:effectRef>
          <a:fontRef idx="minor">
            <a:schemeClr val="dk1"/>
          </a:fontRef>
        </p:style>
        <p:txBody>
          <a:bodyPr wrap="square" lIns="0" tIns="72000" rIns="0" bIns="0" rtlCol="0">
            <a:noAutofit/>
          </a:bodyPr>
          <a:lstStyle/>
          <a:p>
            <a:pPr algn="ctr"/>
            <a:r>
              <a:rPr lang="da-DK" sz="2400" b="1" dirty="0">
                <a:latin typeface="Amatic SC" panose="00000500000000000000" pitchFamily="2" charset="-79"/>
                <a:cs typeface="Amatic SC" panose="00000500000000000000" pitchFamily="2" charset="-79"/>
              </a:rPr>
              <a:t>Virtuelle interviews med</a:t>
            </a:r>
            <a:br>
              <a:rPr lang="da-DK" sz="2400" b="1" dirty="0">
                <a:latin typeface="Amatic SC" panose="00000500000000000000" pitchFamily="2" charset="-79"/>
                <a:cs typeface="Amatic SC" panose="00000500000000000000" pitchFamily="2" charset="-79"/>
              </a:rPr>
            </a:br>
            <a:r>
              <a:rPr lang="da-DK" sz="2400" b="1" dirty="0">
                <a:latin typeface="Amatic SC" panose="00000500000000000000" pitchFamily="2" charset="-79"/>
                <a:cs typeface="Amatic SC" panose="00000500000000000000" pitchFamily="2" charset="-79"/>
              </a:rPr>
              <a:t>forvaltninger</a:t>
            </a:r>
          </a:p>
          <a:p>
            <a:pPr marL="252000" lvl="1"/>
            <a:r>
              <a:rPr lang="da-DK" sz="1200" dirty="0">
                <a:latin typeface="Quicksand" panose="020B0604020202020204" charset="0"/>
                <a:cs typeface="Amatic SC" panose="00000500000000000000" pitchFamily="2" charset="-79"/>
              </a:rPr>
              <a:t>Interview med kommunal tovholder og skolechef fra fem udvalgte kommuner.</a:t>
            </a:r>
            <a:br>
              <a:rPr lang="da-DK" sz="1200" dirty="0">
                <a:latin typeface="Quicksand" panose="020B0604020202020204" charset="0"/>
                <a:cs typeface="Amatic SC" panose="00000500000000000000" pitchFamily="2" charset="-79"/>
              </a:rPr>
            </a:br>
            <a:endParaRPr lang="da-DK" sz="1200" dirty="0">
              <a:latin typeface="Quicksand" panose="020B0604020202020204" charset="0"/>
              <a:cs typeface="Amatic SC" panose="00000500000000000000" pitchFamily="2" charset="-79"/>
            </a:endParaRPr>
          </a:p>
        </p:txBody>
      </p:sp>
      <p:sp>
        <p:nvSpPr>
          <p:cNvPr id="2" name="TextBox 1">
            <a:extLst>
              <a:ext uri="{FF2B5EF4-FFF2-40B4-BE49-F238E27FC236}">
                <a16:creationId xmlns:a16="http://schemas.microsoft.com/office/drawing/2014/main" id="{3C6880A0-9774-09DF-0267-F93E2B47DFEF}"/>
              </a:ext>
            </a:extLst>
          </p:cNvPr>
          <p:cNvSpPr txBox="1"/>
          <p:nvPr/>
        </p:nvSpPr>
        <p:spPr>
          <a:xfrm>
            <a:off x="5087162" y="2498090"/>
            <a:ext cx="2648452" cy="1231106"/>
          </a:xfrm>
          <a:prstGeom prst="rect">
            <a:avLst/>
          </a:prstGeom>
          <a:noFill/>
        </p:spPr>
        <p:txBody>
          <a:bodyPr wrap="square" lIns="0" tIns="0" rIns="0" bIns="0" rtlCol="0">
            <a:spAutoFit/>
          </a:bodyPr>
          <a:lstStyle/>
          <a:p>
            <a:pPr marL="252000"/>
            <a:r>
              <a:rPr lang="da-DK" sz="1200" dirty="0">
                <a:latin typeface="Quicksand" panose="020B0604020202020204" charset="0"/>
                <a:cs typeface="Amatic SC" panose="00000500000000000000" pitchFamily="2" charset="-79"/>
              </a:rPr>
              <a:t>Besøg på </a:t>
            </a:r>
            <a:r>
              <a:rPr lang="da-DK" sz="1200" b="1" dirty="0">
                <a:latin typeface="Quicksand" panose="020B0604020202020204" charset="0"/>
                <a:cs typeface="Amatic SC" panose="00000500000000000000" pitchFamily="2" charset="-79"/>
              </a:rPr>
              <a:t>fem udvalgte skoler</a:t>
            </a:r>
            <a:r>
              <a:rPr lang="da-DK" sz="1200" dirty="0">
                <a:latin typeface="Quicksand" panose="020B0604020202020204" charset="0"/>
                <a:cs typeface="Amatic SC" panose="00000500000000000000" pitchFamily="2" charset="-79"/>
              </a:rPr>
              <a:t> i udvalgte kommuner, hvor der er gennemført interviews med:</a:t>
            </a:r>
          </a:p>
          <a:p>
            <a:pPr marL="468000" lvl="1" indent="-108000">
              <a:buFontTx/>
              <a:buChar char="-"/>
            </a:pPr>
            <a:r>
              <a:rPr lang="da-DK" sz="1100" dirty="0">
                <a:latin typeface="Quicksand" panose="020B0604020202020204" charset="0"/>
                <a:cs typeface="Amatic SC" panose="00000500000000000000" pitchFamily="2" charset="-79"/>
              </a:rPr>
              <a:t>Elever</a:t>
            </a:r>
          </a:p>
          <a:p>
            <a:pPr marL="468000" lvl="1" indent="-108000">
              <a:buFontTx/>
              <a:buChar char="-"/>
            </a:pPr>
            <a:r>
              <a:rPr lang="da-DK" sz="1100" dirty="0">
                <a:latin typeface="Quicksand" panose="020B0604020202020204" charset="0"/>
                <a:cs typeface="Amatic SC" panose="00000500000000000000" pitchFamily="2" charset="-79"/>
              </a:rPr>
              <a:t>Pædagogisk personale</a:t>
            </a:r>
          </a:p>
          <a:p>
            <a:pPr marL="468000" lvl="1" indent="-108000">
              <a:buFontTx/>
              <a:buChar char="-"/>
            </a:pPr>
            <a:r>
              <a:rPr lang="da-DK" sz="1100" dirty="0">
                <a:latin typeface="Quicksand" panose="020B0604020202020204" charset="0"/>
                <a:cs typeface="Amatic SC" panose="00000500000000000000" pitchFamily="2" charset="-79"/>
              </a:rPr>
              <a:t>Vejledere</a:t>
            </a:r>
          </a:p>
          <a:p>
            <a:pPr marL="468000" lvl="1" indent="-108000">
              <a:buFontTx/>
              <a:buChar char="-"/>
            </a:pPr>
            <a:r>
              <a:rPr lang="da-DK" sz="1100" dirty="0">
                <a:latin typeface="Quicksand" panose="020B0604020202020204" charset="0"/>
                <a:cs typeface="Amatic SC" panose="00000500000000000000" pitchFamily="2" charset="-79"/>
              </a:rPr>
              <a:t>Skoleledelse</a:t>
            </a:r>
          </a:p>
        </p:txBody>
      </p:sp>
    </p:spTree>
    <p:extLst>
      <p:ext uri="{BB962C8B-B14F-4D97-AF65-F5344CB8AC3E}">
        <p14:creationId xmlns:p14="http://schemas.microsoft.com/office/powerpoint/2010/main" val="25543851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0785695" y="6428274"/>
            <a:ext cx="626400" cy="108000"/>
          </a:xfrm>
        </p:spPr>
        <p:txBody>
          <a:bodyPr/>
          <a:lstStyle/>
          <a:p>
            <a:fld id="{23AA811B-2EBD-4900-905E-5BE206449611}" type="slidenum">
              <a:rPr lang="da-DK" smtClean="0"/>
              <a:pPr/>
              <a:t>5</a:t>
            </a:fld>
            <a:endParaRPr lang="da-DK"/>
          </a:p>
        </p:txBody>
      </p:sp>
      <p:sp>
        <p:nvSpPr>
          <p:cNvPr id="25" name="Google Shape;846;p29">
            <a:extLst>
              <a:ext uri="{FF2B5EF4-FFF2-40B4-BE49-F238E27FC236}">
                <a16:creationId xmlns:a16="http://schemas.microsoft.com/office/drawing/2014/main" id="{EDA2C9DA-AA0E-4900-AD2F-E52580846E8D}"/>
              </a:ext>
            </a:extLst>
          </p:cNvPr>
          <p:cNvSpPr/>
          <p:nvPr/>
        </p:nvSpPr>
        <p:spPr>
          <a:xfrm>
            <a:off x="3157347" y="1437081"/>
            <a:ext cx="6218302" cy="851643"/>
          </a:xfrm>
          <a:prstGeom prst="homePlate">
            <a:avLst>
              <a:gd name="adj" fmla="val 50000"/>
            </a:avLst>
          </a:prstGeom>
          <a:solidFill>
            <a:schemeClr val="accent2"/>
          </a:solidFill>
          <a:ln>
            <a:noFill/>
          </a:ln>
        </p:spPr>
        <p:txBody>
          <a:bodyPr spcFirstLastPara="1" wrap="square" lIns="720000" tIns="91425" rIns="91425" bIns="91425" anchor="ctr" anchorCtr="0">
            <a:noAutofit/>
          </a:bodyPr>
          <a:lstStyle/>
          <a:p>
            <a:pPr marL="0" lvl="0" indent="0" algn="ctr">
              <a:spcBef>
                <a:spcPts val="0"/>
              </a:spcBef>
              <a:spcAft>
                <a:spcPts val="0"/>
              </a:spcAft>
              <a:buNone/>
            </a:pPr>
            <a:r>
              <a:rPr lang="da-DK" sz="2800" u="sng">
                <a:solidFill>
                  <a:schemeClr val="bg1"/>
                </a:solidFill>
                <a:latin typeface="Amatic SC"/>
                <a:ea typeface="Amatic SC"/>
                <a:cs typeface="Amatic SC"/>
                <a:sym typeface="Amatic SC"/>
              </a:rPr>
              <a:t>Elevernes perspektiver</a:t>
            </a:r>
          </a:p>
        </p:txBody>
      </p:sp>
      <p:sp>
        <p:nvSpPr>
          <p:cNvPr id="2" name="Rectangle 1">
            <a:extLst>
              <a:ext uri="{FF2B5EF4-FFF2-40B4-BE49-F238E27FC236}">
                <a16:creationId xmlns:a16="http://schemas.microsoft.com/office/drawing/2014/main" id="{0F3589F5-3D84-40EF-A891-6B4345990046}"/>
              </a:ext>
            </a:extLst>
          </p:cNvPr>
          <p:cNvSpPr/>
          <p:nvPr/>
        </p:nvSpPr>
        <p:spPr>
          <a:xfrm>
            <a:off x="-640180" y="1862903"/>
            <a:ext cx="11833200" cy="1947762"/>
          </a:xfrm>
          <a:prstGeom prst="rect">
            <a:avLst/>
          </a:prstGeom>
          <a:noFill/>
          <a:ln w="381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 name="Google Shape;846;p29">
            <a:extLst>
              <a:ext uri="{FF2B5EF4-FFF2-40B4-BE49-F238E27FC236}">
                <a16:creationId xmlns:a16="http://schemas.microsoft.com/office/drawing/2014/main" id="{1189B5A7-1FC4-09E0-4FF6-10A4AAEE165E}"/>
              </a:ext>
            </a:extLst>
          </p:cNvPr>
          <p:cNvSpPr/>
          <p:nvPr/>
        </p:nvSpPr>
        <p:spPr>
          <a:xfrm>
            <a:off x="3157346" y="2504295"/>
            <a:ext cx="6218302" cy="852581"/>
          </a:xfrm>
          <a:prstGeom prst="homePlate">
            <a:avLst>
              <a:gd name="adj" fmla="val 50000"/>
            </a:avLst>
          </a:prstGeom>
          <a:solidFill>
            <a:schemeClr val="accent6"/>
          </a:solidFill>
          <a:ln>
            <a:noFill/>
          </a:ln>
        </p:spPr>
        <p:txBody>
          <a:bodyPr spcFirstLastPara="1" wrap="square" lIns="720000" tIns="91425" rIns="91425" bIns="91425" anchor="ctr" anchorCtr="0">
            <a:noAutofit/>
          </a:bodyPr>
          <a:lstStyle/>
          <a:p>
            <a:pPr algn="ctr"/>
            <a:r>
              <a:rPr lang="da-DK" sz="2800" u="sng" dirty="0">
                <a:solidFill>
                  <a:schemeClr val="bg2"/>
                </a:solidFill>
                <a:latin typeface="Amatic SC" panose="00000500000000000000" pitchFamily="2" charset="-79"/>
                <a:cs typeface="Amatic SC" panose="00000500000000000000" pitchFamily="2" charset="-79"/>
              </a:rPr>
              <a:t>Tegn på forandring i praksis</a:t>
            </a:r>
            <a:endParaRPr lang="da-DK" sz="2799" u="sng" dirty="0">
              <a:solidFill>
                <a:schemeClr val="bg2"/>
              </a:solidFill>
              <a:latin typeface="Amatic SC" panose="00000500000000000000" pitchFamily="2" charset="-79"/>
              <a:ea typeface="Amatic SC"/>
              <a:cs typeface="Amatic SC" panose="00000500000000000000" pitchFamily="2" charset="-79"/>
              <a:sym typeface="Amatic SC"/>
            </a:endParaRPr>
          </a:p>
        </p:txBody>
      </p:sp>
      <p:sp>
        <p:nvSpPr>
          <p:cNvPr id="8" name="Google Shape;846;p29">
            <a:extLst>
              <a:ext uri="{FF2B5EF4-FFF2-40B4-BE49-F238E27FC236}">
                <a16:creationId xmlns:a16="http://schemas.microsoft.com/office/drawing/2014/main" id="{F9F1B1CB-24E2-1492-7292-569B4698D3AF}"/>
              </a:ext>
            </a:extLst>
          </p:cNvPr>
          <p:cNvSpPr/>
          <p:nvPr/>
        </p:nvSpPr>
        <p:spPr>
          <a:xfrm>
            <a:off x="3157346" y="3578079"/>
            <a:ext cx="6218302" cy="851643"/>
          </a:xfrm>
          <a:prstGeom prst="homePlate">
            <a:avLst>
              <a:gd name="adj" fmla="val 50000"/>
            </a:avLst>
          </a:prstGeom>
          <a:solidFill>
            <a:schemeClr val="accent4"/>
          </a:solidFill>
          <a:ln>
            <a:noFill/>
          </a:ln>
        </p:spPr>
        <p:txBody>
          <a:bodyPr spcFirstLastPara="1" wrap="square" lIns="720000" tIns="91425" rIns="91425" bIns="91425" anchor="ctr" anchorCtr="0">
            <a:noAutofit/>
          </a:bodyPr>
          <a:lstStyle/>
          <a:p>
            <a:pPr marL="0" lvl="0" indent="0" algn="ctr">
              <a:spcBef>
                <a:spcPts val="0"/>
              </a:spcBef>
              <a:spcAft>
                <a:spcPts val="0"/>
              </a:spcAft>
              <a:buNone/>
            </a:pPr>
            <a:r>
              <a:rPr lang="da-DK" sz="2800" u="sng" dirty="0">
                <a:solidFill>
                  <a:schemeClr val="bg2"/>
                </a:solidFill>
                <a:latin typeface="Amatic SC"/>
                <a:ea typeface="Amatic SC"/>
                <a:cs typeface="Amatic SC"/>
                <a:sym typeface="Amatic SC"/>
              </a:rPr>
              <a:t>Samarbejde og kapacitet i professionelle læringsfællesskaber</a:t>
            </a:r>
          </a:p>
        </p:txBody>
      </p:sp>
      <p:sp>
        <p:nvSpPr>
          <p:cNvPr id="11" name="Google Shape;846;p29">
            <a:extLst>
              <a:ext uri="{FF2B5EF4-FFF2-40B4-BE49-F238E27FC236}">
                <a16:creationId xmlns:a16="http://schemas.microsoft.com/office/drawing/2014/main" id="{E1FC35E7-C360-C38F-564A-79307400A9E3}"/>
              </a:ext>
            </a:extLst>
          </p:cNvPr>
          <p:cNvSpPr/>
          <p:nvPr/>
        </p:nvSpPr>
        <p:spPr>
          <a:xfrm>
            <a:off x="3155446" y="4650925"/>
            <a:ext cx="6218302" cy="851643"/>
          </a:xfrm>
          <a:prstGeom prst="homePlate">
            <a:avLst>
              <a:gd name="adj" fmla="val 50000"/>
            </a:avLst>
          </a:prstGeom>
          <a:solidFill>
            <a:schemeClr val="accent3"/>
          </a:solidFill>
          <a:ln>
            <a:noFill/>
          </a:ln>
        </p:spPr>
        <p:txBody>
          <a:bodyPr spcFirstLastPara="1" wrap="square" lIns="720000" tIns="91425" rIns="91425" bIns="91425" anchor="ctr" anchorCtr="0">
            <a:noAutofit/>
          </a:bodyPr>
          <a:lstStyle/>
          <a:p>
            <a:pPr marL="0" lvl="0" indent="0" algn="ctr">
              <a:spcBef>
                <a:spcPts val="0"/>
              </a:spcBef>
              <a:spcAft>
                <a:spcPts val="0"/>
              </a:spcAft>
              <a:buNone/>
            </a:pPr>
            <a:r>
              <a:rPr lang="da-DK" sz="2800" u="sng" dirty="0">
                <a:solidFill>
                  <a:schemeClr val="bg2"/>
                </a:solidFill>
                <a:latin typeface="Amatic SC"/>
                <a:ea typeface="Amatic SC"/>
                <a:cs typeface="Amatic SC"/>
                <a:sym typeface="Amatic SC"/>
              </a:rPr>
              <a:t>Ledelsesunderstøttelse og organisering</a:t>
            </a:r>
          </a:p>
        </p:txBody>
      </p:sp>
      <p:sp>
        <p:nvSpPr>
          <p:cNvPr id="12" name="TextBox 11">
            <a:extLst>
              <a:ext uri="{FF2B5EF4-FFF2-40B4-BE49-F238E27FC236}">
                <a16:creationId xmlns:a16="http://schemas.microsoft.com/office/drawing/2014/main" id="{5712C3C3-22D8-AD22-6D55-6066FE110B19}"/>
              </a:ext>
            </a:extLst>
          </p:cNvPr>
          <p:cNvSpPr txBox="1"/>
          <p:nvPr/>
        </p:nvSpPr>
        <p:spPr>
          <a:xfrm>
            <a:off x="3432716" y="1616680"/>
            <a:ext cx="385170" cy="492443"/>
          </a:xfrm>
          <a:prstGeom prst="rect">
            <a:avLst/>
          </a:prstGeom>
          <a:solidFill>
            <a:schemeClr val="accent2"/>
          </a:solidFill>
        </p:spPr>
        <p:txBody>
          <a:bodyPr wrap="square" lIns="0" tIns="0" rIns="0" bIns="0" rtlCol="0">
            <a:spAutoFit/>
          </a:bodyPr>
          <a:lstStyle/>
          <a:p>
            <a:r>
              <a:rPr lang="da-DK" sz="3200">
                <a:solidFill>
                  <a:schemeClr val="bg2"/>
                </a:solidFill>
                <a:latin typeface="Quicksand" panose="020B0604020202020204"/>
                <a:cs typeface="Amatic SC" panose="00000500000000000000" pitchFamily="2" charset="-79"/>
              </a:rPr>
              <a:t>1</a:t>
            </a:r>
          </a:p>
        </p:txBody>
      </p:sp>
      <p:sp>
        <p:nvSpPr>
          <p:cNvPr id="14" name="TextBox 13">
            <a:extLst>
              <a:ext uri="{FF2B5EF4-FFF2-40B4-BE49-F238E27FC236}">
                <a16:creationId xmlns:a16="http://schemas.microsoft.com/office/drawing/2014/main" id="{F7829095-90DB-0351-C4E1-55F9DE365365}"/>
              </a:ext>
            </a:extLst>
          </p:cNvPr>
          <p:cNvSpPr txBox="1"/>
          <p:nvPr/>
        </p:nvSpPr>
        <p:spPr>
          <a:xfrm>
            <a:off x="3432716" y="2684363"/>
            <a:ext cx="432961" cy="492443"/>
          </a:xfrm>
          <a:prstGeom prst="rect">
            <a:avLst/>
          </a:prstGeom>
          <a:noFill/>
        </p:spPr>
        <p:txBody>
          <a:bodyPr wrap="square" lIns="0" tIns="0" rIns="0" bIns="0" rtlCol="0">
            <a:spAutoFit/>
          </a:bodyPr>
          <a:lstStyle/>
          <a:p>
            <a:r>
              <a:rPr lang="da-DK" sz="3200">
                <a:solidFill>
                  <a:schemeClr val="bg2"/>
                </a:solidFill>
                <a:latin typeface="Quicksand" panose="020B0604020202020204"/>
                <a:cs typeface="Amatic SC" panose="00000500000000000000" pitchFamily="2" charset="-79"/>
              </a:rPr>
              <a:t>2</a:t>
            </a:r>
          </a:p>
        </p:txBody>
      </p:sp>
      <p:sp>
        <p:nvSpPr>
          <p:cNvPr id="16" name="TextBox 15">
            <a:extLst>
              <a:ext uri="{FF2B5EF4-FFF2-40B4-BE49-F238E27FC236}">
                <a16:creationId xmlns:a16="http://schemas.microsoft.com/office/drawing/2014/main" id="{C3B89022-554A-72EE-0E34-120D7A6E85EC}"/>
              </a:ext>
            </a:extLst>
          </p:cNvPr>
          <p:cNvSpPr txBox="1"/>
          <p:nvPr/>
        </p:nvSpPr>
        <p:spPr>
          <a:xfrm>
            <a:off x="3432716" y="4830524"/>
            <a:ext cx="470100" cy="492443"/>
          </a:xfrm>
          <a:prstGeom prst="rect">
            <a:avLst/>
          </a:prstGeom>
          <a:noFill/>
        </p:spPr>
        <p:txBody>
          <a:bodyPr wrap="square" lIns="0" tIns="0" rIns="0" bIns="0" rtlCol="0">
            <a:spAutoFit/>
          </a:bodyPr>
          <a:lstStyle/>
          <a:p>
            <a:r>
              <a:rPr lang="da-DK" sz="3200">
                <a:solidFill>
                  <a:schemeClr val="bg2"/>
                </a:solidFill>
                <a:latin typeface="Quicksand" panose="020B0604020202020204"/>
                <a:cs typeface="Amatic SC" panose="00000500000000000000" pitchFamily="2" charset="-79"/>
              </a:rPr>
              <a:t>4</a:t>
            </a:r>
          </a:p>
        </p:txBody>
      </p:sp>
      <p:sp>
        <p:nvSpPr>
          <p:cNvPr id="19" name="TextBox 18">
            <a:extLst>
              <a:ext uri="{FF2B5EF4-FFF2-40B4-BE49-F238E27FC236}">
                <a16:creationId xmlns:a16="http://schemas.microsoft.com/office/drawing/2014/main" id="{5490FFEE-96E0-8A01-B685-F0B6826893BA}"/>
              </a:ext>
            </a:extLst>
          </p:cNvPr>
          <p:cNvSpPr txBox="1"/>
          <p:nvPr/>
        </p:nvSpPr>
        <p:spPr>
          <a:xfrm>
            <a:off x="3432716" y="3757678"/>
            <a:ext cx="432960" cy="492443"/>
          </a:xfrm>
          <a:prstGeom prst="rect">
            <a:avLst/>
          </a:prstGeom>
          <a:noFill/>
        </p:spPr>
        <p:txBody>
          <a:bodyPr wrap="square" lIns="0" tIns="0" rIns="0" bIns="0" rtlCol="0">
            <a:spAutoFit/>
          </a:bodyPr>
          <a:lstStyle/>
          <a:p>
            <a:r>
              <a:rPr lang="da-DK" sz="3200">
                <a:solidFill>
                  <a:schemeClr val="bg2"/>
                </a:solidFill>
                <a:latin typeface="Quicksand" panose="020B0604020202020204"/>
                <a:cs typeface="Amatic SC" panose="00000500000000000000" pitchFamily="2" charset="-79"/>
              </a:rPr>
              <a:t>3</a:t>
            </a:r>
          </a:p>
        </p:txBody>
      </p:sp>
      <p:sp>
        <p:nvSpPr>
          <p:cNvPr id="18" name="TextBox 17">
            <a:extLst>
              <a:ext uri="{FF2B5EF4-FFF2-40B4-BE49-F238E27FC236}">
                <a16:creationId xmlns:a16="http://schemas.microsoft.com/office/drawing/2014/main" id="{DBD7EAB2-AB75-C764-75BB-C3960A7A13CD}"/>
              </a:ext>
            </a:extLst>
          </p:cNvPr>
          <p:cNvSpPr txBox="1"/>
          <p:nvPr/>
        </p:nvSpPr>
        <p:spPr>
          <a:xfrm>
            <a:off x="1454987" y="408499"/>
            <a:ext cx="9619219" cy="707886"/>
          </a:xfrm>
          <a:prstGeom prst="rect">
            <a:avLst/>
          </a:prstGeom>
          <a:noFill/>
        </p:spPr>
        <p:txBody>
          <a:bodyPr wrap="square">
            <a:spAutoFit/>
          </a:bodyPr>
          <a:lstStyle/>
          <a:p>
            <a:pPr marL="0" lvl="0" indent="0" algn="ctr">
              <a:spcBef>
                <a:spcPts val="0"/>
              </a:spcBef>
              <a:spcAft>
                <a:spcPts val="0"/>
              </a:spcAft>
              <a:buNone/>
            </a:pPr>
            <a:r>
              <a:rPr lang="da-DK" sz="4000" b="1">
                <a:latin typeface="Amatic SC"/>
                <a:ea typeface="Amatic SC"/>
                <a:cs typeface="Amatic SC"/>
                <a:sym typeface="Amatic SC"/>
              </a:rPr>
              <a:t>Inspirationspakken indeholder resultater om følgende temaer</a:t>
            </a:r>
          </a:p>
        </p:txBody>
      </p:sp>
    </p:spTree>
    <p:extLst>
      <p:ext uri="{BB962C8B-B14F-4D97-AF65-F5344CB8AC3E}">
        <p14:creationId xmlns:p14="http://schemas.microsoft.com/office/powerpoint/2010/main" val="5800587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Shape 69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41E3BF-4194-4AEC-AE0B-9FE634FD6E9D}"/>
              </a:ext>
            </a:extLst>
          </p:cNvPr>
          <p:cNvGraphicFramePr>
            <a:graphicFrameLocks noChangeAspect="1"/>
          </p:cNvGraphicFramePr>
          <p:nvPr>
            <p:custDataLst>
              <p:tags r:id="rId1"/>
            </p:custDataLst>
            <p:extLst>
              <p:ext uri="{D42A27DB-BD31-4B8C-83A1-F6EECF244321}">
                <p14:modId xmlns:p14="http://schemas.microsoft.com/office/powerpoint/2010/main" val="4271403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a:extLst>
                          <a:ext uri="{FF2B5EF4-FFF2-40B4-BE49-F238E27FC236}">
                            <a16:creationId xmlns:a16="http://schemas.microsoft.com/office/drawing/2014/main" id="{CB41E3BF-4194-4AEC-AE0B-9FE634FD6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94" name="Google Shape;694;p13"/>
          <p:cNvSpPr txBox="1">
            <a:spLocks noGrp="1"/>
          </p:cNvSpPr>
          <p:nvPr>
            <p:ph type="ctrTitle"/>
          </p:nvPr>
        </p:nvSpPr>
        <p:spPr>
          <a:xfrm>
            <a:off x="0" y="2589083"/>
            <a:ext cx="12192000" cy="1984631"/>
          </a:xfrm>
          <a:prstGeom prst="rect">
            <a:avLst/>
          </a:prstGeom>
        </p:spPr>
        <p:txBody>
          <a:bodyPr spcFirstLastPara="1" wrap="square" lIns="0" tIns="0" rIns="0" bIns="0" anchor="ctr" anchorCtr="0">
            <a:noAutofit/>
          </a:bodyPr>
          <a:lstStyle/>
          <a:p>
            <a:pPr algn="ctr"/>
            <a:r>
              <a:rPr lang="da-DK" sz="4800" b="1">
                <a:latin typeface="Amatic SC" panose="00000500000000000000" pitchFamily="2" charset="-79"/>
                <a:cs typeface="Amatic SC" panose="00000500000000000000" pitchFamily="2" charset="-79"/>
              </a:rPr>
              <a:t>Elevernes perspektiver</a:t>
            </a:r>
            <a:endParaRPr lang="da-DK" sz="8000">
              <a:latin typeface="Amatic SC" panose="00000500000000000000" pitchFamily="2" charset="-79"/>
              <a:cs typeface="Amatic SC" panose="00000500000000000000" pitchFamily="2" charset="-79"/>
            </a:endParaRPr>
          </a:p>
        </p:txBody>
      </p:sp>
    </p:spTree>
    <p:extLst>
      <p:ext uri="{BB962C8B-B14F-4D97-AF65-F5344CB8AC3E}">
        <p14:creationId xmlns:p14="http://schemas.microsoft.com/office/powerpoint/2010/main" val="3523816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7</a:t>
            </a:fld>
            <a:endParaRPr lang="da-DK"/>
          </a:p>
        </p:txBody>
      </p:sp>
      <p:sp>
        <p:nvSpPr>
          <p:cNvPr id="25" name="Google Shape;846;p29">
            <a:extLst>
              <a:ext uri="{FF2B5EF4-FFF2-40B4-BE49-F238E27FC236}">
                <a16:creationId xmlns:a16="http://schemas.microsoft.com/office/drawing/2014/main" id="{EDA2C9DA-AA0E-4900-AD2F-E52580846E8D}"/>
              </a:ext>
            </a:extLst>
          </p:cNvPr>
          <p:cNvSpPr/>
          <p:nvPr/>
        </p:nvSpPr>
        <p:spPr>
          <a:xfrm>
            <a:off x="-2" y="347862"/>
            <a:ext cx="12192001" cy="856486"/>
          </a:xfrm>
          <a:prstGeom prst="rect">
            <a:avLst/>
          </a:prstGeom>
          <a:solidFill>
            <a:schemeClr val="accent2"/>
          </a:solidFill>
          <a:ln>
            <a:noFill/>
          </a:ln>
        </p:spPr>
        <p:txBody>
          <a:bodyPr spcFirstLastPara="1" wrap="square" lIns="396000" tIns="91425" rIns="91425" bIns="91425" anchor="ctr" anchorCtr="0">
            <a:noAutofit/>
          </a:bodyPr>
          <a:lstStyle/>
          <a:p>
            <a:pPr marL="0" lvl="0" indent="0" algn="ctr">
              <a:spcBef>
                <a:spcPts val="0"/>
              </a:spcBef>
              <a:spcAft>
                <a:spcPts val="0"/>
              </a:spcAft>
              <a:buNone/>
            </a:pPr>
            <a:r>
              <a:rPr lang="da-DK" sz="3200" b="1" dirty="0">
                <a:solidFill>
                  <a:schemeClr val="bg1"/>
                </a:solidFill>
                <a:latin typeface="Amatic SC" panose="00000500000000000000" pitchFamily="2" charset="-79"/>
                <a:cs typeface="Amatic SC" panose="00000500000000000000" pitchFamily="2" charset="-79"/>
              </a:rPr>
              <a:t>Deltagelsesmuligheder for alle elever – eleverne fortæller</a:t>
            </a:r>
            <a:endParaRPr lang="da-DK" sz="3200" b="1" dirty="0">
              <a:solidFill>
                <a:schemeClr val="bg1"/>
              </a:solidFill>
              <a:latin typeface="Amatic SC"/>
              <a:ea typeface="Amatic SC"/>
              <a:cs typeface="Amatic SC"/>
              <a:sym typeface="Amatic SC"/>
            </a:endParaRPr>
          </a:p>
        </p:txBody>
      </p:sp>
      <p:sp>
        <p:nvSpPr>
          <p:cNvPr id="7" name="TextBox 6">
            <a:extLst>
              <a:ext uri="{FF2B5EF4-FFF2-40B4-BE49-F238E27FC236}">
                <a16:creationId xmlns:a16="http://schemas.microsoft.com/office/drawing/2014/main" id="{28785CFB-DAB6-297E-38E9-56CFFA13E224}"/>
              </a:ext>
            </a:extLst>
          </p:cNvPr>
          <p:cNvSpPr txBox="1"/>
          <p:nvPr/>
        </p:nvSpPr>
        <p:spPr>
          <a:xfrm>
            <a:off x="1694596" y="1602738"/>
            <a:ext cx="6896102" cy="553998"/>
          </a:xfrm>
          <a:prstGeom prst="rect">
            <a:avLst/>
          </a:prstGeom>
          <a:noFill/>
        </p:spPr>
        <p:txBody>
          <a:bodyPr wrap="square">
            <a:spAutoFit/>
          </a:bodyPr>
          <a:lstStyle/>
          <a:p>
            <a:pPr lvl="0"/>
            <a:r>
              <a:rPr lang="da-DK" sz="3000" b="1">
                <a:solidFill>
                  <a:srgbClr val="273F68"/>
                </a:solidFill>
                <a:latin typeface="Amatic SC" panose="00000500000000000000" pitchFamily="2" charset="-79"/>
                <a:ea typeface="Quicksand"/>
                <a:cs typeface="Amatic SC" panose="00000500000000000000" pitchFamily="2" charset="-79"/>
                <a:sym typeface="Quicksand"/>
              </a:rPr>
              <a:t>Tre opmærksomhedspunkter fra eleverne </a:t>
            </a:r>
            <a:endParaRPr kumimoji="0" lang="da-DK" sz="3000" b="1" i="0" u="none" strike="noStrike" kern="1200" cap="none" spc="0" normalizeH="0" baseline="0" noProof="0">
              <a:ln>
                <a:noFill/>
              </a:ln>
              <a:solidFill>
                <a:srgbClr val="273F68"/>
              </a:solidFill>
              <a:effectLst/>
              <a:uLnTx/>
              <a:uFillTx/>
              <a:latin typeface="Amatic SC" panose="00000500000000000000" pitchFamily="2" charset="-79"/>
              <a:ea typeface="Quicksand"/>
              <a:cs typeface="Amatic SC" panose="00000500000000000000" pitchFamily="2" charset="-79"/>
              <a:sym typeface="Quicksand"/>
            </a:endParaRPr>
          </a:p>
        </p:txBody>
      </p:sp>
      <p:grpSp>
        <p:nvGrpSpPr>
          <p:cNvPr id="9" name="Group 8">
            <a:extLst>
              <a:ext uri="{FF2B5EF4-FFF2-40B4-BE49-F238E27FC236}">
                <a16:creationId xmlns:a16="http://schemas.microsoft.com/office/drawing/2014/main" id="{601093A5-0244-5E13-3F69-FD16C3F7EB73}"/>
              </a:ext>
            </a:extLst>
          </p:cNvPr>
          <p:cNvGrpSpPr/>
          <p:nvPr/>
        </p:nvGrpSpPr>
        <p:grpSpPr>
          <a:xfrm>
            <a:off x="1314867" y="2397793"/>
            <a:ext cx="6313842" cy="684000"/>
            <a:chOff x="553811" y="1629898"/>
            <a:chExt cx="11084378" cy="808502"/>
          </a:xfrm>
        </p:grpSpPr>
        <p:sp>
          <p:nvSpPr>
            <p:cNvPr id="11" name="TextBox 10">
              <a:extLst>
                <a:ext uri="{FF2B5EF4-FFF2-40B4-BE49-F238E27FC236}">
                  <a16:creationId xmlns:a16="http://schemas.microsoft.com/office/drawing/2014/main" id="{77793B88-B6B2-9567-5BAB-34647DE852D0}"/>
                </a:ext>
              </a:extLst>
            </p:cNvPr>
            <p:cNvSpPr txBox="1">
              <a:spLocks/>
            </p:cNvSpPr>
            <p:nvPr/>
          </p:nvSpPr>
          <p:spPr>
            <a:xfrm>
              <a:off x="553811" y="1629898"/>
              <a:ext cx="11084378" cy="808502"/>
            </a:xfrm>
            <a:custGeom>
              <a:avLst/>
              <a:gdLst>
                <a:gd name="connsiteX0" fmla="*/ 0 w 11084378"/>
                <a:gd name="connsiteY0" fmla="*/ 0 h 808502"/>
                <a:gd name="connsiteX1" fmla="*/ 914461 w 11084378"/>
                <a:gd name="connsiteY1" fmla="*/ 0 h 808502"/>
                <a:gd name="connsiteX2" fmla="*/ 1718079 w 11084378"/>
                <a:gd name="connsiteY2" fmla="*/ 0 h 808502"/>
                <a:gd name="connsiteX3" fmla="*/ 2410852 w 11084378"/>
                <a:gd name="connsiteY3" fmla="*/ 0 h 808502"/>
                <a:gd name="connsiteX4" fmla="*/ 2992782 w 11084378"/>
                <a:gd name="connsiteY4" fmla="*/ 0 h 808502"/>
                <a:gd name="connsiteX5" fmla="*/ 3796399 w 11084378"/>
                <a:gd name="connsiteY5" fmla="*/ 0 h 808502"/>
                <a:gd name="connsiteX6" fmla="*/ 4267486 w 11084378"/>
                <a:gd name="connsiteY6" fmla="*/ 0 h 808502"/>
                <a:gd name="connsiteX7" fmla="*/ 5071103 w 11084378"/>
                <a:gd name="connsiteY7" fmla="*/ 0 h 808502"/>
                <a:gd name="connsiteX8" fmla="*/ 5542189 w 11084378"/>
                <a:gd name="connsiteY8" fmla="*/ 0 h 808502"/>
                <a:gd name="connsiteX9" fmla="*/ 6013275 w 11084378"/>
                <a:gd name="connsiteY9" fmla="*/ 0 h 808502"/>
                <a:gd name="connsiteX10" fmla="*/ 6927736 w 11084378"/>
                <a:gd name="connsiteY10" fmla="*/ 0 h 808502"/>
                <a:gd name="connsiteX11" fmla="*/ 7620510 w 11084378"/>
                <a:gd name="connsiteY11" fmla="*/ 0 h 808502"/>
                <a:gd name="connsiteX12" fmla="*/ 8534971 w 11084378"/>
                <a:gd name="connsiteY12" fmla="*/ 0 h 808502"/>
                <a:gd name="connsiteX13" fmla="*/ 9227745 w 11084378"/>
                <a:gd name="connsiteY13" fmla="*/ 0 h 808502"/>
                <a:gd name="connsiteX14" fmla="*/ 9698831 w 11084378"/>
                <a:gd name="connsiteY14" fmla="*/ 0 h 808502"/>
                <a:gd name="connsiteX15" fmla="*/ 10391604 w 11084378"/>
                <a:gd name="connsiteY15" fmla="*/ 0 h 808502"/>
                <a:gd name="connsiteX16" fmla="*/ 11084378 w 11084378"/>
                <a:gd name="connsiteY16" fmla="*/ 0 h 808502"/>
                <a:gd name="connsiteX17" fmla="*/ 11084378 w 11084378"/>
                <a:gd name="connsiteY17" fmla="*/ 396166 h 808502"/>
                <a:gd name="connsiteX18" fmla="*/ 11084378 w 11084378"/>
                <a:gd name="connsiteY18" fmla="*/ 808502 h 808502"/>
                <a:gd name="connsiteX19" fmla="*/ 10280761 w 11084378"/>
                <a:gd name="connsiteY19" fmla="*/ 808502 h 808502"/>
                <a:gd name="connsiteX20" fmla="*/ 9477143 w 11084378"/>
                <a:gd name="connsiteY20" fmla="*/ 808502 h 808502"/>
                <a:gd name="connsiteX21" fmla="*/ 8562682 w 11084378"/>
                <a:gd name="connsiteY21" fmla="*/ 808502 h 808502"/>
                <a:gd name="connsiteX22" fmla="*/ 7980752 w 11084378"/>
                <a:gd name="connsiteY22" fmla="*/ 808502 h 808502"/>
                <a:gd name="connsiteX23" fmla="*/ 7177135 w 11084378"/>
                <a:gd name="connsiteY23" fmla="*/ 808502 h 808502"/>
                <a:gd name="connsiteX24" fmla="*/ 6816892 w 11084378"/>
                <a:gd name="connsiteY24" fmla="*/ 808502 h 808502"/>
                <a:gd name="connsiteX25" fmla="*/ 6013275 w 11084378"/>
                <a:gd name="connsiteY25" fmla="*/ 808502 h 808502"/>
                <a:gd name="connsiteX26" fmla="*/ 5320501 w 11084378"/>
                <a:gd name="connsiteY26" fmla="*/ 808502 h 808502"/>
                <a:gd name="connsiteX27" fmla="*/ 4738572 w 11084378"/>
                <a:gd name="connsiteY27" fmla="*/ 808502 h 808502"/>
                <a:gd name="connsiteX28" fmla="*/ 4267486 w 11084378"/>
                <a:gd name="connsiteY28" fmla="*/ 808502 h 808502"/>
                <a:gd name="connsiteX29" fmla="*/ 3574712 w 11084378"/>
                <a:gd name="connsiteY29" fmla="*/ 808502 h 808502"/>
                <a:gd name="connsiteX30" fmla="*/ 3103626 w 11084378"/>
                <a:gd name="connsiteY30" fmla="*/ 808502 h 808502"/>
                <a:gd name="connsiteX31" fmla="*/ 2189165 w 11084378"/>
                <a:gd name="connsiteY31" fmla="*/ 808502 h 808502"/>
                <a:gd name="connsiteX32" fmla="*/ 1385547 w 11084378"/>
                <a:gd name="connsiteY32" fmla="*/ 808502 h 808502"/>
                <a:gd name="connsiteX33" fmla="*/ 803617 w 11084378"/>
                <a:gd name="connsiteY33" fmla="*/ 808502 h 808502"/>
                <a:gd name="connsiteX34" fmla="*/ 0 w 11084378"/>
                <a:gd name="connsiteY34" fmla="*/ 808502 h 808502"/>
                <a:gd name="connsiteX35" fmla="*/ 0 w 11084378"/>
                <a:gd name="connsiteY35" fmla="*/ 428506 h 808502"/>
                <a:gd name="connsiteX36" fmla="*/ 0 w 11084378"/>
                <a:gd name="connsiteY36" fmla="*/ 0 h 80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084378" h="808502" extrusionOk="0">
                  <a:moveTo>
                    <a:pt x="0" y="0"/>
                  </a:moveTo>
                  <a:cubicBezTo>
                    <a:pt x="232030" y="26219"/>
                    <a:pt x="525479" y="-16688"/>
                    <a:pt x="914461" y="0"/>
                  </a:cubicBezTo>
                  <a:cubicBezTo>
                    <a:pt x="1303443" y="16688"/>
                    <a:pt x="1529988" y="26367"/>
                    <a:pt x="1718079" y="0"/>
                  </a:cubicBezTo>
                  <a:cubicBezTo>
                    <a:pt x="1906170" y="-26367"/>
                    <a:pt x="2144247" y="-3544"/>
                    <a:pt x="2410852" y="0"/>
                  </a:cubicBezTo>
                  <a:cubicBezTo>
                    <a:pt x="2677457" y="3544"/>
                    <a:pt x="2812632" y="-23632"/>
                    <a:pt x="2992782" y="0"/>
                  </a:cubicBezTo>
                  <a:cubicBezTo>
                    <a:pt x="3172932" y="23632"/>
                    <a:pt x="3402250" y="36790"/>
                    <a:pt x="3796399" y="0"/>
                  </a:cubicBezTo>
                  <a:cubicBezTo>
                    <a:pt x="4190548" y="-36790"/>
                    <a:pt x="4120592" y="16517"/>
                    <a:pt x="4267486" y="0"/>
                  </a:cubicBezTo>
                  <a:cubicBezTo>
                    <a:pt x="4414380" y="-16517"/>
                    <a:pt x="4794384" y="-40173"/>
                    <a:pt x="5071103" y="0"/>
                  </a:cubicBezTo>
                  <a:cubicBezTo>
                    <a:pt x="5347822" y="40173"/>
                    <a:pt x="5348459" y="21303"/>
                    <a:pt x="5542189" y="0"/>
                  </a:cubicBezTo>
                  <a:cubicBezTo>
                    <a:pt x="5735919" y="-21303"/>
                    <a:pt x="5836385" y="-7746"/>
                    <a:pt x="6013275" y="0"/>
                  </a:cubicBezTo>
                  <a:cubicBezTo>
                    <a:pt x="6190165" y="7746"/>
                    <a:pt x="6652492" y="397"/>
                    <a:pt x="6927736" y="0"/>
                  </a:cubicBezTo>
                  <a:cubicBezTo>
                    <a:pt x="7202980" y="-397"/>
                    <a:pt x="7363016" y="-10291"/>
                    <a:pt x="7620510" y="0"/>
                  </a:cubicBezTo>
                  <a:cubicBezTo>
                    <a:pt x="7878004" y="10291"/>
                    <a:pt x="8225202" y="-43589"/>
                    <a:pt x="8534971" y="0"/>
                  </a:cubicBezTo>
                  <a:cubicBezTo>
                    <a:pt x="8844740" y="43589"/>
                    <a:pt x="9049010" y="-27275"/>
                    <a:pt x="9227745" y="0"/>
                  </a:cubicBezTo>
                  <a:cubicBezTo>
                    <a:pt x="9406480" y="27275"/>
                    <a:pt x="9509709" y="7953"/>
                    <a:pt x="9698831" y="0"/>
                  </a:cubicBezTo>
                  <a:cubicBezTo>
                    <a:pt x="9887953" y="-7953"/>
                    <a:pt x="10046000" y="12946"/>
                    <a:pt x="10391604" y="0"/>
                  </a:cubicBezTo>
                  <a:cubicBezTo>
                    <a:pt x="10737208" y="-12946"/>
                    <a:pt x="10912451" y="-11184"/>
                    <a:pt x="11084378" y="0"/>
                  </a:cubicBezTo>
                  <a:cubicBezTo>
                    <a:pt x="11076452" y="104126"/>
                    <a:pt x="11067388" y="230127"/>
                    <a:pt x="11084378" y="396166"/>
                  </a:cubicBezTo>
                  <a:cubicBezTo>
                    <a:pt x="11101368" y="562205"/>
                    <a:pt x="11071050" y="665719"/>
                    <a:pt x="11084378" y="808502"/>
                  </a:cubicBezTo>
                  <a:cubicBezTo>
                    <a:pt x="10818139" y="844195"/>
                    <a:pt x="10647897" y="778613"/>
                    <a:pt x="10280761" y="808502"/>
                  </a:cubicBezTo>
                  <a:cubicBezTo>
                    <a:pt x="9913625" y="838391"/>
                    <a:pt x="9719756" y="840516"/>
                    <a:pt x="9477143" y="808502"/>
                  </a:cubicBezTo>
                  <a:cubicBezTo>
                    <a:pt x="9234530" y="776488"/>
                    <a:pt x="8992709" y="803027"/>
                    <a:pt x="8562682" y="808502"/>
                  </a:cubicBezTo>
                  <a:cubicBezTo>
                    <a:pt x="8132655" y="813977"/>
                    <a:pt x="8157471" y="834492"/>
                    <a:pt x="7980752" y="808502"/>
                  </a:cubicBezTo>
                  <a:cubicBezTo>
                    <a:pt x="7804033" y="782513"/>
                    <a:pt x="7520686" y="822103"/>
                    <a:pt x="7177135" y="808502"/>
                  </a:cubicBezTo>
                  <a:cubicBezTo>
                    <a:pt x="6833584" y="794901"/>
                    <a:pt x="6968353" y="816911"/>
                    <a:pt x="6816892" y="808502"/>
                  </a:cubicBezTo>
                  <a:cubicBezTo>
                    <a:pt x="6665431" y="800093"/>
                    <a:pt x="6337466" y="799340"/>
                    <a:pt x="6013275" y="808502"/>
                  </a:cubicBezTo>
                  <a:cubicBezTo>
                    <a:pt x="5689084" y="817664"/>
                    <a:pt x="5619683" y="815343"/>
                    <a:pt x="5320501" y="808502"/>
                  </a:cubicBezTo>
                  <a:cubicBezTo>
                    <a:pt x="5021319" y="801661"/>
                    <a:pt x="5029173" y="831098"/>
                    <a:pt x="4738572" y="808502"/>
                  </a:cubicBezTo>
                  <a:cubicBezTo>
                    <a:pt x="4447971" y="785906"/>
                    <a:pt x="4388707" y="830412"/>
                    <a:pt x="4267486" y="808502"/>
                  </a:cubicBezTo>
                  <a:cubicBezTo>
                    <a:pt x="4146265" y="786592"/>
                    <a:pt x="3796360" y="836512"/>
                    <a:pt x="3574712" y="808502"/>
                  </a:cubicBezTo>
                  <a:cubicBezTo>
                    <a:pt x="3353064" y="780492"/>
                    <a:pt x="3264956" y="802666"/>
                    <a:pt x="3103626" y="808502"/>
                  </a:cubicBezTo>
                  <a:cubicBezTo>
                    <a:pt x="2942296" y="814338"/>
                    <a:pt x="2383507" y="796735"/>
                    <a:pt x="2189165" y="808502"/>
                  </a:cubicBezTo>
                  <a:cubicBezTo>
                    <a:pt x="1994823" y="820269"/>
                    <a:pt x="1587248" y="813112"/>
                    <a:pt x="1385547" y="808502"/>
                  </a:cubicBezTo>
                  <a:cubicBezTo>
                    <a:pt x="1183846" y="803892"/>
                    <a:pt x="1040972" y="827426"/>
                    <a:pt x="803617" y="808502"/>
                  </a:cubicBezTo>
                  <a:cubicBezTo>
                    <a:pt x="566262" y="789579"/>
                    <a:pt x="305177" y="771809"/>
                    <a:pt x="0" y="808502"/>
                  </a:cubicBezTo>
                  <a:cubicBezTo>
                    <a:pt x="-315" y="660470"/>
                    <a:pt x="249" y="612846"/>
                    <a:pt x="0" y="428506"/>
                  </a:cubicBezTo>
                  <a:cubicBezTo>
                    <a:pt x="-249" y="244166"/>
                    <a:pt x="14802" y="108269"/>
                    <a:pt x="0" y="0"/>
                  </a:cubicBezTo>
                  <a:close/>
                </a:path>
              </a:pathLst>
            </a:custGeom>
            <a:noFill/>
            <a:ln w="28575">
              <a:solidFill>
                <a:schemeClr val="accent2"/>
              </a:solidFill>
              <a:extLst>
                <a:ext uri="{C807C97D-BFC1-408E-A445-0C87EB9F89A2}">
                  <ask:lineSketchStyleProps xmlns:ask="http://schemas.microsoft.com/office/drawing/2018/sketchyshapes" sd="1077043750">
                    <a:prstGeom prst="rect">
                      <a:avLst/>
                    </a:prstGeom>
                    <ask:type>
                      <ask:lineSketchFreehand/>
                    </ask:type>
                  </ask:lineSketchStyleProps>
                </a:ext>
              </a:extLst>
            </a:ln>
          </p:spPr>
          <p:style>
            <a:lnRef idx="2">
              <a:schemeClr val="accent5"/>
            </a:lnRef>
            <a:fillRef idx="1">
              <a:schemeClr val="lt1"/>
            </a:fillRef>
            <a:effectRef idx="0">
              <a:schemeClr val="accent5"/>
            </a:effectRef>
            <a:fontRef idx="minor">
              <a:schemeClr val="dk1"/>
            </a:fontRef>
          </p:style>
          <p:txBody>
            <a:bodyPr wrap="square" lIns="0" tIns="0" rIns="0" bIns="0" rtlCol="0" anchor="ctr">
              <a:noAutofit/>
            </a:bodyPr>
            <a:lstStyle/>
            <a:p>
              <a:pPr algn="ctr"/>
              <a:r>
                <a:rPr lang="da-DK" sz="1600" b="1" dirty="0">
                  <a:solidFill>
                    <a:schemeClr val="tx1"/>
                  </a:solidFill>
                  <a:latin typeface="Quicksand" panose="020B0604020202020204"/>
                  <a:cs typeface="Amatic SC" panose="00000500000000000000" pitchFamily="2" charset="-79"/>
                </a:rPr>
                <a:t>Forandringer i læringsmiljøet er ofte begrænset til </a:t>
              </a:r>
              <a:br>
                <a:rPr lang="da-DK" sz="1600" b="1" dirty="0">
                  <a:solidFill>
                    <a:schemeClr val="tx1"/>
                  </a:solidFill>
                  <a:latin typeface="Quicksand" panose="020B0604020202020204"/>
                  <a:cs typeface="Amatic SC" panose="00000500000000000000" pitchFamily="2" charset="-79"/>
                </a:rPr>
              </a:br>
              <a:r>
                <a:rPr lang="da-DK" sz="1600" b="1" dirty="0">
                  <a:solidFill>
                    <a:schemeClr val="tx1"/>
                  </a:solidFill>
                  <a:latin typeface="Quicksand" panose="020B0604020202020204"/>
                  <a:cs typeface="Amatic SC" panose="00000500000000000000" pitchFamily="2" charset="-79"/>
                </a:rPr>
                <a:t>enkelte fag eller timer</a:t>
              </a:r>
            </a:p>
          </p:txBody>
        </p:sp>
        <p:sp>
          <p:nvSpPr>
            <p:cNvPr id="13" name="TextBox 12">
              <a:extLst>
                <a:ext uri="{FF2B5EF4-FFF2-40B4-BE49-F238E27FC236}">
                  <a16:creationId xmlns:a16="http://schemas.microsoft.com/office/drawing/2014/main" id="{23E0C259-8F03-B3D8-C97A-AF1DE30F68CB}"/>
                </a:ext>
              </a:extLst>
            </p:cNvPr>
            <p:cNvSpPr txBox="1"/>
            <p:nvPr/>
          </p:nvSpPr>
          <p:spPr>
            <a:xfrm>
              <a:off x="553811" y="1815870"/>
              <a:ext cx="878305" cy="436558"/>
            </a:xfrm>
            <a:prstGeom prst="rect">
              <a:avLst/>
            </a:prstGeom>
            <a:noFill/>
            <a:ln>
              <a:noFill/>
            </a:ln>
          </p:spPr>
          <p:txBody>
            <a:bodyPr wrap="square" lIns="0" tIns="0" rIns="0" bIns="0" rtlCol="0">
              <a:spAutoFit/>
            </a:bodyPr>
            <a:lstStyle/>
            <a:p>
              <a:pPr algn="ctr"/>
              <a:r>
                <a:rPr lang="da-DK" sz="2400" b="1">
                  <a:latin typeface="Quicksand" panose="020B0604020202020204"/>
                  <a:cs typeface="Amatic SC" panose="00000500000000000000" pitchFamily="2" charset="-79"/>
                </a:rPr>
                <a:t>1</a:t>
              </a:r>
              <a:endParaRPr lang="da-DK" sz="2000" b="1">
                <a:latin typeface="Quicksand" panose="020B0604020202020204"/>
                <a:cs typeface="Amatic SC" panose="00000500000000000000" pitchFamily="2" charset="-79"/>
              </a:endParaRPr>
            </a:p>
          </p:txBody>
        </p:sp>
      </p:grpSp>
      <p:grpSp>
        <p:nvGrpSpPr>
          <p:cNvPr id="14" name="Group 13">
            <a:extLst>
              <a:ext uri="{FF2B5EF4-FFF2-40B4-BE49-F238E27FC236}">
                <a16:creationId xmlns:a16="http://schemas.microsoft.com/office/drawing/2014/main" id="{A0FEC638-6C2A-7030-55F2-D320AD588C92}"/>
              </a:ext>
            </a:extLst>
          </p:cNvPr>
          <p:cNvGrpSpPr/>
          <p:nvPr/>
        </p:nvGrpSpPr>
        <p:grpSpPr>
          <a:xfrm>
            <a:off x="1314867" y="3317576"/>
            <a:ext cx="6313842" cy="684000"/>
            <a:chOff x="553811" y="1629898"/>
            <a:chExt cx="11084378" cy="808502"/>
          </a:xfrm>
        </p:grpSpPr>
        <p:sp>
          <p:nvSpPr>
            <p:cNvPr id="15" name="TextBox 14">
              <a:extLst>
                <a:ext uri="{FF2B5EF4-FFF2-40B4-BE49-F238E27FC236}">
                  <a16:creationId xmlns:a16="http://schemas.microsoft.com/office/drawing/2014/main" id="{C9B8B65E-0CA6-8DE4-6008-91ABB5FDB0AE}"/>
                </a:ext>
              </a:extLst>
            </p:cNvPr>
            <p:cNvSpPr txBox="1">
              <a:spLocks/>
            </p:cNvSpPr>
            <p:nvPr/>
          </p:nvSpPr>
          <p:spPr>
            <a:xfrm>
              <a:off x="553811" y="1629898"/>
              <a:ext cx="11084378" cy="808502"/>
            </a:xfrm>
            <a:custGeom>
              <a:avLst/>
              <a:gdLst>
                <a:gd name="connsiteX0" fmla="*/ 0 w 11084378"/>
                <a:gd name="connsiteY0" fmla="*/ 0 h 808502"/>
                <a:gd name="connsiteX1" fmla="*/ 914461 w 11084378"/>
                <a:gd name="connsiteY1" fmla="*/ 0 h 808502"/>
                <a:gd name="connsiteX2" fmla="*/ 1718079 w 11084378"/>
                <a:gd name="connsiteY2" fmla="*/ 0 h 808502"/>
                <a:gd name="connsiteX3" fmla="*/ 2410852 w 11084378"/>
                <a:gd name="connsiteY3" fmla="*/ 0 h 808502"/>
                <a:gd name="connsiteX4" fmla="*/ 2992782 w 11084378"/>
                <a:gd name="connsiteY4" fmla="*/ 0 h 808502"/>
                <a:gd name="connsiteX5" fmla="*/ 3796399 w 11084378"/>
                <a:gd name="connsiteY5" fmla="*/ 0 h 808502"/>
                <a:gd name="connsiteX6" fmla="*/ 4267486 w 11084378"/>
                <a:gd name="connsiteY6" fmla="*/ 0 h 808502"/>
                <a:gd name="connsiteX7" fmla="*/ 5071103 w 11084378"/>
                <a:gd name="connsiteY7" fmla="*/ 0 h 808502"/>
                <a:gd name="connsiteX8" fmla="*/ 5542189 w 11084378"/>
                <a:gd name="connsiteY8" fmla="*/ 0 h 808502"/>
                <a:gd name="connsiteX9" fmla="*/ 6013275 w 11084378"/>
                <a:gd name="connsiteY9" fmla="*/ 0 h 808502"/>
                <a:gd name="connsiteX10" fmla="*/ 6927736 w 11084378"/>
                <a:gd name="connsiteY10" fmla="*/ 0 h 808502"/>
                <a:gd name="connsiteX11" fmla="*/ 7620510 w 11084378"/>
                <a:gd name="connsiteY11" fmla="*/ 0 h 808502"/>
                <a:gd name="connsiteX12" fmla="*/ 8534971 w 11084378"/>
                <a:gd name="connsiteY12" fmla="*/ 0 h 808502"/>
                <a:gd name="connsiteX13" fmla="*/ 9227745 w 11084378"/>
                <a:gd name="connsiteY13" fmla="*/ 0 h 808502"/>
                <a:gd name="connsiteX14" fmla="*/ 9698831 w 11084378"/>
                <a:gd name="connsiteY14" fmla="*/ 0 h 808502"/>
                <a:gd name="connsiteX15" fmla="*/ 10391604 w 11084378"/>
                <a:gd name="connsiteY15" fmla="*/ 0 h 808502"/>
                <a:gd name="connsiteX16" fmla="*/ 11084378 w 11084378"/>
                <a:gd name="connsiteY16" fmla="*/ 0 h 808502"/>
                <a:gd name="connsiteX17" fmla="*/ 11084378 w 11084378"/>
                <a:gd name="connsiteY17" fmla="*/ 396166 h 808502"/>
                <a:gd name="connsiteX18" fmla="*/ 11084378 w 11084378"/>
                <a:gd name="connsiteY18" fmla="*/ 808502 h 808502"/>
                <a:gd name="connsiteX19" fmla="*/ 10280761 w 11084378"/>
                <a:gd name="connsiteY19" fmla="*/ 808502 h 808502"/>
                <a:gd name="connsiteX20" fmla="*/ 9477143 w 11084378"/>
                <a:gd name="connsiteY20" fmla="*/ 808502 h 808502"/>
                <a:gd name="connsiteX21" fmla="*/ 8562682 w 11084378"/>
                <a:gd name="connsiteY21" fmla="*/ 808502 h 808502"/>
                <a:gd name="connsiteX22" fmla="*/ 7980752 w 11084378"/>
                <a:gd name="connsiteY22" fmla="*/ 808502 h 808502"/>
                <a:gd name="connsiteX23" fmla="*/ 7177135 w 11084378"/>
                <a:gd name="connsiteY23" fmla="*/ 808502 h 808502"/>
                <a:gd name="connsiteX24" fmla="*/ 6816892 w 11084378"/>
                <a:gd name="connsiteY24" fmla="*/ 808502 h 808502"/>
                <a:gd name="connsiteX25" fmla="*/ 6013275 w 11084378"/>
                <a:gd name="connsiteY25" fmla="*/ 808502 h 808502"/>
                <a:gd name="connsiteX26" fmla="*/ 5320501 w 11084378"/>
                <a:gd name="connsiteY26" fmla="*/ 808502 h 808502"/>
                <a:gd name="connsiteX27" fmla="*/ 4738572 w 11084378"/>
                <a:gd name="connsiteY27" fmla="*/ 808502 h 808502"/>
                <a:gd name="connsiteX28" fmla="*/ 4267486 w 11084378"/>
                <a:gd name="connsiteY28" fmla="*/ 808502 h 808502"/>
                <a:gd name="connsiteX29" fmla="*/ 3574712 w 11084378"/>
                <a:gd name="connsiteY29" fmla="*/ 808502 h 808502"/>
                <a:gd name="connsiteX30" fmla="*/ 3103626 w 11084378"/>
                <a:gd name="connsiteY30" fmla="*/ 808502 h 808502"/>
                <a:gd name="connsiteX31" fmla="*/ 2189165 w 11084378"/>
                <a:gd name="connsiteY31" fmla="*/ 808502 h 808502"/>
                <a:gd name="connsiteX32" fmla="*/ 1385547 w 11084378"/>
                <a:gd name="connsiteY32" fmla="*/ 808502 h 808502"/>
                <a:gd name="connsiteX33" fmla="*/ 803617 w 11084378"/>
                <a:gd name="connsiteY33" fmla="*/ 808502 h 808502"/>
                <a:gd name="connsiteX34" fmla="*/ 0 w 11084378"/>
                <a:gd name="connsiteY34" fmla="*/ 808502 h 808502"/>
                <a:gd name="connsiteX35" fmla="*/ 0 w 11084378"/>
                <a:gd name="connsiteY35" fmla="*/ 428506 h 808502"/>
                <a:gd name="connsiteX36" fmla="*/ 0 w 11084378"/>
                <a:gd name="connsiteY36" fmla="*/ 0 h 80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084378" h="808502" extrusionOk="0">
                  <a:moveTo>
                    <a:pt x="0" y="0"/>
                  </a:moveTo>
                  <a:cubicBezTo>
                    <a:pt x="232030" y="26219"/>
                    <a:pt x="525479" y="-16688"/>
                    <a:pt x="914461" y="0"/>
                  </a:cubicBezTo>
                  <a:cubicBezTo>
                    <a:pt x="1303443" y="16688"/>
                    <a:pt x="1529988" y="26367"/>
                    <a:pt x="1718079" y="0"/>
                  </a:cubicBezTo>
                  <a:cubicBezTo>
                    <a:pt x="1906170" y="-26367"/>
                    <a:pt x="2144247" y="-3544"/>
                    <a:pt x="2410852" y="0"/>
                  </a:cubicBezTo>
                  <a:cubicBezTo>
                    <a:pt x="2677457" y="3544"/>
                    <a:pt x="2812632" y="-23632"/>
                    <a:pt x="2992782" y="0"/>
                  </a:cubicBezTo>
                  <a:cubicBezTo>
                    <a:pt x="3172932" y="23632"/>
                    <a:pt x="3402250" y="36790"/>
                    <a:pt x="3796399" y="0"/>
                  </a:cubicBezTo>
                  <a:cubicBezTo>
                    <a:pt x="4190548" y="-36790"/>
                    <a:pt x="4120592" y="16517"/>
                    <a:pt x="4267486" y="0"/>
                  </a:cubicBezTo>
                  <a:cubicBezTo>
                    <a:pt x="4414380" y="-16517"/>
                    <a:pt x="4794384" y="-40173"/>
                    <a:pt x="5071103" y="0"/>
                  </a:cubicBezTo>
                  <a:cubicBezTo>
                    <a:pt x="5347822" y="40173"/>
                    <a:pt x="5348459" y="21303"/>
                    <a:pt x="5542189" y="0"/>
                  </a:cubicBezTo>
                  <a:cubicBezTo>
                    <a:pt x="5735919" y="-21303"/>
                    <a:pt x="5836385" y="-7746"/>
                    <a:pt x="6013275" y="0"/>
                  </a:cubicBezTo>
                  <a:cubicBezTo>
                    <a:pt x="6190165" y="7746"/>
                    <a:pt x="6652492" y="397"/>
                    <a:pt x="6927736" y="0"/>
                  </a:cubicBezTo>
                  <a:cubicBezTo>
                    <a:pt x="7202980" y="-397"/>
                    <a:pt x="7363016" y="-10291"/>
                    <a:pt x="7620510" y="0"/>
                  </a:cubicBezTo>
                  <a:cubicBezTo>
                    <a:pt x="7878004" y="10291"/>
                    <a:pt x="8225202" y="-43589"/>
                    <a:pt x="8534971" y="0"/>
                  </a:cubicBezTo>
                  <a:cubicBezTo>
                    <a:pt x="8844740" y="43589"/>
                    <a:pt x="9049010" y="-27275"/>
                    <a:pt x="9227745" y="0"/>
                  </a:cubicBezTo>
                  <a:cubicBezTo>
                    <a:pt x="9406480" y="27275"/>
                    <a:pt x="9509709" y="7953"/>
                    <a:pt x="9698831" y="0"/>
                  </a:cubicBezTo>
                  <a:cubicBezTo>
                    <a:pt x="9887953" y="-7953"/>
                    <a:pt x="10046000" y="12946"/>
                    <a:pt x="10391604" y="0"/>
                  </a:cubicBezTo>
                  <a:cubicBezTo>
                    <a:pt x="10737208" y="-12946"/>
                    <a:pt x="10912451" y="-11184"/>
                    <a:pt x="11084378" y="0"/>
                  </a:cubicBezTo>
                  <a:cubicBezTo>
                    <a:pt x="11076452" y="104126"/>
                    <a:pt x="11067388" y="230127"/>
                    <a:pt x="11084378" y="396166"/>
                  </a:cubicBezTo>
                  <a:cubicBezTo>
                    <a:pt x="11101368" y="562205"/>
                    <a:pt x="11071050" y="665719"/>
                    <a:pt x="11084378" y="808502"/>
                  </a:cubicBezTo>
                  <a:cubicBezTo>
                    <a:pt x="10818139" y="844195"/>
                    <a:pt x="10647897" y="778613"/>
                    <a:pt x="10280761" y="808502"/>
                  </a:cubicBezTo>
                  <a:cubicBezTo>
                    <a:pt x="9913625" y="838391"/>
                    <a:pt x="9719756" y="840516"/>
                    <a:pt x="9477143" y="808502"/>
                  </a:cubicBezTo>
                  <a:cubicBezTo>
                    <a:pt x="9234530" y="776488"/>
                    <a:pt x="8992709" y="803027"/>
                    <a:pt x="8562682" y="808502"/>
                  </a:cubicBezTo>
                  <a:cubicBezTo>
                    <a:pt x="8132655" y="813977"/>
                    <a:pt x="8157471" y="834492"/>
                    <a:pt x="7980752" y="808502"/>
                  </a:cubicBezTo>
                  <a:cubicBezTo>
                    <a:pt x="7804033" y="782513"/>
                    <a:pt x="7520686" y="822103"/>
                    <a:pt x="7177135" y="808502"/>
                  </a:cubicBezTo>
                  <a:cubicBezTo>
                    <a:pt x="6833584" y="794901"/>
                    <a:pt x="6968353" y="816911"/>
                    <a:pt x="6816892" y="808502"/>
                  </a:cubicBezTo>
                  <a:cubicBezTo>
                    <a:pt x="6665431" y="800093"/>
                    <a:pt x="6337466" y="799340"/>
                    <a:pt x="6013275" y="808502"/>
                  </a:cubicBezTo>
                  <a:cubicBezTo>
                    <a:pt x="5689084" y="817664"/>
                    <a:pt x="5619683" y="815343"/>
                    <a:pt x="5320501" y="808502"/>
                  </a:cubicBezTo>
                  <a:cubicBezTo>
                    <a:pt x="5021319" y="801661"/>
                    <a:pt x="5029173" y="831098"/>
                    <a:pt x="4738572" y="808502"/>
                  </a:cubicBezTo>
                  <a:cubicBezTo>
                    <a:pt x="4447971" y="785906"/>
                    <a:pt x="4388707" y="830412"/>
                    <a:pt x="4267486" y="808502"/>
                  </a:cubicBezTo>
                  <a:cubicBezTo>
                    <a:pt x="4146265" y="786592"/>
                    <a:pt x="3796360" y="836512"/>
                    <a:pt x="3574712" y="808502"/>
                  </a:cubicBezTo>
                  <a:cubicBezTo>
                    <a:pt x="3353064" y="780492"/>
                    <a:pt x="3264956" y="802666"/>
                    <a:pt x="3103626" y="808502"/>
                  </a:cubicBezTo>
                  <a:cubicBezTo>
                    <a:pt x="2942296" y="814338"/>
                    <a:pt x="2383507" y="796735"/>
                    <a:pt x="2189165" y="808502"/>
                  </a:cubicBezTo>
                  <a:cubicBezTo>
                    <a:pt x="1994823" y="820269"/>
                    <a:pt x="1587248" y="813112"/>
                    <a:pt x="1385547" y="808502"/>
                  </a:cubicBezTo>
                  <a:cubicBezTo>
                    <a:pt x="1183846" y="803892"/>
                    <a:pt x="1040972" y="827426"/>
                    <a:pt x="803617" y="808502"/>
                  </a:cubicBezTo>
                  <a:cubicBezTo>
                    <a:pt x="566262" y="789579"/>
                    <a:pt x="305177" y="771809"/>
                    <a:pt x="0" y="808502"/>
                  </a:cubicBezTo>
                  <a:cubicBezTo>
                    <a:pt x="-315" y="660470"/>
                    <a:pt x="249" y="612846"/>
                    <a:pt x="0" y="428506"/>
                  </a:cubicBezTo>
                  <a:cubicBezTo>
                    <a:pt x="-249" y="244166"/>
                    <a:pt x="14802" y="108269"/>
                    <a:pt x="0" y="0"/>
                  </a:cubicBezTo>
                  <a:close/>
                </a:path>
              </a:pathLst>
            </a:custGeom>
            <a:noFill/>
            <a:ln w="28575">
              <a:solidFill>
                <a:schemeClr val="accent2"/>
              </a:solidFill>
              <a:extLst>
                <a:ext uri="{C807C97D-BFC1-408E-A445-0C87EB9F89A2}">
                  <ask:lineSketchStyleProps xmlns:ask="http://schemas.microsoft.com/office/drawing/2018/sketchyshapes" sd="1077043750">
                    <a:prstGeom prst="rect">
                      <a:avLst/>
                    </a:prstGeom>
                    <ask:type>
                      <ask:lineSketchFreehand/>
                    </ask:type>
                  </ask:lineSketchStyleProps>
                </a:ext>
              </a:extLst>
            </a:ln>
          </p:spPr>
          <p:style>
            <a:lnRef idx="2">
              <a:schemeClr val="accent5"/>
            </a:lnRef>
            <a:fillRef idx="1">
              <a:schemeClr val="lt1"/>
            </a:fillRef>
            <a:effectRef idx="0">
              <a:schemeClr val="accent5"/>
            </a:effectRef>
            <a:fontRef idx="minor">
              <a:schemeClr val="dk1"/>
            </a:fontRef>
          </p:style>
          <p:txBody>
            <a:bodyPr wrap="square" lIns="0" tIns="0" rIns="0" bIns="0" rtlCol="0" anchor="ctr">
              <a:noAutofit/>
            </a:bodyPr>
            <a:lstStyle/>
            <a:p>
              <a:pPr algn="ctr"/>
              <a:r>
                <a:rPr lang="da-DK" sz="1600" b="1">
                  <a:latin typeface="Quicksand" panose="020B0604020202020204"/>
                  <a:cs typeface="Amatic SC" panose="00000500000000000000" pitchFamily="2" charset="-79"/>
                </a:rPr>
                <a:t>Når prøvehandlinger vedrører enkelte elever, </a:t>
              </a:r>
              <a:br>
                <a:rPr lang="da-DK" sz="1600" b="1">
                  <a:latin typeface="Quicksand" panose="020B0604020202020204"/>
                  <a:cs typeface="Amatic SC" panose="00000500000000000000" pitchFamily="2" charset="-79"/>
                </a:rPr>
              </a:br>
              <a:r>
                <a:rPr lang="da-DK" sz="1600" b="1">
                  <a:latin typeface="Quicksand" panose="020B0604020202020204"/>
                  <a:cs typeface="Amatic SC" panose="00000500000000000000" pitchFamily="2" charset="-79"/>
                </a:rPr>
                <a:t>kommer det sjældent hele klassen til gavn</a:t>
              </a:r>
              <a:endParaRPr lang="da-DK" sz="1600" b="1">
                <a:solidFill>
                  <a:schemeClr val="tx1"/>
                </a:solidFill>
                <a:latin typeface="Quicksand" panose="020B0604020202020204"/>
                <a:cs typeface="Amatic SC" panose="00000500000000000000" pitchFamily="2" charset="-79"/>
              </a:endParaRPr>
            </a:p>
          </p:txBody>
        </p:sp>
        <p:sp>
          <p:nvSpPr>
            <p:cNvPr id="16" name="TextBox 15">
              <a:extLst>
                <a:ext uri="{FF2B5EF4-FFF2-40B4-BE49-F238E27FC236}">
                  <a16:creationId xmlns:a16="http://schemas.microsoft.com/office/drawing/2014/main" id="{77314B0F-30E8-5EE1-E614-42F11AAFB3DA}"/>
                </a:ext>
              </a:extLst>
            </p:cNvPr>
            <p:cNvSpPr txBox="1"/>
            <p:nvPr/>
          </p:nvSpPr>
          <p:spPr>
            <a:xfrm>
              <a:off x="553811" y="1811298"/>
              <a:ext cx="878305" cy="436558"/>
            </a:xfrm>
            <a:prstGeom prst="rect">
              <a:avLst/>
            </a:prstGeom>
            <a:noFill/>
            <a:ln>
              <a:noFill/>
            </a:ln>
          </p:spPr>
          <p:txBody>
            <a:bodyPr wrap="square" lIns="0" tIns="0" rIns="0" bIns="0" rtlCol="0">
              <a:spAutoFit/>
            </a:bodyPr>
            <a:lstStyle/>
            <a:p>
              <a:pPr algn="ctr"/>
              <a:r>
                <a:rPr lang="da-DK" sz="2400" b="1">
                  <a:latin typeface="Quicksand" panose="020B0604020202020204"/>
                  <a:cs typeface="Amatic SC" panose="00000500000000000000" pitchFamily="2" charset="-79"/>
                </a:rPr>
                <a:t>2</a:t>
              </a:r>
              <a:endParaRPr lang="da-DK" sz="2000" b="1">
                <a:latin typeface="Quicksand" panose="020B0604020202020204"/>
                <a:cs typeface="Amatic SC" panose="00000500000000000000" pitchFamily="2" charset="-79"/>
              </a:endParaRPr>
            </a:p>
          </p:txBody>
        </p:sp>
      </p:grpSp>
      <p:grpSp>
        <p:nvGrpSpPr>
          <p:cNvPr id="21" name="Group 20">
            <a:extLst>
              <a:ext uri="{FF2B5EF4-FFF2-40B4-BE49-F238E27FC236}">
                <a16:creationId xmlns:a16="http://schemas.microsoft.com/office/drawing/2014/main" id="{6ECED587-760E-74FC-73FC-B0F86AAAB89D}"/>
              </a:ext>
            </a:extLst>
          </p:cNvPr>
          <p:cNvGrpSpPr/>
          <p:nvPr/>
        </p:nvGrpSpPr>
        <p:grpSpPr>
          <a:xfrm>
            <a:off x="1314867" y="4237359"/>
            <a:ext cx="6313842" cy="684000"/>
            <a:chOff x="553811" y="1629898"/>
            <a:chExt cx="11084378" cy="808502"/>
          </a:xfrm>
        </p:grpSpPr>
        <p:sp>
          <p:nvSpPr>
            <p:cNvPr id="22" name="TextBox 21">
              <a:extLst>
                <a:ext uri="{FF2B5EF4-FFF2-40B4-BE49-F238E27FC236}">
                  <a16:creationId xmlns:a16="http://schemas.microsoft.com/office/drawing/2014/main" id="{3F8F10FF-8AD4-EAA5-0173-4AF4EF2406FE}"/>
                </a:ext>
              </a:extLst>
            </p:cNvPr>
            <p:cNvSpPr txBox="1">
              <a:spLocks/>
            </p:cNvSpPr>
            <p:nvPr/>
          </p:nvSpPr>
          <p:spPr>
            <a:xfrm>
              <a:off x="553811" y="1629898"/>
              <a:ext cx="11084378" cy="808502"/>
            </a:xfrm>
            <a:custGeom>
              <a:avLst/>
              <a:gdLst>
                <a:gd name="connsiteX0" fmla="*/ 0 w 11084378"/>
                <a:gd name="connsiteY0" fmla="*/ 0 h 808502"/>
                <a:gd name="connsiteX1" fmla="*/ 914461 w 11084378"/>
                <a:gd name="connsiteY1" fmla="*/ 0 h 808502"/>
                <a:gd name="connsiteX2" fmla="*/ 1718079 w 11084378"/>
                <a:gd name="connsiteY2" fmla="*/ 0 h 808502"/>
                <a:gd name="connsiteX3" fmla="*/ 2410852 w 11084378"/>
                <a:gd name="connsiteY3" fmla="*/ 0 h 808502"/>
                <a:gd name="connsiteX4" fmla="*/ 2992782 w 11084378"/>
                <a:gd name="connsiteY4" fmla="*/ 0 h 808502"/>
                <a:gd name="connsiteX5" fmla="*/ 3796399 w 11084378"/>
                <a:gd name="connsiteY5" fmla="*/ 0 h 808502"/>
                <a:gd name="connsiteX6" fmla="*/ 4267486 w 11084378"/>
                <a:gd name="connsiteY6" fmla="*/ 0 h 808502"/>
                <a:gd name="connsiteX7" fmla="*/ 5071103 w 11084378"/>
                <a:gd name="connsiteY7" fmla="*/ 0 h 808502"/>
                <a:gd name="connsiteX8" fmla="*/ 5542189 w 11084378"/>
                <a:gd name="connsiteY8" fmla="*/ 0 h 808502"/>
                <a:gd name="connsiteX9" fmla="*/ 6013275 w 11084378"/>
                <a:gd name="connsiteY9" fmla="*/ 0 h 808502"/>
                <a:gd name="connsiteX10" fmla="*/ 6927736 w 11084378"/>
                <a:gd name="connsiteY10" fmla="*/ 0 h 808502"/>
                <a:gd name="connsiteX11" fmla="*/ 7620510 w 11084378"/>
                <a:gd name="connsiteY11" fmla="*/ 0 h 808502"/>
                <a:gd name="connsiteX12" fmla="*/ 8534971 w 11084378"/>
                <a:gd name="connsiteY12" fmla="*/ 0 h 808502"/>
                <a:gd name="connsiteX13" fmla="*/ 9227745 w 11084378"/>
                <a:gd name="connsiteY13" fmla="*/ 0 h 808502"/>
                <a:gd name="connsiteX14" fmla="*/ 9698831 w 11084378"/>
                <a:gd name="connsiteY14" fmla="*/ 0 h 808502"/>
                <a:gd name="connsiteX15" fmla="*/ 10391604 w 11084378"/>
                <a:gd name="connsiteY15" fmla="*/ 0 h 808502"/>
                <a:gd name="connsiteX16" fmla="*/ 11084378 w 11084378"/>
                <a:gd name="connsiteY16" fmla="*/ 0 h 808502"/>
                <a:gd name="connsiteX17" fmla="*/ 11084378 w 11084378"/>
                <a:gd name="connsiteY17" fmla="*/ 396166 h 808502"/>
                <a:gd name="connsiteX18" fmla="*/ 11084378 w 11084378"/>
                <a:gd name="connsiteY18" fmla="*/ 808502 h 808502"/>
                <a:gd name="connsiteX19" fmla="*/ 10280761 w 11084378"/>
                <a:gd name="connsiteY19" fmla="*/ 808502 h 808502"/>
                <a:gd name="connsiteX20" fmla="*/ 9477143 w 11084378"/>
                <a:gd name="connsiteY20" fmla="*/ 808502 h 808502"/>
                <a:gd name="connsiteX21" fmla="*/ 8562682 w 11084378"/>
                <a:gd name="connsiteY21" fmla="*/ 808502 h 808502"/>
                <a:gd name="connsiteX22" fmla="*/ 7980752 w 11084378"/>
                <a:gd name="connsiteY22" fmla="*/ 808502 h 808502"/>
                <a:gd name="connsiteX23" fmla="*/ 7177135 w 11084378"/>
                <a:gd name="connsiteY23" fmla="*/ 808502 h 808502"/>
                <a:gd name="connsiteX24" fmla="*/ 6816892 w 11084378"/>
                <a:gd name="connsiteY24" fmla="*/ 808502 h 808502"/>
                <a:gd name="connsiteX25" fmla="*/ 6013275 w 11084378"/>
                <a:gd name="connsiteY25" fmla="*/ 808502 h 808502"/>
                <a:gd name="connsiteX26" fmla="*/ 5320501 w 11084378"/>
                <a:gd name="connsiteY26" fmla="*/ 808502 h 808502"/>
                <a:gd name="connsiteX27" fmla="*/ 4738572 w 11084378"/>
                <a:gd name="connsiteY27" fmla="*/ 808502 h 808502"/>
                <a:gd name="connsiteX28" fmla="*/ 4267486 w 11084378"/>
                <a:gd name="connsiteY28" fmla="*/ 808502 h 808502"/>
                <a:gd name="connsiteX29" fmla="*/ 3574712 w 11084378"/>
                <a:gd name="connsiteY29" fmla="*/ 808502 h 808502"/>
                <a:gd name="connsiteX30" fmla="*/ 3103626 w 11084378"/>
                <a:gd name="connsiteY30" fmla="*/ 808502 h 808502"/>
                <a:gd name="connsiteX31" fmla="*/ 2189165 w 11084378"/>
                <a:gd name="connsiteY31" fmla="*/ 808502 h 808502"/>
                <a:gd name="connsiteX32" fmla="*/ 1385547 w 11084378"/>
                <a:gd name="connsiteY32" fmla="*/ 808502 h 808502"/>
                <a:gd name="connsiteX33" fmla="*/ 803617 w 11084378"/>
                <a:gd name="connsiteY33" fmla="*/ 808502 h 808502"/>
                <a:gd name="connsiteX34" fmla="*/ 0 w 11084378"/>
                <a:gd name="connsiteY34" fmla="*/ 808502 h 808502"/>
                <a:gd name="connsiteX35" fmla="*/ 0 w 11084378"/>
                <a:gd name="connsiteY35" fmla="*/ 428506 h 808502"/>
                <a:gd name="connsiteX36" fmla="*/ 0 w 11084378"/>
                <a:gd name="connsiteY36" fmla="*/ 0 h 80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084378" h="808502" extrusionOk="0">
                  <a:moveTo>
                    <a:pt x="0" y="0"/>
                  </a:moveTo>
                  <a:cubicBezTo>
                    <a:pt x="232030" y="26219"/>
                    <a:pt x="525479" y="-16688"/>
                    <a:pt x="914461" y="0"/>
                  </a:cubicBezTo>
                  <a:cubicBezTo>
                    <a:pt x="1303443" y="16688"/>
                    <a:pt x="1529988" y="26367"/>
                    <a:pt x="1718079" y="0"/>
                  </a:cubicBezTo>
                  <a:cubicBezTo>
                    <a:pt x="1906170" y="-26367"/>
                    <a:pt x="2144247" y="-3544"/>
                    <a:pt x="2410852" y="0"/>
                  </a:cubicBezTo>
                  <a:cubicBezTo>
                    <a:pt x="2677457" y="3544"/>
                    <a:pt x="2812632" y="-23632"/>
                    <a:pt x="2992782" y="0"/>
                  </a:cubicBezTo>
                  <a:cubicBezTo>
                    <a:pt x="3172932" y="23632"/>
                    <a:pt x="3402250" y="36790"/>
                    <a:pt x="3796399" y="0"/>
                  </a:cubicBezTo>
                  <a:cubicBezTo>
                    <a:pt x="4190548" y="-36790"/>
                    <a:pt x="4120592" y="16517"/>
                    <a:pt x="4267486" y="0"/>
                  </a:cubicBezTo>
                  <a:cubicBezTo>
                    <a:pt x="4414380" y="-16517"/>
                    <a:pt x="4794384" y="-40173"/>
                    <a:pt x="5071103" y="0"/>
                  </a:cubicBezTo>
                  <a:cubicBezTo>
                    <a:pt x="5347822" y="40173"/>
                    <a:pt x="5348459" y="21303"/>
                    <a:pt x="5542189" y="0"/>
                  </a:cubicBezTo>
                  <a:cubicBezTo>
                    <a:pt x="5735919" y="-21303"/>
                    <a:pt x="5836385" y="-7746"/>
                    <a:pt x="6013275" y="0"/>
                  </a:cubicBezTo>
                  <a:cubicBezTo>
                    <a:pt x="6190165" y="7746"/>
                    <a:pt x="6652492" y="397"/>
                    <a:pt x="6927736" y="0"/>
                  </a:cubicBezTo>
                  <a:cubicBezTo>
                    <a:pt x="7202980" y="-397"/>
                    <a:pt x="7363016" y="-10291"/>
                    <a:pt x="7620510" y="0"/>
                  </a:cubicBezTo>
                  <a:cubicBezTo>
                    <a:pt x="7878004" y="10291"/>
                    <a:pt x="8225202" y="-43589"/>
                    <a:pt x="8534971" y="0"/>
                  </a:cubicBezTo>
                  <a:cubicBezTo>
                    <a:pt x="8844740" y="43589"/>
                    <a:pt x="9049010" y="-27275"/>
                    <a:pt x="9227745" y="0"/>
                  </a:cubicBezTo>
                  <a:cubicBezTo>
                    <a:pt x="9406480" y="27275"/>
                    <a:pt x="9509709" y="7953"/>
                    <a:pt x="9698831" y="0"/>
                  </a:cubicBezTo>
                  <a:cubicBezTo>
                    <a:pt x="9887953" y="-7953"/>
                    <a:pt x="10046000" y="12946"/>
                    <a:pt x="10391604" y="0"/>
                  </a:cubicBezTo>
                  <a:cubicBezTo>
                    <a:pt x="10737208" y="-12946"/>
                    <a:pt x="10912451" y="-11184"/>
                    <a:pt x="11084378" y="0"/>
                  </a:cubicBezTo>
                  <a:cubicBezTo>
                    <a:pt x="11076452" y="104126"/>
                    <a:pt x="11067388" y="230127"/>
                    <a:pt x="11084378" y="396166"/>
                  </a:cubicBezTo>
                  <a:cubicBezTo>
                    <a:pt x="11101368" y="562205"/>
                    <a:pt x="11071050" y="665719"/>
                    <a:pt x="11084378" y="808502"/>
                  </a:cubicBezTo>
                  <a:cubicBezTo>
                    <a:pt x="10818139" y="844195"/>
                    <a:pt x="10647897" y="778613"/>
                    <a:pt x="10280761" y="808502"/>
                  </a:cubicBezTo>
                  <a:cubicBezTo>
                    <a:pt x="9913625" y="838391"/>
                    <a:pt x="9719756" y="840516"/>
                    <a:pt x="9477143" y="808502"/>
                  </a:cubicBezTo>
                  <a:cubicBezTo>
                    <a:pt x="9234530" y="776488"/>
                    <a:pt x="8992709" y="803027"/>
                    <a:pt x="8562682" y="808502"/>
                  </a:cubicBezTo>
                  <a:cubicBezTo>
                    <a:pt x="8132655" y="813977"/>
                    <a:pt x="8157471" y="834492"/>
                    <a:pt x="7980752" y="808502"/>
                  </a:cubicBezTo>
                  <a:cubicBezTo>
                    <a:pt x="7804033" y="782513"/>
                    <a:pt x="7520686" y="822103"/>
                    <a:pt x="7177135" y="808502"/>
                  </a:cubicBezTo>
                  <a:cubicBezTo>
                    <a:pt x="6833584" y="794901"/>
                    <a:pt x="6968353" y="816911"/>
                    <a:pt x="6816892" y="808502"/>
                  </a:cubicBezTo>
                  <a:cubicBezTo>
                    <a:pt x="6665431" y="800093"/>
                    <a:pt x="6337466" y="799340"/>
                    <a:pt x="6013275" y="808502"/>
                  </a:cubicBezTo>
                  <a:cubicBezTo>
                    <a:pt x="5689084" y="817664"/>
                    <a:pt x="5619683" y="815343"/>
                    <a:pt x="5320501" y="808502"/>
                  </a:cubicBezTo>
                  <a:cubicBezTo>
                    <a:pt x="5021319" y="801661"/>
                    <a:pt x="5029173" y="831098"/>
                    <a:pt x="4738572" y="808502"/>
                  </a:cubicBezTo>
                  <a:cubicBezTo>
                    <a:pt x="4447971" y="785906"/>
                    <a:pt x="4388707" y="830412"/>
                    <a:pt x="4267486" y="808502"/>
                  </a:cubicBezTo>
                  <a:cubicBezTo>
                    <a:pt x="4146265" y="786592"/>
                    <a:pt x="3796360" y="836512"/>
                    <a:pt x="3574712" y="808502"/>
                  </a:cubicBezTo>
                  <a:cubicBezTo>
                    <a:pt x="3353064" y="780492"/>
                    <a:pt x="3264956" y="802666"/>
                    <a:pt x="3103626" y="808502"/>
                  </a:cubicBezTo>
                  <a:cubicBezTo>
                    <a:pt x="2942296" y="814338"/>
                    <a:pt x="2383507" y="796735"/>
                    <a:pt x="2189165" y="808502"/>
                  </a:cubicBezTo>
                  <a:cubicBezTo>
                    <a:pt x="1994823" y="820269"/>
                    <a:pt x="1587248" y="813112"/>
                    <a:pt x="1385547" y="808502"/>
                  </a:cubicBezTo>
                  <a:cubicBezTo>
                    <a:pt x="1183846" y="803892"/>
                    <a:pt x="1040972" y="827426"/>
                    <a:pt x="803617" y="808502"/>
                  </a:cubicBezTo>
                  <a:cubicBezTo>
                    <a:pt x="566262" y="789579"/>
                    <a:pt x="305177" y="771809"/>
                    <a:pt x="0" y="808502"/>
                  </a:cubicBezTo>
                  <a:cubicBezTo>
                    <a:pt x="-315" y="660470"/>
                    <a:pt x="249" y="612846"/>
                    <a:pt x="0" y="428506"/>
                  </a:cubicBezTo>
                  <a:cubicBezTo>
                    <a:pt x="-249" y="244166"/>
                    <a:pt x="14802" y="108269"/>
                    <a:pt x="0" y="0"/>
                  </a:cubicBezTo>
                  <a:close/>
                </a:path>
              </a:pathLst>
            </a:custGeom>
            <a:noFill/>
            <a:ln w="28575">
              <a:solidFill>
                <a:schemeClr val="accent2"/>
              </a:solidFill>
              <a:extLst>
                <a:ext uri="{C807C97D-BFC1-408E-A445-0C87EB9F89A2}">
                  <ask:lineSketchStyleProps xmlns:ask="http://schemas.microsoft.com/office/drawing/2018/sketchyshapes" sd="1077043750">
                    <a:prstGeom prst="rect">
                      <a:avLst/>
                    </a:prstGeom>
                    <ask:type>
                      <ask:lineSketchFreehand/>
                    </ask:type>
                  </ask:lineSketchStyleProps>
                </a:ext>
              </a:extLst>
            </a:ln>
          </p:spPr>
          <p:style>
            <a:lnRef idx="2">
              <a:schemeClr val="accent5"/>
            </a:lnRef>
            <a:fillRef idx="1">
              <a:schemeClr val="lt1"/>
            </a:fillRef>
            <a:effectRef idx="0">
              <a:schemeClr val="accent5"/>
            </a:effectRef>
            <a:fontRef idx="minor">
              <a:schemeClr val="dk1"/>
            </a:fontRef>
          </p:style>
          <p:txBody>
            <a:bodyPr wrap="square" lIns="0" tIns="0" rIns="0" bIns="0" rtlCol="0" anchor="ctr">
              <a:noAutofit/>
            </a:bodyPr>
            <a:lstStyle/>
            <a:p>
              <a:pPr algn="ctr"/>
              <a:r>
                <a:rPr lang="da-DK" sz="1600" b="1" dirty="0">
                  <a:solidFill>
                    <a:schemeClr val="tx1"/>
                  </a:solidFill>
                  <a:latin typeface="Quicksand" panose="020B0604020202020204"/>
                  <a:cs typeface="Amatic SC" panose="00000500000000000000" pitchFamily="2" charset="-79"/>
                </a:rPr>
                <a:t>Elever bliver sjældent involveret i evalueringen </a:t>
              </a:r>
              <a:br>
                <a:rPr lang="da-DK" sz="1600" b="1" dirty="0">
                  <a:solidFill>
                    <a:schemeClr val="tx1"/>
                  </a:solidFill>
                  <a:latin typeface="Quicksand" panose="020B0604020202020204"/>
                  <a:cs typeface="Amatic SC" panose="00000500000000000000" pitchFamily="2" charset="-79"/>
                </a:rPr>
              </a:br>
              <a:r>
                <a:rPr lang="da-DK" sz="1600" b="1" dirty="0">
                  <a:solidFill>
                    <a:schemeClr val="tx1"/>
                  </a:solidFill>
                  <a:latin typeface="Quicksand" panose="020B0604020202020204"/>
                  <a:cs typeface="Amatic SC" panose="00000500000000000000" pitchFamily="2" charset="-79"/>
                </a:rPr>
                <a:t>af prøvehandlinger, men har meget </a:t>
              </a:r>
              <a:r>
                <a:rPr lang="da-DK" sz="1600" b="1">
                  <a:solidFill>
                    <a:schemeClr val="tx1"/>
                  </a:solidFill>
                  <a:latin typeface="Quicksand" panose="020B0604020202020204"/>
                  <a:cs typeface="Amatic SC" panose="00000500000000000000" pitchFamily="2" charset="-79"/>
                </a:rPr>
                <a:t>på hjerte</a:t>
              </a:r>
              <a:endParaRPr lang="da-DK" sz="1600" b="1" dirty="0">
                <a:solidFill>
                  <a:schemeClr val="tx1"/>
                </a:solidFill>
                <a:latin typeface="Quicksand" panose="020B0604020202020204"/>
                <a:cs typeface="Amatic SC" panose="00000500000000000000" pitchFamily="2" charset="-79"/>
              </a:endParaRPr>
            </a:p>
          </p:txBody>
        </p:sp>
        <p:sp>
          <p:nvSpPr>
            <p:cNvPr id="23" name="TextBox 22">
              <a:extLst>
                <a:ext uri="{FF2B5EF4-FFF2-40B4-BE49-F238E27FC236}">
                  <a16:creationId xmlns:a16="http://schemas.microsoft.com/office/drawing/2014/main" id="{7503DAF7-E5EB-FC71-902B-34473E1EF0F1}"/>
                </a:ext>
              </a:extLst>
            </p:cNvPr>
            <p:cNvSpPr txBox="1"/>
            <p:nvPr/>
          </p:nvSpPr>
          <p:spPr>
            <a:xfrm>
              <a:off x="553811" y="1815870"/>
              <a:ext cx="878305" cy="436558"/>
            </a:xfrm>
            <a:prstGeom prst="rect">
              <a:avLst/>
            </a:prstGeom>
            <a:noFill/>
            <a:ln>
              <a:noFill/>
            </a:ln>
          </p:spPr>
          <p:txBody>
            <a:bodyPr wrap="square" lIns="0" tIns="0" rIns="0" bIns="0" rtlCol="0">
              <a:spAutoFit/>
            </a:bodyPr>
            <a:lstStyle/>
            <a:p>
              <a:pPr algn="ctr"/>
              <a:r>
                <a:rPr lang="da-DK" sz="2400" b="1">
                  <a:latin typeface="Quicksand" panose="020B0604020202020204"/>
                  <a:cs typeface="Amatic SC" panose="00000500000000000000" pitchFamily="2" charset="-79"/>
                </a:rPr>
                <a:t>3</a:t>
              </a:r>
            </a:p>
          </p:txBody>
        </p:sp>
      </p:grpSp>
      <p:sp>
        <p:nvSpPr>
          <p:cNvPr id="2" name="TextBox 1">
            <a:extLst>
              <a:ext uri="{FF2B5EF4-FFF2-40B4-BE49-F238E27FC236}">
                <a16:creationId xmlns:a16="http://schemas.microsoft.com/office/drawing/2014/main" id="{8E511CB7-784D-F3A4-AC41-945E59CF2407}"/>
              </a:ext>
            </a:extLst>
          </p:cNvPr>
          <p:cNvSpPr txBox="1"/>
          <p:nvPr/>
        </p:nvSpPr>
        <p:spPr>
          <a:xfrm>
            <a:off x="8358368" y="2701922"/>
            <a:ext cx="2848432" cy="1815882"/>
          </a:xfrm>
          <a:prstGeom prst="rect">
            <a:avLst/>
          </a:prstGeom>
          <a:noFill/>
        </p:spPr>
        <p:txBody>
          <a:bodyPr wrap="square" lIns="0" tIns="0" rIns="0" bIns="0" rtlCol="0">
            <a:spAutoFit/>
          </a:bodyPr>
          <a:lstStyle/>
          <a:p>
            <a:r>
              <a:rPr lang="da-DK" sz="1600" b="1" dirty="0">
                <a:solidFill>
                  <a:schemeClr val="accent2"/>
                </a:solidFill>
                <a:latin typeface="Quicksand" panose="020B0604020202020204" charset="0"/>
                <a:cs typeface="Quicksand" panose="020B0604020202020204" charset="0"/>
              </a:rPr>
              <a:t>Vi har PBL, og der er ingen, der synes, det er sjovt, men lærerne gør det alligevel hele tiden. Vi evaluerer aldrig, hvad vi laver, men vi ville have noget at sige, hvis vi blev spurgt. </a:t>
            </a:r>
          </a:p>
          <a:p>
            <a:pPr>
              <a:spcBef>
                <a:spcPts val="1200"/>
              </a:spcBef>
            </a:pPr>
            <a:r>
              <a:rPr lang="da-DK" sz="1200" i="1" dirty="0">
                <a:solidFill>
                  <a:schemeClr val="accent2"/>
                </a:solidFill>
                <a:latin typeface="Quicksand" panose="020B0604020202020204" charset="0"/>
                <a:cs typeface="Quicksand" panose="020B0604020202020204" charset="0"/>
              </a:rPr>
              <a:t>Elev</a:t>
            </a:r>
            <a:endParaRPr lang="da-DK" sz="1100" i="1" dirty="0">
              <a:solidFill>
                <a:schemeClr val="accent2"/>
              </a:solidFill>
              <a:latin typeface="Quicksand" panose="020B0604020202020204" charset="0"/>
              <a:cs typeface="Quicksand" panose="020B0604020202020204" charset="0"/>
            </a:endParaRPr>
          </a:p>
        </p:txBody>
      </p:sp>
      <p:pic>
        <p:nvPicPr>
          <p:cNvPr id="3" name="Graphic 2" descr="Open quotation mark with solid fill">
            <a:extLst>
              <a:ext uri="{FF2B5EF4-FFF2-40B4-BE49-F238E27FC236}">
                <a16:creationId xmlns:a16="http://schemas.microsoft.com/office/drawing/2014/main" id="{68284507-B49F-D754-7EFE-388C6357205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43514" y="1780391"/>
            <a:ext cx="1020433" cy="1020433"/>
          </a:xfrm>
          <a:prstGeom prst="rect">
            <a:avLst/>
          </a:prstGeom>
        </p:spPr>
      </p:pic>
      <p:sp>
        <p:nvSpPr>
          <p:cNvPr id="8" name="Rectangle 7">
            <a:extLst>
              <a:ext uri="{FF2B5EF4-FFF2-40B4-BE49-F238E27FC236}">
                <a16:creationId xmlns:a16="http://schemas.microsoft.com/office/drawing/2014/main" id="{48ECDEB8-F860-50DF-AB37-D1727FE61D94}"/>
              </a:ext>
            </a:extLst>
          </p:cNvPr>
          <p:cNvSpPr/>
          <p:nvPr/>
        </p:nvSpPr>
        <p:spPr>
          <a:xfrm>
            <a:off x="1314868" y="5346839"/>
            <a:ext cx="6383509" cy="985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108000" bIns="36000" rtlCol="0" anchor="t"/>
          <a:lstStyle/>
          <a:p>
            <a:pPr marL="216000"/>
            <a:br>
              <a:rPr lang="da-DK" sz="1300" noProof="0">
                <a:solidFill>
                  <a:schemeClr val="tx1"/>
                </a:solidFill>
                <a:latin typeface="Quicksand" panose="020B0604020202020204" charset="0"/>
              </a:rPr>
            </a:br>
            <a:endParaRPr lang="da-DK" sz="1300" noProof="0">
              <a:solidFill>
                <a:schemeClr val="tx1"/>
              </a:solidFill>
              <a:latin typeface="Quicksand" panose="020B0604020202020204" charset="0"/>
            </a:endParaRPr>
          </a:p>
          <a:p>
            <a:pPr marL="216000"/>
            <a:endParaRPr lang="da-DK" sz="1500">
              <a:solidFill>
                <a:schemeClr val="tx1"/>
              </a:solidFill>
              <a:latin typeface="Quicksand" panose="020B0604020202020204" charset="0"/>
            </a:endParaRPr>
          </a:p>
        </p:txBody>
      </p:sp>
      <p:sp>
        <p:nvSpPr>
          <p:cNvPr id="10" name="TextBox 9">
            <a:extLst>
              <a:ext uri="{FF2B5EF4-FFF2-40B4-BE49-F238E27FC236}">
                <a16:creationId xmlns:a16="http://schemas.microsoft.com/office/drawing/2014/main" id="{7FC7C9EA-51B5-3019-D0B8-715E7ABA2022}"/>
              </a:ext>
            </a:extLst>
          </p:cNvPr>
          <p:cNvSpPr txBox="1"/>
          <p:nvPr/>
        </p:nvSpPr>
        <p:spPr>
          <a:xfrm>
            <a:off x="1400822" y="5538415"/>
            <a:ext cx="5803312" cy="615553"/>
          </a:xfrm>
          <a:prstGeom prst="rect">
            <a:avLst/>
          </a:prstGeom>
          <a:noFill/>
        </p:spPr>
        <p:txBody>
          <a:bodyPr wrap="square" lIns="0" tIns="0" rIns="0" bIns="0" rtlCol="0">
            <a:spAutoFit/>
          </a:bodyPr>
          <a:lstStyle/>
          <a:p>
            <a:pPr algn="ctr"/>
            <a:r>
              <a:rPr lang="da-DK" sz="2000" b="1" dirty="0">
                <a:latin typeface="Amatic SC" panose="00000500000000000000" pitchFamily="2" charset="-79"/>
                <a:cs typeface="Amatic SC" panose="00000500000000000000" pitchFamily="2" charset="-79"/>
              </a:rPr>
              <a:t>Læs to eksempler på prøvehandlinger fra praksis på de næste slides, </a:t>
            </a:r>
            <a:br>
              <a:rPr lang="da-DK" sz="2000" b="1" dirty="0">
                <a:latin typeface="Amatic SC" panose="00000500000000000000" pitchFamily="2" charset="-79"/>
                <a:cs typeface="Amatic SC" panose="00000500000000000000" pitchFamily="2" charset="-79"/>
              </a:rPr>
            </a:br>
            <a:r>
              <a:rPr lang="da-DK" sz="2000" b="1" dirty="0">
                <a:latin typeface="Amatic SC" panose="00000500000000000000" pitchFamily="2" charset="-79"/>
                <a:cs typeface="Amatic SC" panose="00000500000000000000" pitchFamily="2" charset="-79"/>
              </a:rPr>
              <a:t>herunder hvilke fordele og ulemper der knytter sig til prøvehandlingerne </a:t>
            </a:r>
            <a:endParaRPr lang="da-DK" sz="2000" b="1" dirty="0">
              <a:solidFill>
                <a:schemeClr val="accent2"/>
              </a:solidFill>
              <a:latin typeface="Amatic SC" panose="00000500000000000000" pitchFamily="2" charset="-79"/>
              <a:cs typeface="Amatic SC" panose="00000500000000000000" pitchFamily="2" charset="-79"/>
            </a:endParaRPr>
          </a:p>
        </p:txBody>
      </p:sp>
      <p:sp>
        <p:nvSpPr>
          <p:cNvPr id="17" name="L-Shape 16">
            <a:extLst>
              <a:ext uri="{FF2B5EF4-FFF2-40B4-BE49-F238E27FC236}">
                <a16:creationId xmlns:a16="http://schemas.microsoft.com/office/drawing/2014/main" id="{AB2CC698-0D54-0900-76BA-C6AB6CE51FDC}"/>
              </a:ext>
            </a:extLst>
          </p:cNvPr>
          <p:cNvSpPr/>
          <p:nvPr/>
        </p:nvSpPr>
        <p:spPr>
          <a:xfrm rot="13500000">
            <a:off x="7139978" y="5695809"/>
            <a:ext cx="300219" cy="300219"/>
          </a:xfrm>
          <a:prstGeom prst="corner">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1991" tIns="35995" rIns="71991" bIns="35995" rtlCol="0" anchor="ctr"/>
          <a:lstStyle/>
          <a:p>
            <a:pPr algn="ctr"/>
            <a:endParaRPr lang="da-DK" sz="2000" err="1">
              <a:solidFill>
                <a:schemeClr val="tx1">
                  <a:lumMod val="65000"/>
                  <a:lumOff val="35000"/>
                </a:schemeClr>
              </a:solidFill>
            </a:endParaRPr>
          </a:p>
        </p:txBody>
      </p:sp>
    </p:spTree>
    <p:extLst>
      <p:ext uri="{BB962C8B-B14F-4D97-AF65-F5344CB8AC3E}">
        <p14:creationId xmlns:p14="http://schemas.microsoft.com/office/powerpoint/2010/main" val="34098527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3145FA1B-B96F-7369-ACD2-7EEE40ACD2F5}"/>
              </a:ext>
            </a:extLst>
          </p:cNvPr>
          <p:cNvSpPr/>
          <p:nvPr/>
        </p:nvSpPr>
        <p:spPr>
          <a:xfrm>
            <a:off x="379891" y="4304619"/>
            <a:ext cx="4625953" cy="46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a:ln>
                  <a:noFill/>
                </a:ln>
                <a:solidFill>
                  <a:srgbClr val="FFFFFF"/>
                </a:solidFill>
                <a:effectLst/>
                <a:uLnTx/>
                <a:uFillTx/>
                <a:latin typeface="Amatic SC" panose="00000500000000000000" pitchFamily="2" charset="-79"/>
                <a:ea typeface="+mn-ea"/>
                <a:cs typeface="Amatic SC" panose="00000500000000000000" pitchFamily="2" charset="-79"/>
              </a:rPr>
              <a:t>Pædagogisk personales oplevelse af prøvehandlingen</a:t>
            </a:r>
          </a:p>
        </p:txBody>
      </p:sp>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Google Shape;846;p29">
            <a:extLst>
              <a:ext uri="{FF2B5EF4-FFF2-40B4-BE49-F238E27FC236}">
                <a16:creationId xmlns:a16="http://schemas.microsoft.com/office/drawing/2014/main" id="{EDA2C9DA-AA0E-4900-AD2F-E52580846E8D}"/>
              </a:ext>
            </a:extLst>
          </p:cNvPr>
          <p:cNvSpPr/>
          <p:nvPr/>
        </p:nvSpPr>
        <p:spPr>
          <a:xfrm>
            <a:off x="-1" y="347862"/>
            <a:ext cx="12192000" cy="1019120"/>
          </a:xfrm>
          <a:prstGeom prst="homePlate">
            <a:avLst>
              <a:gd name="adj" fmla="val 50000"/>
            </a:avLst>
          </a:prstGeom>
          <a:solidFill>
            <a:schemeClr val="accent2"/>
          </a:solidFill>
          <a:ln>
            <a:noFill/>
          </a:ln>
        </p:spPr>
        <p:txBody>
          <a:bodyPr spcFirstLastPara="1" wrap="square" lIns="396000"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3200" b="1" dirty="0">
                <a:solidFill>
                  <a:srgbClr val="FFFFFF"/>
                </a:solidFill>
                <a:latin typeface="Amatic SC"/>
                <a:ea typeface="Amatic SC"/>
                <a:cs typeface="Amatic SC"/>
                <a:sym typeface="Amatic SC"/>
              </a:rPr>
              <a:t>PRØVEHANDLING: Fortællinger der inspirerer</a:t>
            </a:r>
            <a:endParaRPr kumimoji="0" lang="da-DK" sz="3200" b="0" i="0" u="none" strike="noStrike" kern="1200" cap="none" spc="0" normalizeH="0" baseline="0" noProof="0" dirty="0">
              <a:ln>
                <a:noFill/>
              </a:ln>
              <a:solidFill>
                <a:srgbClr val="FFFFFF"/>
              </a:solidFill>
              <a:effectLst/>
              <a:uLnTx/>
              <a:uFillTx/>
              <a:latin typeface="Amatic SC"/>
              <a:ea typeface="Amatic SC"/>
              <a:cs typeface="Amatic SC"/>
              <a:sym typeface="Amatic SC"/>
            </a:endParaRPr>
          </a:p>
        </p:txBody>
      </p:sp>
      <p:sp>
        <p:nvSpPr>
          <p:cNvPr id="8" name="Google Shape;843;p29">
            <a:extLst>
              <a:ext uri="{FF2B5EF4-FFF2-40B4-BE49-F238E27FC236}">
                <a16:creationId xmlns:a16="http://schemas.microsoft.com/office/drawing/2014/main" id="{D6EA5456-0CB2-8E0E-7AC9-5AB93FF3B9E0}"/>
              </a:ext>
            </a:extLst>
          </p:cNvPr>
          <p:cNvSpPr/>
          <p:nvPr/>
        </p:nvSpPr>
        <p:spPr>
          <a:xfrm>
            <a:off x="11591636" y="347492"/>
            <a:ext cx="600363" cy="1019120"/>
          </a:xfrm>
          <a:prstGeom prst="rect">
            <a:avLst/>
          </a:prstGeom>
          <a:solidFill>
            <a:schemeClr val="accent2"/>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400" b="0" i="0" u="none" strike="noStrike" kern="1200" cap="none" spc="0" normalizeH="0" baseline="0" noProof="0">
              <a:ln>
                <a:noFill/>
              </a:ln>
              <a:solidFill>
                <a:srgbClr val="273F68"/>
              </a:solidFill>
              <a:effectLst/>
              <a:uLnTx/>
              <a:uFillTx/>
              <a:latin typeface="Amatic SC"/>
              <a:ea typeface="Amatic SC"/>
              <a:cs typeface="Amatic SC"/>
              <a:sym typeface="Amatic SC"/>
            </a:endParaRPr>
          </a:p>
        </p:txBody>
      </p:sp>
      <p:sp>
        <p:nvSpPr>
          <p:cNvPr id="18" name="Rectangle 17">
            <a:extLst>
              <a:ext uri="{FF2B5EF4-FFF2-40B4-BE49-F238E27FC236}">
                <a16:creationId xmlns:a16="http://schemas.microsoft.com/office/drawing/2014/main" id="{526774FC-7168-B452-1C3A-CE2AA2BDF032}"/>
              </a:ext>
            </a:extLst>
          </p:cNvPr>
          <p:cNvSpPr/>
          <p:nvPr/>
        </p:nvSpPr>
        <p:spPr>
          <a:xfrm>
            <a:off x="379891" y="2009149"/>
            <a:ext cx="4625955" cy="204904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80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rPr>
              <a:t>I begyndelsen af hver dansktime sætter pædagogisk personale sig sammen med eleverne i en rundkreds. Læreren starter med at fortælle en personlig historie, fx om lærerens relation til eleverne, som giver eleverne et indtryk af, hvem læreren er, og som skal bidrage til at skabe en mere autentisk relation mellem læreren og eleverne. Derefter vælger en elev en genstand fra inspirationskassen (fx solbriller, spillekort eller en kasket) og starter en fortælling med afsæt i inspirationsgenstanden ud fra fri fantasi. Derefter skal andre elever digte videre på samme historie ved at række hånden op, trække en genstand fra kassen og fortælle ud fra d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da-DK" sz="1600" b="0" i="0" u="none" strike="noStrike" kern="1200" cap="none" spc="0" normalizeH="0" baseline="0" noProof="0" dirty="0">
              <a:ln>
                <a:noFill/>
              </a:ln>
              <a:solidFill>
                <a:srgbClr val="273F68"/>
              </a:solidFill>
              <a:effectLst/>
              <a:uLnTx/>
              <a:uFillTx/>
              <a:latin typeface="Quicksand" panose="020B0604020202020204" charset="0"/>
              <a:ea typeface="+mn-ea"/>
              <a:cs typeface="+mn-cs"/>
            </a:endParaRPr>
          </a:p>
        </p:txBody>
      </p:sp>
      <p:sp>
        <p:nvSpPr>
          <p:cNvPr id="2" name="Speech Bubble: Rectangle with Corners Rounded 1">
            <a:extLst>
              <a:ext uri="{FF2B5EF4-FFF2-40B4-BE49-F238E27FC236}">
                <a16:creationId xmlns:a16="http://schemas.microsoft.com/office/drawing/2014/main" id="{4379BBF6-60E8-DC54-B306-4CDD7FDC773F}"/>
              </a:ext>
            </a:extLst>
          </p:cNvPr>
          <p:cNvSpPr/>
          <p:nvPr/>
        </p:nvSpPr>
        <p:spPr>
          <a:xfrm>
            <a:off x="5490067" y="3856059"/>
            <a:ext cx="2372258" cy="1105435"/>
          </a:xfrm>
          <a:prstGeom prst="wedgeRoundRectCallout">
            <a:avLst>
              <a:gd name="adj1" fmla="val 58948"/>
              <a:gd name="adj2" fmla="val 10055"/>
              <a:gd name="adj3" fmla="val 16667"/>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defRPr/>
            </a:pPr>
            <a:r>
              <a:rPr lang="da-DK" sz="1200">
                <a:solidFill>
                  <a:srgbClr val="273F68"/>
                </a:solidFill>
                <a:latin typeface="Quicksand" panose="020B0604020202020204" charset="0"/>
                <a:ea typeface="Verdana"/>
                <a:cs typeface="Quicksand" panose="020B0604020202020204" charset="0"/>
              </a:rPr>
              <a:t>Min lærer</a:t>
            </a:r>
            <a:r>
              <a:rPr kumimoji="0" lang="da-DK" sz="1200" b="0" i="0" u="none" strike="noStrike" kern="1200" cap="none" spc="0" normalizeH="0" baseline="0" noProof="0">
                <a:ln>
                  <a:noFill/>
                </a:ln>
                <a:solidFill>
                  <a:srgbClr val="273F68"/>
                </a:solidFill>
                <a:effectLst/>
                <a:uLnTx/>
                <a:uFillTx/>
                <a:latin typeface="Quicksand" panose="020B0604020202020204" charset="0"/>
                <a:ea typeface="Verdana"/>
                <a:cs typeface="Quicksand" panose="020B0604020202020204" charset="0"/>
              </a:rPr>
              <a:t> har fundet ud af, at hvis jeg skal lave en historie, skal jeg have inspiration, og så kan jeg skrive og digte videre hele dagen.</a:t>
            </a:r>
          </a:p>
        </p:txBody>
      </p:sp>
      <p:sp>
        <p:nvSpPr>
          <p:cNvPr id="3" name="Speech Bubble: Rectangle with Corners Rounded 2">
            <a:extLst>
              <a:ext uri="{FF2B5EF4-FFF2-40B4-BE49-F238E27FC236}">
                <a16:creationId xmlns:a16="http://schemas.microsoft.com/office/drawing/2014/main" id="{66A4C020-7D4B-0EF3-2796-68352BB41E57}"/>
              </a:ext>
            </a:extLst>
          </p:cNvPr>
          <p:cNvSpPr/>
          <p:nvPr/>
        </p:nvSpPr>
        <p:spPr>
          <a:xfrm>
            <a:off x="7929332" y="4952015"/>
            <a:ext cx="3299278" cy="1161983"/>
          </a:xfrm>
          <a:prstGeom prst="wedgeRoundRectCallout">
            <a:avLst>
              <a:gd name="adj1" fmla="val 4797"/>
              <a:gd name="adj2" fmla="val -64130"/>
              <a:gd name="adj3" fmla="val 16667"/>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defRPr/>
            </a:pPr>
            <a:r>
              <a:rPr lang="da-DK" sz="1200" dirty="0">
                <a:solidFill>
                  <a:srgbClr val="273F68"/>
                </a:solidFill>
                <a:latin typeface="Quicksand" panose="020B0604020202020204" charset="0"/>
                <a:ea typeface="Verdana"/>
                <a:cs typeface="Quicksand" panose="020B0604020202020204" charset="0"/>
              </a:rPr>
              <a:t>Nu,</a:t>
            </a:r>
            <a:r>
              <a:rPr kumimoji="0" lang="da-DK" sz="1200" b="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rPr>
              <a:t> hvor vi har fået lov til det her, som er meget sjovere, så deltager </a:t>
            </a:r>
            <a:r>
              <a:rPr lang="da-DK" sz="1200" dirty="0">
                <a:solidFill>
                  <a:srgbClr val="273F68"/>
                </a:solidFill>
                <a:latin typeface="Quicksand" panose="020B0604020202020204" charset="0"/>
                <a:ea typeface="Verdana"/>
                <a:cs typeface="Quicksand" panose="020B0604020202020204" charset="0"/>
              </a:rPr>
              <a:t>drengene </a:t>
            </a:r>
            <a:r>
              <a:rPr kumimoji="0" lang="da-DK" sz="1200" b="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rPr>
              <a:t>meget mere. Det er blevet sjovere, fordi vi finder på ideer, der er lidt skøre, og når vi enes i dem, bliver vores historier sjove.</a:t>
            </a:r>
          </a:p>
        </p:txBody>
      </p:sp>
      <p:sp>
        <p:nvSpPr>
          <p:cNvPr id="4" name="Speech Bubble: Rectangle with Corners Rounded 3">
            <a:extLst>
              <a:ext uri="{FF2B5EF4-FFF2-40B4-BE49-F238E27FC236}">
                <a16:creationId xmlns:a16="http://schemas.microsoft.com/office/drawing/2014/main" id="{60C569FB-1B61-E651-911E-9BD2FDF88798}"/>
              </a:ext>
            </a:extLst>
          </p:cNvPr>
          <p:cNvSpPr/>
          <p:nvPr/>
        </p:nvSpPr>
        <p:spPr>
          <a:xfrm>
            <a:off x="9578971" y="2299759"/>
            <a:ext cx="2153081" cy="1690322"/>
          </a:xfrm>
          <a:prstGeom prst="wedgeRoundRectCallout">
            <a:avLst>
              <a:gd name="adj1" fmla="val -39952"/>
              <a:gd name="adj2" fmla="val 60220"/>
              <a:gd name="adj3" fmla="val 16667"/>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273F68"/>
                </a:solidFill>
                <a:effectLst/>
                <a:uLnTx/>
                <a:uFillTx/>
                <a:latin typeface="Quicksand" panose="020B0604020202020204" charset="0"/>
                <a:ea typeface="Verdana"/>
                <a:cs typeface="Quicksand" panose="020B0604020202020204" charset="0"/>
              </a:rPr>
              <a:t> Det går meget bedre med </a:t>
            </a:r>
            <a:r>
              <a:rPr lang="da-DK" sz="1200">
                <a:solidFill>
                  <a:srgbClr val="273F68"/>
                </a:solidFill>
                <a:latin typeface="Quicksand" panose="020B0604020202020204" charset="0"/>
                <a:ea typeface="Verdana"/>
                <a:cs typeface="Quicksand" panose="020B0604020202020204" charset="0"/>
              </a:rPr>
              <a:t>undervisningen, når vi laver</a:t>
            </a:r>
            <a:r>
              <a:rPr kumimoji="0" lang="da-DK" sz="1200" b="0" i="0" u="none" strike="noStrike" kern="1200" cap="none" spc="0" normalizeH="0" baseline="0" noProof="0">
                <a:ln>
                  <a:noFill/>
                </a:ln>
                <a:solidFill>
                  <a:srgbClr val="273F68"/>
                </a:solidFill>
                <a:effectLst/>
                <a:uLnTx/>
                <a:uFillTx/>
                <a:latin typeface="Quicksand" panose="020B0604020202020204" charset="0"/>
                <a:ea typeface="Verdana"/>
                <a:cs typeface="Quicksand" panose="020B0604020202020204" charset="0"/>
              </a:rPr>
              <a:t> fortællinger. Vi starter ud med noget sjovt. Jeg er en af dem, der sjældent deltager, men jeg havde hånden oppe i dag, fordi det er sjovt at lave fortællinger.</a:t>
            </a:r>
          </a:p>
        </p:txBody>
      </p:sp>
      <p:sp>
        <p:nvSpPr>
          <p:cNvPr id="7" name="Speech Bubble: Rectangle with Corners Rounded 6">
            <a:extLst>
              <a:ext uri="{FF2B5EF4-FFF2-40B4-BE49-F238E27FC236}">
                <a16:creationId xmlns:a16="http://schemas.microsoft.com/office/drawing/2014/main" id="{DB60C9A4-81FB-4A80-505B-87F2EB739FE2}"/>
              </a:ext>
            </a:extLst>
          </p:cNvPr>
          <p:cNvSpPr/>
          <p:nvPr/>
        </p:nvSpPr>
        <p:spPr>
          <a:xfrm>
            <a:off x="6176506" y="2194879"/>
            <a:ext cx="3080685" cy="1098500"/>
          </a:xfrm>
          <a:prstGeom prst="wedgeRoundRectCallout">
            <a:avLst>
              <a:gd name="adj1" fmla="val -568"/>
              <a:gd name="adj2" fmla="val 71646"/>
              <a:gd name="adj3" fmla="val 16667"/>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defRPr/>
            </a:pPr>
            <a:r>
              <a:rPr kumimoji="0" lang="da-DK" sz="1200" b="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rPr>
              <a:t>Jeg synes, fortællingerne starter sjovt, og så bliver det mindre sjovt. Men jeg kan godt lide, at næsten alle er med til at lave fortællingerne.</a:t>
            </a:r>
          </a:p>
        </p:txBody>
      </p:sp>
      <p:sp>
        <p:nvSpPr>
          <p:cNvPr id="22" name="TextBox 21">
            <a:extLst>
              <a:ext uri="{FF2B5EF4-FFF2-40B4-BE49-F238E27FC236}">
                <a16:creationId xmlns:a16="http://schemas.microsoft.com/office/drawing/2014/main" id="{E8FD781D-DED9-00D0-C549-8451B0037B8D}"/>
              </a:ext>
            </a:extLst>
          </p:cNvPr>
          <p:cNvSpPr txBox="1"/>
          <p:nvPr/>
        </p:nvSpPr>
        <p:spPr>
          <a:xfrm>
            <a:off x="5005848" y="1547483"/>
            <a:ext cx="61722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2400" b="1" dirty="0">
                <a:latin typeface="Amatic SC" panose="00000500000000000000" pitchFamily="2" charset="-79"/>
                <a:cs typeface="Amatic SC" panose="00000500000000000000" pitchFamily="2" charset="-79"/>
              </a:rPr>
              <a:t>Elevernes oplevelse af Prøvehandlingen</a:t>
            </a:r>
          </a:p>
        </p:txBody>
      </p:sp>
      <p:pic>
        <p:nvPicPr>
          <p:cNvPr id="24" name="Graphic 23" descr="Children outline">
            <a:extLst>
              <a:ext uri="{FF2B5EF4-FFF2-40B4-BE49-F238E27FC236}">
                <a16:creationId xmlns:a16="http://schemas.microsoft.com/office/drawing/2014/main" id="{448727AA-7FC7-1182-FA1A-D7CE49637B3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23215" y="3429000"/>
            <a:ext cx="1555757" cy="1555757"/>
          </a:xfrm>
          <a:prstGeom prst="rect">
            <a:avLst/>
          </a:prstGeom>
        </p:spPr>
      </p:pic>
      <p:cxnSp>
        <p:nvCxnSpPr>
          <p:cNvPr id="28" name="Connector: Curved 27">
            <a:extLst>
              <a:ext uri="{FF2B5EF4-FFF2-40B4-BE49-F238E27FC236}">
                <a16:creationId xmlns:a16="http://schemas.microsoft.com/office/drawing/2014/main" id="{D751E972-DBDB-3147-5E54-B241C812007B}"/>
              </a:ext>
            </a:extLst>
          </p:cNvPr>
          <p:cNvCxnSpPr>
            <a:cxnSpLocks/>
          </p:cNvCxnSpPr>
          <p:nvPr/>
        </p:nvCxnSpPr>
        <p:spPr>
          <a:xfrm rot="10800000" flipH="1" flipV="1">
            <a:off x="379893" y="1941526"/>
            <a:ext cx="9406" cy="2529362"/>
          </a:xfrm>
          <a:prstGeom prst="curvedConnector3">
            <a:avLst>
              <a:gd name="adj1" fmla="val -2430364"/>
            </a:avLst>
          </a:prstGeom>
          <a:ln w="63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Connector: Curved 28">
            <a:extLst>
              <a:ext uri="{FF2B5EF4-FFF2-40B4-BE49-F238E27FC236}">
                <a16:creationId xmlns:a16="http://schemas.microsoft.com/office/drawing/2014/main" id="{00E46C4C-9FDE-FD02-3611-A62F7E140DFF}"/>
              </a:ext>
            </a:extLst>
          </p:cNvPr>
          <p:cNvCxnSpPr>
            <a:cxnSpLocks/>
          </p:cNvCxnSpPr>
          <p:nvPr/>
        </p:nvCxnSpPr>
        <p:spPr>
          <a:xfrm flipV="1">
            <a:off x="4827949" y="1837946"/>
            <a:ext cx="1374272" cy="2632942"/>
          </a:xfrm>
          <a:prstGeom prst="curvedConnector3">
            <a:avLst>
              <a:gd name="adj1" fmla="val 32574"/>
            </a:avLst>
          </a:prstGeom>
          <a:ln w="63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6" name="Rectangle 17">
            <a:extLst>
              <a:ext uri="{FF2B5EF4-FFF2-40B4-BE49-F238E27FC236}">
                <a16:creationId xmlns:a16="http://schemas.microsoft.com/office/drawing/2014/main" id="{ED0E556E-414E-CC90-E578-2D5844DCF0AE}"/>
              </a:ext>
            </a:extLst>
          </p:cNvPr>
          <p:cNvSpPr/>
          <p:nvPr/>
        </p:nvSpPr>
        <p:spPr>
          <a:xfrm>
            <a:off x="379891" y="4740276"/>
            <a:ext cx="4625955" cy="116373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80000" rtlCol="0" anchor="t"/>
          <a:lstStyle/>
          <a:p>
            <a:pPr lvl="0">
              <a:defRPr/>
            </a:pPr>
            <a:r>
              <a:rPr lang="da-DK" sz="1200" dirty="0">
                <a:solidFill>
                  <a:srgbClr val="273F68"/>
                </a:solidFill>
                <a:latin typeface="Quicksand" panose="020B0604020202020204" charset="0"/>
                <a:ea typeface="Verdana"/>
                <a:cs typeface="Quicksand" panose="020B0604020202020204" charset="0"/>
              </a:rPr>
              <a:t>Ifølge pædagogisk personale har prøvehandlingen bidraget til, at eleverne føler sig mere trygge ved at tale foran hinanden og læreren. De oplever desuden, at klassens sociale og faglige fællesskab er styrket, fordi timen starter med, at alle elever får taletid og føler sig inkluderet og hørt. </a:t>
            </a:r>
          </a:p>
        </p:txBody>
      </p:sp>
      <p:sp>
        <p:nvSpPr>
          <p:cNvPr id="9" name="Rectangle 18">
            <a:extLst>
              <a:ext uri="{FF2B5EF4-FFF2-40B4-BE49-F238E27FC236}">
                <a16:creationId xmlns:a16="http://schemas.microsoft.com/office/drawing/2014/main" id="{0B357C9C-2C54-5FFD-CB97-3E1188BBEECC}"/>
              </a:ext>
            </a:extLst>
          </p:cNvPr>
          <p:cNvSpPr/>
          <p:nvPr/>
        </p:nvSpPr>
        <p:spPr>
          <a:xfrm>
            <a:off x="379893" y="1547483"/>
            <a:ext cx="4625951" cy="46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a:ln>
                  <a:noFill/>
                </a:ln>
                <a:solidFill>
                  <a:srgbClr val="FFFFFF"/>
                </a:solidFill>
                <a:effectLst/>
                <a:uLnTx/>
                <a:uFillTx/>
                <a:latin typeface="Amatic SC" panose="00000500000000000000" pitchFamily="2" charset="-79"/>
                <a:ea typeface="+mn-ea"/>
                <a:cs typeface="Amatic SC" panose="00000500000000000000" pitchFamily="2" charset="-79"/>
              </a:rPr>
              <a:t>Beskrivelse af prøvehandling</a:t>
            </a:r>
          </a:p>
        </p:txBody>
      </p:sp>
    </p:spTree>
    <p:extLst>
      <p:ext uri="{BB962C8B-B14F-4D97-AF65-F5344CB8AC3E}">
        <p14:creationId xmlns:p14="http://schemas.microsoft.com/office/powerpoint/2010/main" val="3251027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3145FA1B-B96F-7369-ACD2-7EEE40ACD2F5}"/>
              </a:ext>
            </a:extLst>
          </p:cNvPr>
          <p:cNvSpPr/>
          <p:nvPr/>
        </p:nvSpPr>
        <p:spPr>
          <a:xfrm>
            <a:off x="379891" y="4188496"/>
            <a:ext cx="4625955" cy="46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a:ln>
                  <a:noFill/>
                </a:ln>
                <a:solidFill>
                  <a:srgbClr val="FFFFFF"/>
                </a:solidFill>
                <a:effectLst/>
                <a:uLnTx/>
                <a:uFillTx/>
                <a:latin typeface="Amatic SC" panose="00000500000000000000" pitchFamily="2" charset="-79"/>
                <a:ea typeface="+mn-ea"/>
                <a:cs typeface="Amatic SC" panose="00000500000000000000" pitchFamily="2" charset="-79"/>
              </a:rPr>
              <a:t>Pædagogisk personales oplevelse af prøvehandlingen</a:t>
            </a:r>
          </a:p>
        </p:txBody>
      </p:sp>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Google Shape;846;p29">
            <a:extLst>
              <a:ext uri="{FF2B5EF4-FFF2-40B4-BE49-F238E27FC236}">
                <a16:creationId xmlns:a16="http://schemas.microsoft.com/office/drawing/2014/main" id="{EDA2C9DA-AA0E-4900-AD2F-E52580846E8D}"/>
              </a:ext>
            </a:extLst>
          </p:cNvPr>
          <p:cNvSpPr/>
          <p:nvPr/>
        </p:nvSpPr>
        <p:spPr>
          <a:xfrm>
            <a:off x="-1" y="347862"/>
            <a:ext cx="12192000" cy="1019120"/>
          </a:xfrm>
          <a:prstGeom prst="homePlate">
            <a:avLst>
              <a:gd name="adj" fmla="val 50000"/>
            </a:avLst>
          </a:prstGeom>
          <a:solidFill>
            <a:schemeClr val="accent2"/>
          </a:solidFill>
          <a:ln>
            <a:noFill/>
          </a:ln>
        </p:spPr>
        <p:txBody>
          <a:bodyPr spcFirstLastPara="1" wrap="square" lIns="396000"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3200" b="1" dirty="0">
                <a:solidFill>
                  <a:srgbClr val="FFFFFF"/>
                </a:solidFill>
                <a:latin typeface="Amatic SC"/>
                <a:ea typeface="Amatic SC"/>
                <a:cs typeface="Amatic SC"/>
                <a:sym typeface="Amatic SC"/>
              </a:rPr>
              <a:t>PRØVEHANDLING: </a:t>
            </a:r>
            <a:r>
              <a:rPr lang="da-DK" sz="3200" b="1" dirty="0" err="1">
                <a:solidFill>
                  <a:srgbClr val="FFFFFF"/>
                </a:solidFill>
                <a:latin typeface="Amatic SC"/>
                <a:ea typeface="Amatic SC"/>
                <a:cs typeface="Amatic SC"/>
                <a:sym typeface="Amatic SC"/>
              </a:rPr>
              <a:t>Dimlekassen</a:t>
            </a:r>
            <a:endParaRPr kumimoji="0" lang="da-DK" sz="3200" b="0" i="0" u="none" strike="noStrike" kern="1200" cap="none" spc="0" normalizeH="0" baseline="0" noProof="0" dirty="0">
              <a:ln>
                <a:noFill/>
              </a:ln>
              <a:solidFill>
                <a:srgbClr val="FFFFFF"/>
              </a:solidFill>
              <a:effectLst/>
              <a:uLnTx/>
              <a:uFillTx/>
              <a:latin typeface="Amatic SC"/>
              <a:ea typeface="Amatic SC"/>
              <a:cs typeface="Amatic SC"/>
              <a:sym typeface="Amatic SC"/>
            </a:endParaRPr>
          </a:p>
        </p:txBody>
      </p:sp>
      <p:sp>
        <p:nvSpPr>
          <p:cNvPr id="8" name="Google Shape;843;p29">
            <a:extLst>
              <a:ext uri="{FF2B5EF4-FFF2-40B4-BE49-F238E27FC236}">
                <a16:creationId xmlns:a16="http://schemas.microsoft.com/office/drawing/2014/main" id="{D6EA5456-0CB2-8E0E-7AC9-5AB93FF3B9E0}"/>
              </a:ext>
            </a:extLst>
          </p:cNvPr>
          <p:cNvSpPr/>
          <p:nvPr/>
        </p:nvSpPr>
        <p:spPr>
          <a:xfrm>
            <a:off x="11591636" y="347492"/>
            <a:ext cx="600363" cy="1019120"/>
          </a:xfrm>
          <a:prstGeom prst="rect">
            <a:avLst/>
          </a:prstGeom>
          <a:solidFill>
            <a:schemeClr val="accent2"/>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400" b="0" i="0" u="none" strike="noStrike" kern="1200" cap="none" spc="0" normalizeH="0" baseline="0" noProof="0">
              <a:ln>
                <a:noFill/>
              </a:ln>
              <a:solidFill>
                <a:srgbClr val="273F68"/>
              </a:solidFill>
              <a:effectLst/>
              <a:uLnTx/>
              <a:uFillTx/>
              <a:latin typeface="Amatic SC"/>
              <a:ea typeface="Amatic SC"/>
              <a:cs typeface="Amatic SC"/>
              <a:sym typeface="Amatic SC"/>
            </a:endParaRPr>
          </a:p>
        </p:txBody>
      </p:sp>
      <p:sp>
        <p:nvSpPr>
          <p:cNvPr id="19" name="Rectangle 18">
            <a:extLst>
              <a:ext uri="{FF2B5EF4-FFF2-40B4-BE49-F238E27FC236}">
                <a16:creationId xmlns:a16="http://schemas.microsoft.com/office/drawing/2014/main" id="{2084E13D-5023-B079-50DF-AEA592AE38C2}"/>
              </a:ext>
            </a:extLst>
          </p:cNvPr>
          <p:cNvSpPr/>
          <p:nvPr/>
        </p:nvSpPr>
        <p:spPr>
          <a:xfrm>
            <a:off x="379893" y="1547483"/>
            <a:ext cx="4625953" cy="46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a:ln>
                  <a:noFill/>
                </a:ln>
                <a:solidFill>
                  <a:srgbClr val="FFFFFF"/>
                </a:solidFill>
                <a:effectLst/>
                <a:uLnTx/>
                <a:uFillTx/>
                <a:latin typeface="Amatic SC" panose="00000500000000000000" pitchFamily="2" charset="-79"/>
                <a:ea typeface="+mn-ea"/>
                <a:cs typeface="Amatic SC" panose="00000500000000000000" pitchFamily="2" charset="-79"/>
              </a:rPr>
              <a:t>Beskrivelse af prøvehandling</a:t>
            </a:r>
          </a:p>
        </p:txBody>
      </p:sp>
      <p:sp>
        <p:nvSpPr>
          <p:cNvPr id="2" name="Speech Bubble: Rectangle with Corners Rounded 1">
            <a:extLst>
              <a:ext uri="{FF2B5EF4-FFF2-40B4-BE49-F238E27FC236}">
                <a16:creationId xmlns:a16="http://schemas.microsoft.com/office/drawing/2014/main" id="{4379BBF6-60E8-DC54-B306-4CDD7FDC773F}"/>
              </a:ext>
            </a:extLst>
          </p:cNvPr>
          <p:cNvSpPr/>
          <p:nvPr/>
        </p:nvSpPr>
        <p:spPr>
          <a:xfrm>
            <a:off x="5490067" y="3858095"/>
            <a:ext cx="2372258" cy="1105435"/>
          </a:xfrm>
          <a:prstGeom prst="wedgeRoundRectCallout">
            <a:avLst>
              <a:gd name="adj1" fmla="val 58948"/>
              <a:gd name="adj2" fmla="val 10055"/>
              <a:gd name="adj3" fmla="val 16667"/>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defRPr/>
            </a:pPr>
            <a:r>
              <a:rPr lang="da-DK" sz="1200" dirty="0">
                <a:solidFill>
                  <a:srgbClr val="273F68"/>
                </a:solidFill>
                <a:latin typeface="quicksand" panose="020B0604020202020204"/>
                <a:ea typeface="Verdana" panose="020B0604030504040204" pitchFamily="34" charset="0"/>
                <a:cs typeface="Times New Roman" panose="02020603050405020304" pitchFamily="18" charset="0"/>
              </a:rPr>
              <a:t>Vi har </a:t>
            </a:r>
            <a:r>
              <a:rPr lang="da-DK" sz="1200" dirty="0">
                <a:solidFill>
                  <a:srgbClr val="273F68"/>
                </a:solidFill>
                <a:effectLst/>
                <a:latin typeface="quicksand" panose="020B0604020202020204"/>
                <a:ea typeface="Verdana" panose="020B0604030504040204" pitchFamily="34" charset="0"/>
                <a:cs typeface="Times New Roman" panose="02020603050405020304" pitchFamily="18" charset="0"/>
              </a:rPr>
              <a:t>en voksen, som kommer ind og ser, om vi har brug for noget, og så får vi nogle gange en </a:t>
            </a:r>
            <a:r>
              <a:rPr lang="da-DK" sz="1200" dirty="0" err="1">
                <a:solidFill>
                  <a:srgbClr val="273F68"/>
                </a:solidFill>
                <a:effectLst/>
                <a:latin typeface="quicksand" panose="020B0604020202020204"/>
                <a:ea typeface="Verdana" panose="020B0604030504040204" pitchFamily="34" charset="0"/>
                <a:cs typeface="Times New Roman" panose="02020603050405020304" pitchFamily="18" charset="0"/>
              </a:rPr>
              <a:t>dimleting</a:t>
            </a:r>
            <a:r>
              <a:rPr lang="da-DK" sz="1200" dirty="0">
                <a:solidFill>
                  <a:srgbClr val="273F68"/>
                </a:solidFill>
                <a:effectLst/>
                <a:latin typeface="quicksand" panose="020B0604020202020204"/>
                <a:ea typeface="Verdana" panose="020B0604030504040204" pitchFamily="34" charset="0"/>
                <a:cs typeface="Times New Roman" panose="02020603050405020304" pitchFamily="18" charset="0"/>
              </a:rPr>
              <a:t> eller en til fødderne. </a:t>
            </a:r>
            <a:endParaRPr lang="da-DK" sz="1000" baseline="0" dirty="0">
              <a:solidFill>
                <a:srgbClr val="273F68"/>
              </a:solidFill>
              <a:latin typeface="quicksand" panose="020B0604020202020204"/>
            </a:endParaRPr>
          </a:p>
        </p:txBody>
      </p:sp>
      <p:sp>
        <p:nvSpPr>
          <p:cNvPr id="3" name="Speech Bubble: Rectangle with Corners Rounded 2">
            <a:extLst>
              <a:ext uri="{FF2B5EF4-FFF2-40B4-BE49-F238E27FC236}">
                <a16:creationId xmlns:a16="http://schemas.microsoft.com/office/drawing/2014/main" id="{66A4C020-7D4B-0EF3-2796-68352BB41E57}"/>
              </a:ext>
            </a:extLst>
          </p:cNvPr>
          <p:cNvSpPr/>
          <p:nvPr/>
        </p:nvSpPr>
        <p:spPr>
          <a:xfrm>
            <a:off x="8257991" y="4952015"/>
            <a:ext cx="2641959" cy="724885"/>
          </a:xfrm>
          <a:prstGeom prst="wedgeRoundRectCallout">
            <a:avLst>
              <a:gd name="adj1" fmla="val 1171"/>
              <a:gd name="adj2" fmla="val -80949"/>
              <a:gd name="adj3" fmla="val 16667"/>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defRPr/>
            </a:pPr>
            <a:r>
              <a:rPr kumimoji="0" lang="da-DK" sz="1200" b="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rPr>
              <a:t>Med </a:t>
            </a:r>
            <a:r>
              <a:rPr kumimoji="0" lang="da-DK" sz="1200" b="0" i="0" u="none" strike="noStrike" kern="1200" cap="none" spc="0" normalizeH="0" baseline="0" noProof="0" dirty="0" err="1">
                <a:ln>
                  <a:noFill/>
                </a:ln>
                <a:solidFill>
                  <a:srgbClr val="273F68"/>
                </a:solidFill>
                <a:effectLst/>
                <a:uLnTx/>
                <a:uFillTx/>
                <a:latin typeface="Quicksand" panose="020B0604020202020204" charset="0"/>
                <a:ea typeface="Verdana"/>
                <a:cs typeface="Quicksand" panose="020B0604020202020204" charset="0"/>
              </a:rPr>
              <a:t>dimlekassen</a:t>
            </a:r>
            <a:r>
              <a:rPr kumimoji="0" lang="da-DK" sz="1200" b="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rPr>
              <a:t> kan vi falde mere til ro og kigge op på læreren og lytte. </a:t>
            </a:r>
          </a:p>
        </p:txBody>
      </p:sp>
      <p:sp>
        <p:nvSpPr>
          <p:cNvPr id="4" name="Speech Bubble: Rectangle with Corners Rounded 3">
            <a:extLst>
              <a:ext uri="{FF2B5EF4-FFF2-40B4-BE49-F238E27FC236}">
                <a16:creationId xmlns:a16="http://schemas.microsoft.com/office/drawing/2014/main" id="{60C569FB-1B61-E651-911E-9BD2FDF88798}"/>
              </a:ext>
            </a:extLst>
          </p:cNvPr>
          <p:cNvSpPr/>
          <p:nvPr/>
        </p:nvSpPr>
        <p:spPr>
          <a:xfrm>
            <a:off x="9578971" y="2473597"/>
            <a:ext cx="2153081" cy="1516484"/>
          </a:xfrm>
          <a:prstGeom prst="wedgeRoundRectCallout">
            <a:avLst>
              <a:gd name="adj1" fmla="val -39952"/>
              <a:gd name="adj2" fmla="val 60220"/>
              <a:gd name="adj3" fmla="val 16667"/>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solidFill>
                  <a:srgbClr val="273F68"/>
                </a:solidFill>
                <a:latin typeface="Quicksand" panose="020B0604020202020204" charset="0"/>
                <a:ea typeface="Verdana"/>
                <a:cs typeface="Quicksand" panose="020B0604020202020204" charset="0"/>
              </a:rPr>
              <a:t>H</a:t>
            </a:r>
            <a:r>
              <a:rPr kumimoji="0" lang="da-DK" sz="1200" b="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rPr>
              <a:t>vis man vil have flere </a:t>
            </a:r>
            <a:r>
              <a:rPr kumimoji="0" lang="da-DK" sz="1200" b="0" i="0" u="none" strike="noStrike" kern="1200" cap="none" spc="0" normalizeH="0" baseline="0" noProof="0" dirty="0" err="1">
                <a:ln>
                  <a:noFill/>
                </a:ln>
                <a:solidFill>
                  <a:srgbClr val="273F68"/>
                </a:solidFill>
                <a:effectLst/>
                <a:uLnTx/>
                <a:uFillTx/>
                <a:latin typeface="Quicksand" panose="020B0604020202020204" charset="0"/>
                <a:ea typeface="Verdana"/>
                <a:cs typeface="Quicksand" panose="020B0604020202020204" charset="0"/>
              </a:rPr>
              <a:t>dimleting</a:t>
            </a:r>
            <a:r>
              <a:rPr kumimoji="0" lang="da-DK" sz="1200" b="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rPr>
              <a:t>, kan man booke et møde med lærerne, og så skal </a:t>
            </a:r>
            <a:r>
              <a:rPr lang="da-DK" sz="1200" dirty="0">
                <a:solidFill>
                  <a:srgbClr val="273F68"/>
                </a:solidFill>
                <a:latin typeface="Quicksand" panose="020B0604020202020204" charset="0"/>
                <a:ea typeface="Verdana"/>
                <a:cs typeface="Quicksand" panose="020B0604020202020204" charset="0"/>
              </a:rPr>
              <a:t>man</a:t>
            </a:r>
            <a:r>
              <a:rPr kumimoji="0" lang="da-DK" sz="1200" b="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rPr>
              <a:t> tage den </a:t>
            </a:r>
            <a:r>
              <a:rPr kumimoji="0" lang="da-DK" sz="1200" b="0" i="0" u="none" strike="noStrike" kern="1200" cap="none" spc="0" normalizeH="0" baseline="0" noProof="0" dirty="0" err="1">
                <a:ln>
                  <a:noFill/>
                </a:ln>
                <a:solidFill>
                  <a:srgbClr val="273F68"/>
                </a:solidFill>
                <a:effectLst/>
                <a:uLnTx/>
                <a:uFillTx/>
                <a:latin typeface="Quicksand" panose="020B0604020202020204" charset="0"/>
                <a:ea typeface="Verdana"/>
                <a:cs typeface="Quicksand" panose="020B0604020202020204" charset="0"/>
              </a:rPr>
              <a:t>dimleting</a:t>
            </a:r>
            <a:r>
              <a:rPr kumimoji="0" lang="da-DK" sz="1200" b="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rPr>
              <a:t> med, som </a:t>
            </a:r>
            <a:r>
              <a:rPr lang="da-DK" sz="1200" dirty="0">
                <a:solidFill>
                  <a:srgbClr val="273F68"/>
                </a:solidFill>
                <a:latin typeface="Quicksand" panose="020B0604020202020204" charset="0"/>
                <a:ea typeface="Verdana"/>
                <a:cs typeface="Quicksand" panose="020B0604020202020204" charset="0"/>
              </a:rPr>
              <a:t>man</a:t>
            </a:r>
            <a:r>
              <a:rPr kumimoji="0" lang="da-DK" sz="1200" b="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rPr>
              <a:t> gerne vil have for at berolige lidt mere.</a:t>
            </a:r>
          </a:p>
        </p:txBody>
      </p:sp>
      <p:sp>
        <p:nvSpPr>
          <p:cNvPr id="7" name="Speech Bubble: Rectangle with Corners Rounded 6">
            <a:extLst>
              <a:ext uri="{FF2B5EF4-FFF2-40B4-BE49-F238E27FC236}">
                <a16:creationId xmlns:a16="http://schemas.microsoft.com/office/drawing/2014/main" id="{DB60C9A4-81FB-4A80-505B-87F2EB739FE2}"/>
              </a:ext>
            </a:extLst>
          </p:cNvPr>
          <p:cNvSpPr/>
          <p:nvPr/>
        </p:nvSpPr>
        <p:spPr>
          <a:xfrm>
            <a:off x="6176506" y="2189649"/>
            <a:ext cx="3080685" cy="1098051"/>
          </a:xfrm>
          <a:prstGeom prst="wedgeRoundRectCallout">
            <a:avLst>
              <a:gd name="adj1" fmla="val -568"/>
              <a:gd name="adj2" fmla="val 71646"/>
              <a:gd name="adj3" fmla="val 16667"/>
            </a:avLst>
          </a:prstGeom>
          <a:solidFill>
            <a:schemeClr val="bg1"/>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defRPr/>
            </a:pPr>
            <a:r>
              <a:rPr kumimoji="0" lang="da-DK" sz="1200" b="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rPr>
              <a:t>Jeg synes, </a:t>
            </a:r>
            <a:r>
              <a:rPr kumimoji="0" lang="da-DK" sz="1200" b="0" i="0" u="none" strike="noStrike" kern="1200" cap="none" spc="0" normalizeH="0" baseline="0" noProof="0" dirty="0" err="1">
                <a:ln>
                  <a:noFill/>
                </a:ln>
                <a:solidFill>
                  <a:srgbClr val="273F68"/>
                </a:solidFill>
                <a:effectLst/>
                <a:uLnTx/>
                <a:uFillTx/>
                <a:latin typeface="Quicksand" panose="020B0604020202020204" charset="0"/>
                <a:ea typeface="Verdana"/>
                <a:cs typeface="Quicksand" panose="020B0604020202020204" charset="0"/>
              </a:rPr>
              <a:t>dimletingen</a:t>
            </a:r>
            <a:r>
              <a:rPr kumimoji="0" lang="da-DK" sz="1200" b="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rPr>
              <a:t> gør mig lidt urolig, så jeg er oppe at køre eller ikke kan sidde stille. Men vi har </a:t>
            </a:r>
            <a:r>
              <a:rPr lang="da-DK" sz="1200" dirty="0">
                <a:solidFill>
                  <a:srgbClr val="273F68"/>
                </a:solidFill>
                <a:latin typeface="Quicksand" panose="020B0604020202020204" charset="0"/>
                <a:ea typeface="Verdana"/>
                <a:cs typeface="Quicksand" panose="020B0604020202020204" charset="0"/>
              </a:rPr>
              <a:t>fået</a:t>
            </a:r>
            <a:r>
              <a:rPr kumimoji="0" lang="da-DK" sz="1200" b="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rPr>
              <a:t> </a:t>
            </a:r>
            <a:r>
              <a:rPr lang="da-DK" sz="1200" dirty="0">
                <a:solidFill>
                  <a:srgbClr val="273F68"/>
                </a:solidFill>
                <a:latin typeface="Quicksand" panose="020B0604020202020204" charset="0"/>
                <a:ea typeface="Verdana"/>
                <a:cs typeface="Quicksand" panose="020B0604020202020204" charset="0"/>
              </a:rPr>
              <a:t>en </a:t>
            </a:r>
            <a:r>
              <a:rPr lang="da-DK" sz="1200" dirty="0" err="1">
                <a:solidFill>
                  <a:srgbClr val="273F68"/>
                </a:solidFill>
                <a:latin typeface="Quicksand" panose="020B0604020202020204" charset="0"/>
                <a:ea typeface="Verdana"/>
                <a:cs typeface="Quicksand" panose="020B0604020202020204" charset="0"/>
              </a:rPr>
              <a:t>dimleting</a:t>
            </a:r>
            <a:r>
              <a:rPr lang="da-DK" sz="1200" dirty="0">
                <a:solidFill>
                  <a:srgbClr val="273F68"/>
                </a:solidFill>
                <a:latin typeface="Quicksand" panose="020B0604020202020204" charset="0"/>
                <a:ea typeface="Verdana"/>
                <a:cs typeface="Quicksand" panose="020B0604020202020204" charset="0"/>
              </a:rPr>
              <a:t>,</a:t>
            </a:r>
            <a:r>
              <a:rPr kumimoji="0" lang="da-DK" sz="1200" b="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rPr>
              <a:t> som man kan sætte sine fødder på, og den er bedst til mig</a:t>
            </a:r>
            <a:r>
              <a:rPr lang="da-DK" sz="1200" dirty="0">
                <a:solidFill>
                  <a:srgbClr val="273F68"/>
                </a:solidFill>
                <a:latin typeface="Quicksand" panose="020B0604020202020204" charset="0"/>
                <a:ea typeface="Verdana"/>
                <a:cs typeface="Quicksand" panose="020B0604020202020204" charset="0"/>
              </a:rPr>
              <a:t>.</a:t>
            </a:r>
            <a:endParaRPr kumimoji="0" lang="da-DK" sz="1200" b="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endParaRPr>
          </a:p>
        </p:txBody>
      </p:sp>
      <p:sp>
        <p:nvSpPr>
          <p:cNvPr id="22" name="TextBox 21">
            <a:extLst>
              <a:ext uri="{FF2B5EF4-FFF2-40B4-BE49-F238E27FC236}">
                <a16:creationId xmlns:a16="http://schemas.microsoft.com/office/drawing/2014/main" id="{E8FD781D-DED9-00D0-C549-8451B0037B8D}"/>
              </a:ext>
            </a:extLst>
          </p:cNvPr>
          <p:cNvSpPr txBox="1"/>
          <p:nvPr/>
        </p:nvSpPr>
        <p:spPr>
          <a:xfrm>
            <a:off x="5005848" y="1547483"/>
            <a:ext cx="61722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2400" b="1" dirty="0">
                <a:latin typeface="Amatic SC" panose="00000500000000000000" pitchFamily="2" charset="-79"/>
                <a:cs typeface="Amatic SC" panose="00000500000000000000" pitchFamily="2" charset="-79"/>
              </a:rPr>
              <a:t>Elevernes oplevelse af Prøvehandlingen</a:t>
            </a:r>
          </a:p>
        </p:txBody>
      </p:sp>
      <p:pic>
        <p:nvPicPr>
          <p:cNvPr id="24" name="Graphic 23" descr="Children outline">
            <a:extLst>
              <a:ext uri="{FF2B5EF4-FFF2-40B4-BE49-F238E27FC236}">
                <a16:creationId xmlns:a16="http://schemas.microsoft.com/office/drawing/2014/main" id="{448727AA-7FC7-1182-FA1A-D7CE49637B3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23215" y="3429000"/>
            <a:ext cx="1555757" cy="1555757"/>
          </a:xfrm>
          <a:prstGeom prst="rect">
            <a:avLst/>
          </a:prstGeom>
        </p:spPr>
      </p:pic>
      <p:cxnSp>
        <p:nvCxnSpPr>
          <p:cNvPr id="28" name="Connector: Curved 27">
            <a:extLst>
              <a:ext uri="{FF2B5EF4-FFF2-40B4-BE49-F238E27FC236}">
                <a16:creationId xmlns:a16="http://schemas.microsoft.com/office/drawing/2014/main" id="{D751E972-DBDB-3147-5E54-B241C812007B}"/>
              </a:ext>
            </a:extLst>
          </p:cNvPr>
          <p:cNvCxnSpPr>
            <a:cxnSpLocks/>
          </p:cNvCxnSpPr>
          <p:nvPr/>
        </p:nvCxnSpPr>
        <p:spPr>
          <a:xfrm rot="10800000" flipH="1" flipV="1">
            <a:off x="379893" y="1941526"/>
            <a:ext cx="9406" cy="2529362"/>
          </a:xfrm>
          <a:prstGeom prst="curvedConnector3">
            <a:avLst>
              <a:gd name="adj1" fmla="val -2430364"/>
            </a:avLst>
          </a:prstGeom>
          <a:ln w="63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Connector: Curved 28">
            <a:extLst>
              <a:ext uri="{FF2B5EF4-FFF2-40B4-BE49-F238E27FC236}">
                <a16:creationId xmlns:a16="http://schemas.microsoft.com/office/drawing/2014/main" id="{00E46C4C-9FDE-FD02-3611-A62F7E140DFF}"/>
              </a:ext>
            </a:extLst>
          </p:cNvPr>
          <p:cNvCxnSpPr>
            <a:cxnSpLocks/>
          </p:cNvCxnSpPr>
          <p:nvPr/>
        </p:nvCxnSpPr>
        <p:spPr>
          <a:xfrm flipV="1">
            <a:off x="4827949" y="1837946"/>
            <a:ext cx="1374272" cy="2632942"/>
          </a:xfrm>
          <a:prstGeom prst="curvedConnector3">
            <a:avLst>
              <a:gd name="adj1" fmla="val 32574"/>
            </a:avLst>
          </a:prstGeom>
          <a:ln w="635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9" name="Rectangle 17">
            <a:extLst>
              <a:ext uri="{FF2B5EF4-FFF2-40B4-BE49-F238E27FC236}">
                <a16:creationId xmlns:a16="http://schemas.microsoft.com/office/drawing/2014/main" id="{28D88F1D-061B-6B67-4619-0B48A27C6082}"/>
              </a:ext>
            </a:extLst>
          </p:cNvPr>
          <p:cNvSpPr/>
          <p:nvPr/>
        </p:nvSpPr>
        <p:spPr>
          <a:xfrm>
            <a:off x="379891" y="2009148"/>
            <a:ext cx="4625955" cy="193994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80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solidFill>
                  <a:srgbClr val="273F68"/>
                </a:solidFill>
                <a:latin typeface="Quicksand" panose="020B0604020202020204" charset="0"/>
                <a:ea typeface="Verdana"/>
                <a:cs typeface="Quicksand" panose="020B0604020202020204" charset="0"/>
              </a:rPr>
              <a:t>Pædagogisk personale har som en prøvehandling lavet en fælles ‘</a:t>
            </a:r>
            <a:r>
              <a:rPr lang="da-DK" sz="1200" dirty="0" err="1">
                <a:solidFill>
                  <a:srgbClr val="273F68"/>
                </a:solidFill>
                <a:latin typeface="Quicksand" panose="020B0604020202020204" charset="0"/>
                <a:ea typeface="Verdana"/>
                <a:cs typeface="Quicksand" panose="020B0604020202020204" charset="0"/>
              </a:rPr>
              <a:t>dimlekasse</a:t>
            </a:r>
            <a:r>
              <a:rPr lang="da-DK" sz="1200" dirty="0">
                <a:solidFill>
                  <a:srgbClr val="273F68"/>
                </a:solidFill>
                <a:latin typeface="Quicksand" panose="020B0604020202020204" charset="0"/>
                <a:ea typeface="Verdana"/>
                <a:cs typeface="Quicksand" panose="020B0604020202020204" charset="0"/>
              </a:rPr>
              <a:t>’, som indeholder forskellige genstande, eleverne kan sidde med for at imødekomme behovet for motorisk stimulation. I starten af timen har eleverne mulighed for skiftevis at vælge en ‘</a:t>
            </a:r>
            <a:r>
              <a:rPr lang="da-DK" sz="1200" dirty="0" err="1">
                <a:solidFill>
                  <a:srgbClr val="273F68"/>
                </a:solidFill>
                <a:latin typeface="Quicksand" panose="020B0604020202020204" charset="0"/>
                <a:ea typeface="Verdana"/>
                <a:cs typeface="Quicksand" panose="020B0604020202020204" charset="0"/>
              </a:rPr>
              <a:t>dimleting</a:t>
            </a:r>
            <a:r>
              <a:rPr lang="da-DK" sz="1200" dirty="0">
                <a:solidFill>
                  <a:srgbClr val="273F68"/>
                </a:solidFill>
                <a:latin typeface="Quicksand" panose="020B0604020202020204" charset="0"/>
                <a:ea typeface="Verdana"/>
                <a:cs typeface="Quicksand" panose="020B0604020202020204" charset="0"/>
              </a:rPr>
              <a:t>’, som de kan sidde med resten af timen. Pædagogisk personale har desuden udarbejdet regler for kassen, fx at eleverne ikke må medbringe personlige ‘</a:t>
            </a:r>
            <a:r>
              <a:rPr lang="da-DK" sz="1200" dirty="0" err="1">
                <a:solidFill>
                  <a:srgbClr val="273F68"/>
                </a:solidFill>
                <a:latin typeface="Quicksand" panose="020B0604020202020204" charset="0"/>
                <a:ea typeface="Verdana"/>
                <a:cs typeface="Quicksand" panose="020B0604020202020204" charset="0"/>
              </a:rPr>
              <a:t>dimleting</a:t>
            </a:r>
            <a:r>
              <a:rPr lang="da-DK" sz="1200" dirty="0">
                <a:solidFill>
                  <a:srgbClr val="273F68"/>
                </a:solidFill>
                <a:latin typeface="Quicksand" panose="020B0604020202020204" charset="0"/>
                <a:ea typeface="Verdana"/>
                <a:cs typeface="Quicksand" panose="020B0604020202020204" charset="0"/>
              </a:rPr>
              <a:t>’, at ‘</a:t>
            </a:r>
            <a:r>
              <a:rPr lang="da-DK" sz="1200" dirty="0" err="1">
                <a:solidFill>
                  <a:srgbClr val="273F68"/>
                </a:solidFill>
                <a:latin typeface="Quicksand" panose="020B0604020202020204" charset="0"/>
                <a:ea typeface="Verdana"/>
                <a:cs typeface="Quicksand" panose="020B0604020202020204" charset="0"/>
              </a:rPr>
              <a:t>dimletingen</a:t>
            </a:r>
            <a:r>
              <a:rPr lang="da-DK" sz="1200" dirty="0">
                <a:solidFill>
                  <a:srgbClr val="273F68"/>
                </a:solidFill>
                <a:latin typeface="Quicksand" panose="020B0604020202020204" charset="0"/>
                <a:ea typeface="Verdana"/>
                <a:cs typeface="Quicksand" panose="020B0604020202020204" charset="0"/>
              </a:rPr>
              <a:t>’ afleveres tilbage ved timens afslutning, og at man gerne må sige nej tak til at få en ting, men ikke må skifte den ud i løbet af timen.</a:t>
            </a:r>
          </a:p>
        </p:txBody>
      </p:sp>
      <p:sp>
        <p:nvSpPr>
          <p:cNvPr id="10" name="Rectangle 17">
            <a:extLst>
              <a:ext uri="{FF2B5EF4-FFF2-40B4-BE49-F238E27FC236}">
                <a16:creationId xmlns:a16="http://schemas.microsoft.com/office/drawing/2014/main" id="{0F3375F1-F122-7720-6102-2C39623B918F}"/>
              </a:ext>
            </a:extLst>
          </p:cNvPr>
          <p:cNvSpPr/>
          <p:nvPr/>
        </p:nvSpPr>
        <p:spPr>
          <a:xfrm>
            <a:off x="379891" y="4662463"/>
            <a:ext cx="4625955" cy="193994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80000" rtlCol="0" anchor="t"/>
          <a:lstStyle/>
          <a:p>
            <a:pPr lvl="0">
              <a:defRPr/>
            </a:pPr>
            <a:r>
              <a:rPr lang="da-DK" sz="1200" dirty="0">
                <a:solidFill>
                  <a:srgbClr val="273F68"/>
                </a:solidFill>
                <a:latin typeface="Quicksand" panose="020B0604020202020204" charset="0"/>
                <a:ea typeface="Verdana"/>
                <a:cs typeface="Quicksand" panose="020B0604020202020204" charset="0"/>
              </a:rPr>
              <a:t>Pædagogisk personale oplever, at færre elever har forstyrrende genstande med hjemmefra og i stedet har fundet ro i at anvende klassens fælles ‘</a:t>
            </a:r>
            <a:r>
              <a:rPr lang="da-DK" sz="1200" dirty="0" err="1">
                <a:solidFill>
                  <a:srgbClr val="273F68"/>
                </a:solidFill>
                <a:latin typeface="Quicksand" panose="020B0604020202020204" charset="0"/>
                <a:ea typeface="Verdana"/>
                <a:cs typeface="Quicksand" panose="020B0604020202020204" charset="0"/>
              </a:rPr>
              <a:t>dimleting</a:t>
            </a:r>
            <a:r>
              <a:rPr lang="da-DK" sz="1200" dirty="0">
                <a:solidFill>
                  <a:srgbClr val="273F68"/>
                </a:solidFill>
                <a:latin typeface="Quicksand" panose="020B0604020202020204" charset="0"/>
                <a:ea typeface="Verdana"/>
                <a:cs typeface="Quicksand" panose="020B0604020202020204" charset="0"/>
              </a:rPr>
              <a:t>’. De oplever også elever, som udviser selvindsigt ved at bruge nej tak-reglen, hvis ‘</a:t>
            </a:r>
            <a:r>
              <a:rPr lang="da-DK" sz="1200" dirty="0" err="1">
                <a:solidFill>
                  <a:srgbClr val="273F68"/>
                </a:solidFill>
                <a:latin typeface="Quicksand" panose="020B0604020202020204" charset="0"/>
                <a:ea typeface="Verdana"/>
                <a:cs typeface="Quicksand" panose="020B0604020202020204" charset="0"/>
              </a:rPr>
              <a:t>dimletingen</a:t>
            </a:r>
            <a:r>
              <a:rPr lang="da-DK" sz="1200" dirty="0">
                <a:solidFill>
                  <a:srgbClr val="273F68"/>
                </a:solidFill>
                <a:latin typeface="Quicksand" panose="020B0604020202020204" charset="0"/>
                <a:ea typeface="Verdana"/>
                <a:cs typeface="Quicksand" panose="020B0604020202020204" charset="0"/>
              </a:rPr>
              <a:t>’ forstyrrer dem. Generelt oplever de, at nogle børn i højere grad kan finde ro og koncentrere sig i timen som følge af ‘</a:t>
            </a:r>
            <a:r>
              <a:rPr lang="da-DK" sz="1200" dirty="0" err="1">
                <a:solidFill>
                  <a:srgbClr val="273F68"/>
                </a:solidFill>
                <a:latin typeface="Quicksand" panose="020B0604020202020204" charset="0"/>
                <a:ea typeface="Verdana"/>
                <a:cs typeface="Quicksand" panose="020B0604020202020204" charset="0"/>
              </a:rPr>
              <a:t>dimlekassen</a:t>
            </a:r>
            <a:r>
              <a:rPr lang="da-DK" sz="1200" dirty="0">
                <a:solidFill>
                  <a:srgbClr val="273F68"/>
                </a:solidFill>
                <a:latin typeface="Quicksand" panose="020B0604020202020204" charset="0"/>
                <a:ea typeface="Verdana"/>
                <a:cs typeface="Quicksand" panose="020B0604020202020204" charset="0"/>
              </a:rPr>
              <a:t>’, mens det forstyrrer andre børn. Fremadrettet vil pædagogisk personale derfor arbejde videre med reglerne, så ‘</a:t>
            </a:r>
            <a:r>
              <a:rPr lang="da-DK" sz="1200" dirty="0" err="1">
                <a:solidFill>
                  <a:srgbClr val="273F68"/>
                </a:solidFill>
                <a:latin typeface="Quicksand" panose="020B0604020202020204" charset="0"/>
                <a:ea typeface="Verdana"/>
                <a:cs typeface="Quicksand" panose="020B0604020202020204" charset="0"/>
              </a:rPr>
              <a:t>dimlekassen</a:t>
            </a:r>
            <a:r>
              <a:rPr lang="da-DK" sz="1200" dirty="0">
                <a:solidFill>
                  <a:srgbClr val="273F68"/>
                </a:solidFill>
                <a:latin typeface="Quicksand" panose="020B0604020202020204" charset="0"/>
                <a:ea typeface="Verdana"/>
                <a:cs typeface="Quicksand" panose="020B0604020202020204" charset="0"/>
              </a:rPr>
              <a:t>’ i endnu højere grad kommer alle eleverne til gode. </a:t>
            </a:r>
            <a:endParaRPr kumimoji="0" lang="da-DK" sz="1200" i="0" u="none" strike="noStrike" kern="1200" cap="none" spc="0" normalizeH="0" baseline="0" noProof="0" dirty="0">
              <a:ln>
                <a:noFill/>
              </a:ln>
              <a:solidFill>
                <a:srgbClr val="273F68"/>
              </a:solidFill>
              <a:effectLst/>
              <a:uLnTx/>
              <a:uFillTx/>
              <a:latin typeface="Quicksand" panose="020B0604020202020204" charset="0"/>
              <a:ea typeface="Verdana"/>
              <a:cs typeface="Quicksand" panose="020B0604020202020204" charset="0"/>
            </a:endParaRPr>
          </a:p>
        </p:txBody>
      </p:sp>
    </p:spTree>
    <p:extLst>
      <p:ext uri="{BB962C8B-B14F-4D97-AF65-F5344CB8AC3E}">
        <p14:creationId xmlns:p14="http://schemas.microsoft.com/office/powerpoint/2010/main" val="17528706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Playful colors">
      <a:dk1>
        <a:srgbClr val="273F68"/>
      </a:dk1>
      <a:lt1>
        <a:srgbClr val="FFFFFF"/>
      </a:lt1>
      <a:dk2>
        <a:srgbClr val="7085AA"/>
      </a:dk2>
      <a:lt2>
        <a:srgbClr val="F4F7FA"/>
      </a:lt2>
      <a:accent1>
        <a:srgbClr val="4BD1DD"/>
      </a:accent1>
      <a:accent2>
        <a:srgbClr val="57C0EB"/>
      </a:accent2>
      <a:accent3>
        <a:srgbClr val="BD9ADD"/>
      </a:accent3>
      <a:accent4>
        <a:srgbClr val="F3805C"/>
      </a:accent4>
      <a:accent5>
        <a:srgbClr val="FFD11D"/>
      </a:accent5>
      <a:accent6>
        <a:srgbClr val="95D346"/>
      </a:accent6>
      <a:hlink>
        <a:srgbClr val="273F68"/>
      </a:hlink>
      <a:folHlink>
        <a:srgbClr val="6611CC"/>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2.xml><?xml version="1.0" encoding="utf-8"?>
<a:theme xmlns:a="http://schemas.openxmlformats.org/drawingml/2006/main" name="1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lank.potx" id="{900E3F7D-0F42-4127-A563-AB863FCD720C}" vid="{53CCD02C-91E1-4BFC-A1BE-18ED37431167}"/>
    </a:ext>
  </a:extLst>
</a:theme>
</file>

<file path=ppt/theme/theme3.xml><?xml version="1.0" encoding="utf-8"?>
<a:theme xmlns:a="http://schemas.openxmlformats.org/drawingml/2006/main" name="2_Blank">
  <a:themeElements>
    <a:clrScheme name="Ramboll">
      <a:dk1>
        <a:srgbClr val="333333"/>
      </a:dk1>
      <a:lt1>
        <a:srgbClr val="FFFFFF"/>
      </a:lt1>
      <a:dk2>
        <a:srgbClr val="009DF0"/>
      </a:dk2>
      <a:lt2>
        <a:srgbClr val="797766"/>
      </a:lt2>
      <a:accent1>
        <a:srgbClr val="ADDDFF"/>
      </a:accent1>
      <a:accent2>
        <a:srgbClr val="3AA551"/>
      </a:accent2>
      <a:accent3>
        <a:srgbClr val="A8D100"/>
      </a:accent3>
      <a:accent4>
        <a:srgbClr val="C40079"/>
      </a:accent4>
      <a:accent5>
        <a:srgbClr val="C63418"/>
      </a:accent5>
      <a:accent6>
        <a:srgbClr val="D0CFC9"/>
      </a:accent6>
      <a:hlink>
        <a:srgbClr val="009DF0"/>
      </a:hlink>
      <a:folHlink>
        <a:srgbClr val="ADDDF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w="9525">
          <a:noFill/>
          <a:miter lim="800000"/>
          <a:headEnd/>
          <a:tailEnd/>
        </a:ln>
        <a:effectLst/>
      </a:spPr>
      <a:bodyPr vert="horz" wrap="square" lIns="0" tIns="0" rIns="0" bIns="0" numCol="1" rtlCol="0" anchor="t" anchorCtr="0" compatLnSpc="1">
        <a:prstTxWarp prst="textNoShape">
          <a:avLst/>
        </a:prstTxWarp>
        <a:spAutoFit/>
      </a:bodyPr>
      <a:lstStyle>
        <a:defPPr marR="0" algn="l" defTabSz="457200" rtl="0" eaLnBrk="0" fontAlgn="base" latinLnBrk="0" hangingPunct="0">
          <a:spcBef>
            <a:spcPct val="0"/>
          </a:spcBef>
          <a:buClrTx/>
          <a:buSzTx/>
          <a:tabLst/>
          <a:defRPr kumimoji="0" sz="1800" b="0" i="0" u="none" strike="noStrike" kern="1200" cap="none" spc="0" normalizeH="0" baseline="0" noProof="0" dirty="0" err="1" smtClean="0">
            <a:ln>
              <a:noFill/>
            </a:ln>
            <a:solidFill>
              <a:schemeClr val="tx1"/>
            </a:solidFill>
            <a:effectLst/>
            <a:uLnTx/>
            <a:uFillTx/>
            <a:latin typeface="Verdana"/>
            <a:ea typeface="Verdana" pitchFamily="34" charset="0"/>
            <a:cs typeface="Verdana" pitchFamily="34" charset="0"/>
          </a:defRPr>
        </a:defPPr>
      </a:lstStyle>
    </a:txDef>
  </a:objectDefaults>
  <a:extraClrSchemeLst/>
  <a:custClrLst>
    <a:custClr name="Black">
      <a:srgbClr val="333333"/>
    </a:custClr>
    <a:custClr name="Dark Grey">
      <a:srgbClr val="797766"/>
    </a:custClr>
    <a:custClr name="Cyan">
      <a:srgbClr val="009DF0"/>
    </a:custClr>
    <a:custClr name="Light Blue">
      <a:srgbClr val="ADDDFF"/>
    </a:custClr>
    <a:custClr name="Green">
      <a:srgbClr val="3AA551"/>
    </a:custClr>
    <a:custClr name="Lime Green">
      <a:srgbClr val="A8D100"/>
    </a:custClr>
    <a:custClr name="Magenta">
      <a:srgbClr val="C40079"/>
    </a:custClr>
    <a:custClr name="Warm Red">
      <a:srgbClr val="C63418"/>
    </a:custClr>
    <a:custClr name="Light Grey">
      <a:srgbClr val="D0CFC9"/>
    </a:custClr>
    <a:custClr name="Dark Blue">
      <a:srgbClr val="006FAD"/>
    </a:custClr>
    <a:custClr name="White">
      <a:srgbClr val="FFFFFF"/>
    </a:custClr>
    <a:custClr name="65% Dark Grey">
      <a:srgbClr val="A8A69B"/>
    </a:custClr>
    <a:custClr name="65% Cyan">
      <a:srgbClr val="59BFF5"/>
    </a:custClr>
    <a:custClr name="65% Light Blue">
      <a:srgbClr val="CAE9FF"/>
    </a:custClr>
    <a:custClr name="65% Green">
      <a:srgbClr val="7FC48E"/>
    </a:custClr>
    <a:custClr name="65% Lime Green">
      <a:srgbClr val="C6E159"/>
    </a:custClr>
    <a:custClr name="65% Magenta">
      <a:srgbClr val="D959A8"/>
    </a:custClr>
    <a:custClr name="65% Warm Red">
      <a:srgbClr val="DA7B69"/>
    </a:custClr>
    <a:custClr name="65% Light Grey">
      <a:srgbClr val="E0E0DC"/>
    </a:custClr>
    <a:custClr name="65% Dark Blue">
      <a:srgbClr val="59A1CA"/>
    </a:custClr>
    <a:custClr name="White">
      <a:srgbClr val="FFFFFF"/>
    </a:custClr>
    <a:custClr name="30% Dark Grey">
      <a:srgbClr val="D7D6D1"/>
    </a:custClr>
    <a:custClr name="30% Cyan">
      <a:srgbClr val="B2E1FA"/>
    </a:custClr>
    <a:custClr name="30% Light Blue">
      <a:srgbClr val="E6F5FF"/>
    </a:custClr>
    <a:custClr name="30% Green">
      <a:srgbClr val="C4E4CA"/>
    </a:custClr>
    <a:custClr name="30% Lime Green">
      <a:srgbClr val="E5F1B2"/>
    </a:custClr>
    <a:custClr name="30% Magenta">
      <a:srgbClr val="EDB2D7"/>
    </a:custClr>
    <a:custClr name="30% Warm Red">
      <a:srgbClr val="EEC2B9"/>
    </a:custClr>
    <a:custClr name="30% Light Grey">
      <a:srgbClr val="F6F6F4"/>
    </a:custClr>
    <a:custClr name="30% Dark Blue">
      <a:srgbClr val="B2D4E6"/>
    </a:custClr>
  </a:custClrLst>
  <a:extLst>
    <a:ext uri="{05A4C25C-085E-4340-85A3-A5531E510DB2}">
      <thm15:themeFamily xmlns:thm15="http://schemas.microsoft.com/office/thememl/2012/main" name="Ramboll Template.pptx" id="{5AEA101F-179A-4E02-8835-BB0D3710D3A7}" vid="{E99342CD-4962-46DC-842C-A6C21B4B076F}"/>
    </a:ext>
  </a:extLst>
</a:theme>
</file>

<file path=ppt/theme/theme4.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1C20181D027EE4E8CE43B03417944D7" ma:contentTypeVersion="16" ma:contentTypeDescription="Create a new document." ma:contentTypeScope="" ma:versionID="231e56f3e962ac7a9b44f43c3fcbcbba">
  <xsd:schema xmlns:xsd="http://www.w3.org/2001/XMLSchema" xmlns:xs="http://www.w3.org/2001/XMLSchema" xmlns:p="http://schemas.microsoft.com/office/2006/metadata/properties" xmlns:ns2="403ac9b0-0429-4076-ab5a-1a158639b83e" xmlns:ns3="cc72a137-9d55-4d41-be4a-960e4116afa6" xmlns:ns4="1611cc7e-243d-4120-a4b3-dc62a26f08e1" targetNamespace="http://schemas.microsoft.com/office/2006/metadata/properties" ma:root="true" ma:fieldsID="c22fae0a007d9527542b9602e56be343" ns2:_="" ns3:_="" ns4:_="">
    <xsd:import namespace="403ac9b0-0429-4076-ab5a-1a158639b83e"/>
    <xsd:import namespace="cc72a137-9d55-4d41-be4a-960e4116afa6"/>
    <xsd:import namespace="1611cc7e-243d-4120-a4b3-dc62a26f08e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LengthInSeconds" minOccurs="0"/>
                <xsd:element ref="ns2:MediaServiceOCR" minOccurs="0"/>
                <xsd:element ref="ns2:MediaServiceGenerationTime" minOccurs="0"/>
                <xsd:element ref="ns2:MediaServiceEventHashCode" minOccurs="0"/>
                <xsd:element ref="ns2:lcf76f155ced4ddcb4097134ff3c332f" minOccurs="0"/>
                <xsd:element ref="ns4:TaxCatchAll" minOccurs="0"/>
                <xsd:element ref="ns2:MediaServiceDateTaken"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3ac9b0-0429-4076-ab5a-1a158639b8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2a0716b9-ea6c-4544-a4bd-65ac324c60d4" ma:termSetId="09814cd3-568e-fe90-9814-8d621ff8fb84" ma:anchorId="fba54fb3-c3e1-fe81-a776-ca4b69148c4d" ma:open="true" ma:isKeyword="false">
      <xsd:complexType>
        <xsd:sequence>
          <xsd:element ref="pc:Terms" minOccurs="0" maxOccurs="1"/>
        </xsd:sequence>
      </xsd:complex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c72a137-9d55-4d41-be4a-960e4116af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611cc7e-243d-4120-a4b3-dc62a26f08e1"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3eeef0ec-d421-40bf-a8cf-1cdb00db7115}" ma:internalName="TaxCatchAll" ma:showField="CatchAllData" ma:web="cc72a137-9d55-4d41-be4a-960e4116afa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cc72a137-9d55-4d41-be4a-960e4116afa6">
      <UserInfo>
        <DisplayName>Mia Rytter Lund</DisplayName>
        <AccountId>45</AccountId>
        <AccountType/>
      </UserInfo>
      <UserInfo>
        <DisplayName>Nikolaj Godsk Vestergaard</DisplayName>
        <AccountId>197</AccountId>
        <AccountType/>
      </UserInfo>
      <UserInfo>
        <DisplayName>Sophie Bayer</DisplayName>
        <AccountId>243</AccountId>
        <AccountType/>
      </UserInfo>
      <UserInfo>
        <DisplayName>Ida Høst Poulsen</DisplayName>
        <AccountId>427</AccountId>
        <AccountType/>
      </UserInfo>
      <UserInfo>
        <DisplayName>Stine Møller Jespersen</DisplayName>
        <AccountId>2790</AccountId>
        <AccountType/>
      </UserInfo>
      <UserInfo>
        <DisplayName>Marianne Delcomyn</DisplayName>
        <AccountId>82</AccountId>
        <AccountType/>
      </UserInfo>
      <UserInfo>
        <DisplayName>Aman Reehal</DisplayName>
        <AccountId>2501</AccountId>
        <AccountType/>
      </UserInfo>
      <UserInfo>
        <DisplayName>Josephine Andersen</DisplayName>
        <AccountId>1064</AccountId>
        <AccountType/>
      </UserInfo>
    </SharedWithUsers>
    <lcf76f155ced4ddcb4097134ff3c332f xmlns="403ac9b0-0429-4076-ab5a-1a158639b83e">
      <Terms xmlns="http://schemas.microsoft.com/office/infopath/2007/PartnerControls"/>
    </lcf76f155ced4ddcb4097134ff3c332f>
    <TaxCatchAll xmlns="1611cc7e-243d-4120-a4b3-dc62a26f08e1" xsi:nil="true"/>
    <MediaLengthInSeconds xmlns="403ac9b0-0429-4076-ab5a-1a158639b83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D902CEE-FCD1-4A47-AF6D-4398C165D578}"/>
</file>

<file path=customXml/itemProps2.xml><?xml version="1.0" encoding="utf-8"?>
<ds:datastoreItem xmlns:ds="http://schemas.openxmlformats.org/officeDocument/2006/customXml" ds:itemID="{E9EFF8DE-3DB9-4F84-BF63-5977268658D3}">
  <ds:schemaRefs>
    <ds:schemaRef ds:uri="http://schemas.microsoft.com/office/2006/documentManagement/types"/>
    <ds:schemaRef ds:uri="http://schemas.microsoft.com/office/2006/metadata/properties"/>
    <ds:schemaRef ds:uri="cc72a137-9d55-4d41-be4a-960e4116afa6"/>
    <ds:schemaRef ds:uri="http://purl.org/dc/elements/1.1/"/>
    <ds:schemaRef ds:uri="http://schemas.openxmlformats.org/package/2006/metadata/core-properties"/>
    <ds:schemaRef ds:uri="http://schemas.microsoft.com/office/infopath/2007/PartnerControls"/>
    <ds:schemaRef ds:uri="http://purl.org/dc/terms/"/>
    <ds:schemaRef ds:uri="1611cc7e-243d-4120-a4b3-dc62a26f08e1"/>
    <ds:schemaRef ds:uri="403ac9b0-0429-4076-ab5a-1a158639b83e"/>
    <ds:schemaRef ds:uri="http://www.w3.org/XML/1998/namespace"/>
    <ds:schemaRef ds:uri="http://purl.org/dc/dcmitype/"/>
  </ds:schemaRefs>
</ds:datastoreItem>
</file>

<file path=customXml/itemProps3.xml><?xml version="1.0" encoding="utf-8"?>
<ds:datastoreItem xmlns:ds="http://schemas.openxmlformats.org/officeDocument/2006/customXml" ds:itemID="{1D153CFF-5C71-4AE1-8E1D-1F92B2B8ED1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569</TotalTime>
  <Words>8481</Words>
  <Application>Microsoft Office PowerPoint</Application>
  <PresentationFormat>Widescreen</PresentationFormat>
  <Paragraphs>504</Paragraphs>
  <Slides>26</Slides>
  <Notes>26</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6</vt:i4>
      </vt:variant>
    </vt:vector>
  </HeadingPairs>
  <TitlesOfParts>
    <vt:vector size="40" baseType="lpstr">
      <vt:lpstr>Amatic SC</vt:lpstr>
      <vt:lpstr>Arial</vt:lpstr>
      <vt:lpstr>Courier New</vt:lpstr>
      <vt:lpstr>quicksand</vt:lpstr>
      <vt:lpstr>quicksand</vt:lpstr>
      <vt:lpstr>Short Stack</vt:lpstr>
      <vt:lpstr>Symbol</vt:lpstr>
      <vt:lpstr>Times New Roman</vt:lpstr>
      <vt:lpstr>ui-sans-serif</vt:lpstr>
      <vt:lpstr>Verdana</vt:lpstr>
      <vt:lpstr>Blank</vt:lpstr>
      <vt:lpstr>1_Blank</vt:lpstr>
      <vt:lpstr>2_Blank</vt:lpstr>
      <vt:lpstr>think-cell Slide</vt:lpstr>
      <vt:lpstr>PowerPoint Presentation</vt:lpstr>
      <vt:lpstr>Resultater fra andet evalueringsrul den mangfoldige folkeskole i Nordjylland forår 2024</vt:lpstr>
      <vt:lpstr>PowerPoint Presentation</vt:lpstr>
      <vt:lpstr>PowerPoint Presentation</vt:lpstr>
      <vt:lpstr>PowerPoint Presentation</vt:lpstr>
      <vt:lpstr>Elevernes perspektiver</vt:lpstr>
      <vt:lpstr>PowerPoint Presentation</vt:lpstr>
      <vt:lpstr>PowerPoint Presentation</vt:lpstr>
      <vt:lpstr>PowerPoint Presentation</vt:lpstr>
      <vt:lpstr>Tegn på forandring i prak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edelsesunderstøttelse og organisering</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 december 2022</dc:title>
  <dc:creator>Nikolaj Godsk Vestergaard</dc:creator>
  <cp:lastModifiedBy>Ida Høst Poulsen</cp:lastModifiedBy>
  <cp:revision>9</cp:revision>
  <cp:lastPrinted>2022-12-14T14:16:49Z</cp:lastPrinted>
  <dcterms:created xsi:type="dcterms:W3CDTF">2022-11-28T10:19:23Z</dcterms:created>
  <dcterms:modified xsi:type="dcterms:W3CDTF">2024-06-19T12:1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0ea7001-5c24-4702-a3ac-e436ccb02747_Enabled">
    <vt:lpwstr>true</vt:lpwstr>
  </property>
  <property fmtid="{D5CDD505-2E9C-101B-9397-08002B2CF9AE}" pid="3" name="MSIP_Label_20ea7001-5c24-4702-a3ac-e436ccb02747_SetDate">
    <vt:lpwstr>2022-11-28T10:19:24Z</vt:lpwstr>
  </property>
  <property fmtid="{D5CDD505-2E9C-101B-9397-08002B2CF9AE}" pid="4" name="MSIP_Label_20ea7001-5c24-4702-a3ac-e436ccb02747_Method">
    <vt:lpwstr>Standard</vt:lpwstr>
  </property>
  <property fmtid="{D5CDD505-2E9C-101B-9397-08002B2CF9AE}" pid="5" name="MSIP_Label_20ea7001-5c24-4702-a3ac-e436ccb02747_Name">
    <vt:lpwstr>Confidential</vt:lpwstr>
  </property>
  <property fmtid="{D5CDD505-2E9C-101B-9397-08002B2CF9AE}" pid="6" name="MSIP_Label_20ea7001-5c24-4702-a3ac-e436ccb02747_SiteId">
    <vt:lpwstr>c8823c91-be81-4f89-b024-6c3dd789c106</vt:lpwstr>
  </property>
  <property fmtid="{D5CDD505-2E9C-101B-9397-08002B2CF9AE}" pid="7" name="MSIP_Label_20ea7001-5c24-4702-a3ac-e436ccb02747_ActionId">
    <vt:lpwstr>9cef2eea-b7e5-4349-87cc-eae238bee497</vt:lpwstr>
  </property>
  <property fmtid="{D5CDD505-2E9C-101B-9397-08002B2CF9AE}" pid="8" name="MSIP_Label_20ea7001-5c24-4702-a3ac-e436ccb02747_ContentBits">
    <vt:lpwstr>2</vt:lpwstr>
  </property>
  <property fmtid="{D5CDD505-2E9C-101B-9397-08002B2CF9AE}" pid="9" name="ContentTypeId">
    <vt:lpwstr>0x010100F1C20181D027EE4E8CE43B03417944D7</vt:lpwstr>
  </property>
  <property fmtid="{D5CDD505-2E9C-101B-9397-08002B2CF9AE}" pid="10" name="MediaServiceImageTags">
    <vt:lpwstr/>
  </property>
  <property fmtid="{D5CDD505-2E9C-101B-9397-08002B2CF9AE}" pid="11" name="xd_ProgID">
    <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TriggerFlowInfo">
    <vt:lpwstr/>
  </property>
  <property fmtid="{D5CDD505-2E9C-101B-9397-08002B2CF9AE}" pid="16" name="xd_Signature">
    <vt:bool>false</vt:bool>
  </property>
</Properties>
</file>